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tags/tag569.xml" ContentType="application/vnd.openxmlformats-officedocument.presentationml.tags+xml"/>
  <Override PartName="/ppt/tags/tag424.xml" ContentType="application/vnd.openxmlformats-officedocument.presentationml.tags+xml"/>
  <Override PartName="/ppt/tags/tag610.xml" ContentType="application/vnd.openxmlformats-officedocument.presentationml.tags+xml"/>
  <Override PartName="/ppt/tags/tag755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63.xml" ContentType="application/vnd.openxmlformats-officedocument.presentationml.tags+xml"/>
  <Override PartName="/ppt/tags/tag594.xml" ContentType="application/vnd.openxmlformats-officedocument.presentationml.tags+xml"/>
  <Override PartName="/ppt/tags/tag780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339.xml" ContentType="application/vnd.openxmlformats-officedocument.presentationml.tags+xml"/>
  <Override PartName="/ppt/tags/tag525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64.xml" ContentType="application/vnd.openxmlformats-officedocument.presentationml.tags+xml"/>
  <Override PartName="/ppt/tags/tag711.xml" ContentType="application/vnd.openxmlformats-officedocument.presentationml.tags+xml"/>
  <Override PartName="/ppt/tags/tag109.xml" ContentType="application/vnd.openxmlformats-officedocument.presentationml.tags+xml"/>
  <Override PartName="/ppt/tags/tag550.xml" ContentType="application/vnd.openxmlformats-officedocument.presentationml.tags+xml"/>
  <Override PartName="/ppt/tags/tag695.xml" ContentType="application/vnd.openxmlformats-officedocument.presentationml.tags+xml"/>
  <Override PartName="/ppt/tags/tag279.xml" ContentType="application/vnd.openxmlformats-officedocument.presentationml.tags+xml"/>
  <Override PartName="/ppt/tags/tag626.xml" ContentType="application/vnd.openxmlformats-officedocument.presentationml.tags+xml"/>
  <Override PartName="/ppt/notesSlides/notesSlide7.xml" ContentType="application/vnd.openxmlformats-officedocument.presentationml.notesSlide+xml"/>
  <Override PartName="/ppt/tags/tag134.xml" ContentType="application/vnd.openxmlformats-officedocument.presentationml.tags+xml"/>
  <Override PartName="/ppt/tags/tag320.xml" ContentType="application/vnd.openxmlformats-officedocument.presentationml.tags+xml"/>
  <Override PartName="/ppt/tags/tag465.xml" ContentType="application/vnd.openxmlformats-officedocument.presentationml.tags+xml"/>
  <Override PartName="/ppt/tags/tag796.xml" ContentType="application/vnd.openxmlformats-officedocument.presentationml.tags+xml"/>
  <Override PartName="/ppt/tags/tag812.xml" ContentType="application/vnd.openxmlformats-officedocument.presentationml.tags+xml"/>
  <Default Extension="png" ContentType="image/png"/>
  <Override PartName="/ppt/tags/tag651.xml" ContentType="application/vnd.openxmlformats-officedocument.presentationml.tag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490.xml" ContentType="application/vnd.openxmlformats-officedocument.presentationml.tags+xml"/>
  <Override PartName="/ppt/tags/tag727.xml" ContentType="application/vnd.openxmlformats-officedocument.presentationml.tags+xml"/>
  <Override PartName="/ppt/tags/tag235.xml" ContentType="application/vnd.openxmlformats-officedocument.presentationml.tags+xml"/>
  <Override PartName="/ppt/tags/tag421.xml" ContentType="application/vnd.openxmlformats-officedocument.presentationml.tags+xml"/>
  <Override PartName="/ppt/tags/tag566.xml" ContentType="application/vnd.openxmlformats-officedocument.presentationml.tags+xml"/>
  <Override PartName="/ppt/tags/tag752.xml" ContentType="application/vnd.openxmlformats-officedocument.presentationml.tags+xml"/>
  <Override PartName="/ppt/slides/slide22.xml" ContentType="application/vnd.openxmlformats-officedocument.presentationml.slide+xml"/>
  <Override PartName="/ppt/tags/tag260.xml" ContentType="application/vnd.openxmlformats-officedocument.presentationml.tags+xml"/>
  <Override PartName="/ppt/tags/tag591.xml" ContentType="application/vnd.openxmlformats-officedocument.presentationml.tags+xml"/>
  <Override PartName="/ppt/tags/tag828.xml" ContentType="application/vnd.openxmlformats-officedocument.presentationml.tags+xml"/>
  <Override PartName="/ppt/tags/tag35.xml" ContentType="application/vnd.openxmlformats-officedocument.presentationml.tags+xml"/>
  <Override PartName="/ppt/tags/tag336.xml" ContentType="application/vnd.openxmlformats-officedocument.presentationml.tags+xml"/>
  <Override PartName="/ppt/tags/tag667.xml" ContentType="application/vnd.openxmlformats-officedocument.presentationml.tags+xml"/>
  <Override PartName="/ppt/tags/tag175.xml" ContentType="application/vnd.openxmlformats-officedocument.presentationml.tags+xml"/>
  <Override PartName="/ppt/tags/tag522.xml" ContentType="application/vnd.openxmlformats-officedocument.presentationml.tags+xml"/>
  <Override PartName="/ppt/tags/tag60.xml" ContentType="application/vnd.openxmlformats-officedocument.presentationml.tags+xml"/>
  <Override PartName="/ppt/tags/tag361.xml" ContentType="application/vnd.openxmlformats-officedocument.presentationml.tags+xml"/>
  <Override PartName="/ppt/tags/tag692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ppt/tags/tag437.xml" ContentType="application/vnd.openxmlformats-officedocument.presentationml.tags+xml"/>
  <Override PartName="/ppt/tags/tag623.xml" ContentType="application/vnd.openxmlformats-officedocument.presentationml.tags+xml"/>
  <Override PartName="/ppt/tags/tag768.xml" ContentType="application/vnd.openxmlformats-officedocument.presentationml.tags+xml"/>
  <Override PartName="/ppt/tags/tag131.xml" ContentType="application/vnd.openxmlformats-officedocument.presentationml.tags+xml"/>
  <Override PartName="/ppt/tags/tag276.xml" ContentType="application/vnd.openxmlformats-officedocument.presentationml.tags+xml"/>
  <Override PartName="/ppt/tags/tag462.xml" ContentType="application/vnd.openxmlformats-officedocument.presentationml.tags+xml"/>
  <Override PartName="/ppt/tags/tag207.xml" ContentType="application/vnd.openxmlformats-officedocument.presentationml.tags+xml"/>
  <Override PartName="/ppt/tags/tag793.xml" ContentType="application/vnd.openxmlformats-officedocument.presentationml.tags+xml"/>
  <Override PartName="/ppt/tags/tag2.xml" ContentType="application/vnd.openxmlformats-officedocument.presentationml.tags+xml"/>
  <Override PartName="/ppt/tags/tag538.xml" ContentType="application/vnd.openxmlformats-officedocument.presentationml.tags+xml"/>
  <Override PartName="/ppt/tags/tag724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63.xml" ContentType="application/vnd.openxmlformats-officedocument.presentationml.tags+xml"/>
  <Override PartName="/ppt/tags/tag308.xml" ContentType="application/vnd.openxmlformats-officedocument.presentationml.tags+xml"/>
  <Override PartName="/ppt/tags/tag639.xml" ContentType="application/vnd.openxmlformats-officedocument.presentationml.tags+xml"/>
  <Override PartName="/ppt/tags/tag147.xml" ContentType="application/vnd.openxmlformats-officedocument.presentationml.tags+xml"/>
  <Override PartName="/ppt/tags/tag478.xml" ContentType="application/vnd.openxmlformats-officedocument.presentationml.tags+xml"/>
  <Override PartName="/ppt/tags/tag825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664.xml" ContentType="application/vnd.openxmlformats-officedocument.presentationml.tags+xml"/>
  <Override PartName="/ppt/tags/tag850.xml" ContentType="application/vnd.openxmlformats-officedocument.presentationml.tags+xml"/>
  <Override PartName="/ppt/tags/tag172.xml" ContentType="application/vnd.openxmlformats-officedocument.presentationml.tags+xml"/>
  <Override PartName="/ppt/tags/tag409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248.xml" ContentType="application/vnd.openxmlformats-officedocument.presentationml.tags+xml"/>
  <Override PartName="/ppt/tags/tag434.xml" ContentType="application/vnd.openxmlformats-officedocument.presentationml.tags+xml"/>
  <Override PartName="/ppt/tags/tag579.xml" ContentType="application/vnd.openxmlformats-officedocument.presentationml.tags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tags/tag620.xml" ContentType="application/vnd.openxmlformats-officedocument.presentationml.tags+xml"/>
  <Override PartName="/ppt/tags/tag718.xml" ContentType="application/vnd.openxmlformats-officedocument.presentationml.tags+xml"/>
  <Override PartName="/ppt/tags/tag765.xml" ContentType="application/vnd.openxmlformats-officedocument.presentationml.tags+xml"/>
  <Override PartName="/ppt/tags/tag412.xml" ContentType="application/vnd.openxmlformats-officedocument.presentationml.tags+xml"/>
  <Override PartName="/ppt/tags/tag557.xml" ContentType="application/vnd.openxmlformats-officedocument.presentationml.tags+xml"/>
  <Override PartName="/ppt/tags/tag743.xml" ContentType="application/vnd.openxmlformats-officedocument.presentationml.tags+xml"/>
  <Override PartName="/ppt/tags/tag790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tags/tag535.xml" ContentType="application/vnd.openxmlformats-officedocument.presentationml.tags+xml"/>
  <Override PartName="/ppt/tags/tag582.xml" ContentType="application/vnd.openxmlformats-officedocument.presentationml.tags+xml"/>
  <Override PartName="/ppt/tags/tag819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658.xml" ContentType="application/vnd.openxmlformats-officedocument.presentationml.tags+xml"/>
  <Override PartName="/ppt/tags/tag721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tags/tag560.xml" ContentType="application/vnd.openxmlformats-officedocument.presentationml.tags+xml"/>
  <Override PartName="/ppt/tags/tag844.xml" ContentType="application/vnd.openxmlformats-officedocument.presentationml.tags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ppt/tags/tag636.xml" ContentType="application/vnd.openxmlformats-officedocument.presentationml.tags+xml"/>
  <Override PartName="/ppt/tags/tag683.xml" ContentType="application/vnd.openxmlformats-officedocument.presentationml.tags+xml"/>
  <Override PartName="/ppt/tags/tag822.xml" ContentType="application/vnd.openxmlformats-officedocument.presentationml.tags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tags/tag330.xml" ContentType="application/vnd.openxmlformats-officedocument.presentationml.tags+xml"/>
  <Override PartName="/ppt/tags/tag428.xml" ContentType="application/vnd.openxmlformats-officedocument.presentationml.tags+xml"/>
  <Override PartName="/ppt/tags/tag475.xml" ContentType="application/vnd.openxmlformats-officedocument.presentationml.tags+xml"/>
  <Override PartName="/ppt/tags/tag614.xml" ContentType="application/vnd.openxmlformats-officedocument.presentationml.tags+xml"/>
  <Override PartName="/ppt/tags/tag661.xml" ContentType="application/vnd.openxmlformats-officedocument.presentationml.tags+xml"/>
  <Override PartName="/ppt/tags/tag759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tags/tag453.xml" ContentType="application/vnd.openxmlformats-officedocument.presentationml.tags+xml"/>
  <Override PartName="/ppt/tags/tag598.xml" ContentType="application/vnd.openxmlformats-officedocument.presentationml.tags+xml"/>
  <Override PartName="/ppt/tags/tag737.xml" ContentType="application/vnd.openxmlformats-officedocument.presentationml.tags+xml"/>
  <Override PartName="/ppt/tags/tag784.xml" ContentType="application/vnd.openxmlformats-officedocument.presentationml.tags+xml"/>
  <Override PartName="/ppt/tags/tag800.xml" ContentType="application/vnd.openxmlformats-officedocument.presentationml.tags+xml"/>
  <Override PartName="/ppt/slides/slide4.xml" ContentType="application/vnd.openxmlformats-officedocument.presentationml.slide+xml"/>
  <Override PartName="/ppt/tags/tag89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ags/tag529.xml" ContentType="application/vnd.openxmlformats-officedocument.presentationml.tags+xml"/>
  <Override PartName="/ppt/tags/tag576.xml" ContentType="application/vnd.openxmlformats-officedocument.presentationml.tags+xml"/>
  <Override PartName="/ppt/tags/tag100.xml" ContentType="application/vnd.openxmlformats-officedocument.presentationml.tags+xml"/>
  <Override PartName="/ppt/tags/tag368.xml" ContentType="application/vnd.openxmlformats-officedocument.presentationml.tags+xml"/>
  <Override PartName="/ppt/tags/tag431.xml" ContentType="application/vnd.openxmlformats-officedocument.presentationml.tags+xml"/>
  <Override PartName="/ppt/tags/tag715.xml" ContentType="application/vnd.openxmlformats-officedocument.presentationml.tags+xml"/>
  <Override PartName="/ppt/tags/tag762.xml" ContentType="application/vnd.openxmlformats-officedocument.presentationml.tags+xml"/>
  <Override PartName="/ppt/slides/slide32.xml" ContentType="application/vnd.openxmlformats-officedocument.presentationml.slide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507.xml" ContentType="application/vnd.openxmlformats-officedocument.presentationml.tags+xml"/>
  <Override PartName="/ppt/tags/tag554.xml" ContentType="application/vnd.openxmlformats-officedocument.presentationml.tags+xml"/>
  <Override PartName="/ppt/tags/tag699.xml" ContentType="application/vnd.openxmlformats-officedocument.presentationml.tags+xml"/>
  <Override PartName="/ppt/tags/tag838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tags/tag532.xml" ContentType="application/vnd.openxmlformats-officedocument.presentationml.tags+xml"/>
  <Override PartName="/ppt/tags/tag677.xml" ContentType="application/vnd.openxmlformats-officedocument.presentationml.tags+xml"/>
  <Override PartName="/ppt/tags/tag740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71.xml" ContentType="application/vnd.openxmlformats-officedocument.presentationml.tags+xml"/>
  <Override PartName="/ppt/tags/tag469.xml" ContentType="application/vnd.openxmlformats-officedocument.presentationml.tags+xml"/>
  <Override PartName="/ppt/tags/tag816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tags/tag510.xml" ContentType="application/vnd.openxmlformats-officedocument.presentationml.tags+xml"/>
  <Override PartName="/ppt/tags/tag608.xml" ContentType="application/vnd.openxmlformats-officedocument.presentationml.tags+xml"/>
  <Override PartName="/ppt/tags/tag655.xml" ContentType="application/vnd.openxmlformats-officedocument.presentationml.tags+xml"/>
  <Override PartName="/ppt/tags/tag841.xml" ContentType="application/vnd.openxmlformats-officedocument.presentationml.tags+xml"/>
  <Override PartName="/ppt/tags/tag9.xml" ContentType="application/vnd.openxmlformats-officedocument.presentationml.tags+xml"/>
  <Override PartName="/ppt/tags/tag302.xml" ContentType="application/vnd.openxmlformats-officedocument.presentationml.tags+xml"/>
  <Override PartName="/ppt/tags/tag447.xml" ContentType="application/vnd.openxmlformats-officedocument.presentationml.tags+xml"/>
  <Override PartName="/ppt/tags/tag494.xml" ContentType="application/vnd.openxmlformats-officedocument.presentationml.tags+xml"/>
  <Override PartName="/ppt/tags/tag633.xml" ContentType="application/vnd.openxmlformats-officedocument.presentationml.tags+xml"/>
  <Override PartName="/ppt/tags/tag680.xml" ContentType="application/vnd.openxmlformats-officedocument.presentationml.tags+xml"/>
  <Override PartName="/ppt/tags/tag778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tags/tag239.xml" ContentType="application/vnd.openxmlformats-officedocument.presentationml.tags+xml"/>
  <Override PartName="/ppt/tags/tag286.xml" ContentType="application/vnd.openxmlformats-officedocument.presentationml.tags+xml"/>
  <Override PartName="/ppt/tags/tag425.xml" ContentType="application/vnd.openxmlformats-officedocument.presentationml.tags+xml"/>
  <Override PartName="/ppt/tags/tag472.xml" ContentType="application/vnd.openxmlformats-officedocument.presentationml.tags+xml"/>
  <Override PartName="/ppt/tags/tag709.xml" ContentType="application/vnd.openxmlformats-officedocument.presentationml.tags+xml"/>
  <Override PartName="/ppt/tags/tag756.xml" ContentType="application/vnd.openxmlformats-officedocument.presentationml.tags+xml"/>
  <Override PartName="/ppt/slides/slide26.xml" ContentType="application/vnd.openxmlformats-officedocument.presentationml.slide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548.xml" ContentType="application/vnd.openxmlformats-officedocument.presentationml.tags+xml"/>
  <Override PartName="/ppt/tags/tag595.xml" ContentType="application/vnd.openxmlformats-officedocument.presentationml.tags+xml"/>
  <Override PartName="/ppt/tags/tag611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tags/tag734.xml" ContentType="application/vnd.openxmlformats-officedocument.presentationml.tags+xml"/>
  <Override PartName="/ppt/tags/tag781.xml" ContentType="application/vnd.openxmlformats-officedocument.presentationml.tags+xml"/>
  <Override PartName="/ppt/tags/tag179.xml" ContentType="application/vnd.openxmlformats-officedocument.presentationml.tags+xml"/>
  <Override PartName="/ppt/tags/tag242.xml" ContentType="application/vnd.openxmlformats-officedocument.presentationml.tags+xml"/>
  <Override PartName="/ppt/tags/tag526.xml" ContentType="application/vnd.openxmlformats-officedocument.presentationml.tags+xml"/>
  <Override PartName="/ppt/tags/tag573.xml" ContentType="application/vnd.openxmlformats-officedocument.presentationml.tags+xml"/>
  <Override PartName="/ppt/tags/tag71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tags/tag504.xml" ContentType="application/vnd.openxmlformats-officedocument.presentationml.tags+xml"/>
  <Override PartName="/ppt/tags/tag551.xml" ContentType="application/vnd.openxmlformats-officedocument.presentationml.tags+xml"/>
  <Override PartName="/ppt/tags/tag649.xml" ContentType="application/vnd.openxmlformats-officedocument.presentationml.tags+xml"/>
  <Override PartName="/ppt/tags/tag696.xml" ContentType="application/vnd.openxmlformats-officedocument.presentationml.tags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390.xml" ContentType="application/vnd.openxmlformats-officedocument.presentationml.tags+xml"/>
  <Override PartName="/ppt/tags/tag488.xml" ContentType="application/vnd.openxmlformats-officedocument.presentationml.tags+xml"/>
  <Override PartName="/ppt/tags/tag835.xml" ContentType="application/vnd.openxmlformats-officedocument.presentationml.tags+xml"/>
  <Default Extension="gif" ContentType="image/gif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82.xml" ContentType="application/vnd.openxmlformats-officedocument.presentationml.tags+xml"/>
  <Override PartName="/ppt/tags/tag627.xml" ContentType="application/vnd.openxmlformats-officedocument.presentationml.tags+xml"/>
  <Override PartName="/ppt/tags/tag674.xml" ContentType="application/vnd.openxmlformats-officedocument.presentationml.tags+xml"/>
  <Override PartName="/ppt/tags/tag813.xml" ContentType="application/vnd.openxmlformats-officedocument.presentationml.tags+xml"/>
  <Override PartName="/ppt/tags/tag20.xml" ContentType="application/vnd.openxmlformats-officedocument.presentationml.tags+xml"/>
  <Override PartName="/ppt/tags/tag321.xml" ContentType="application/vnd.openxmlformats-officedocument.presentationml.tags+xml"/>
  <Override PartName="/ppt/tags/tag419.xml" ContentType="application/vnd.openxmlformats-officedocument.presentationml.tags+xml"/>
  <Override PartName="/ppt/tags/tag466.xml" ContentType="application/vnd.openxmlformats-officedocument.presentationml.tags+xml"/>
  <Override PartName="/ppt/tags/tag605.xml" ContentType="application/vnd.openxmlformats-officedocument.presentationml.tags+xml"/>
  <Override PartName="/ppt/tags/tag652.xml" ContentType="application/vnd.openxmlformats-officedocument.presentationml.tags+xml"/>
  <Override PartName="/ppt/tags/tag797.xml" ContentType="application/vnd.openxmlformats-officedocument.presentationml.tags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58.xml" ContentType="application/vnd.openxmlformats-officedocument.presentationml.tags+xml"/>
  <Override PartName="/ppt/tags/tag444.xml" ContentType="application/vnd.openxmlformats-officedocument.presentationml.tags+xml"/>
  <Override PartName="/ppt/tags/tag491.xml" ContentType="application/vnd.openxmlformats-officedocument.presentationml.tags+xml"/>
  <Override PartName="/ppt/tags/tag589.xml" ContentType="application/vnd.openxmlformats-officedocument.presentationml.tags+xml"/>
  <Override PartName="/ppt/tags/tag728.xml" ContentType="application/vnd.openxmlformats-officedocument.presentationml.tags+xml"/>
  <Override PartName="/ppt/tags/tag775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67.xml" ContentType="application/vnd.openxmlformats-officedocument.presentationml.tags+xml"/>
  <Override PartName="/ppt/tags/tag630.xml" ContentType="application/vnd.openxmlformats-officedocument.presentationml.tags+xml"/>
  <Override PartName="/ppt/tags/tag58.xml" ContentType="application/vnd.openxmlformats-officedocument.presentationml.tags+xml"/>
  <Override PartName="/ppt/tags/tag359.xml" ContentType="application/vnd.openxmlformats-officedocument.presentationml.tags+xml"/>
  <Override PartName="/ppt/tags/tag422.xml" ContentType="application/vnd.openxmlformats-officedocument.presentationml.tags+xml"/>
  <Override PartName="/ppt/tags/tag706.xml" ContentType="application/vnd.openxmlformats-officedocument.presentationml.tags+xml"/>
  <Override PartName="/ppt/tags/tag753.xml" ContentType="application/vnd.openxmlformats-officedocument.presentationml.tags+xml"/>
  <Override PartName="/ppt/slides/slide23.xml" ContentType="application/vnd.openxmlformats-officedocument.presentationml.slide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tags/tag261.xml" ContentType="application/vnd.openxmlformats-officedocument.presentationml.tags+xml"/>
  <Override PartName="/ppt/tags/tag400.xml" ContentType="application/vnd.openxmlformats-officedocument.presentationml.tags+xml"/>
  <Override PartName="/ppt/tags/tag545.xml" ContentType="application/vnd.openxmlformats-officedocument.presentationml.tags+xml"/>
  <Override PartName="/ppt/tags/tag592.xml" ContentType="application/vnd.openxmlformats-officedocument.presentationml.tags+xml"/>
  <Override PartName="/ppt/tags/tag731.xml" ContentType="application/vnd.openxmlformats-officedocument.presentationml.tags+xml"/>
  <Override PartName="/ppt/tags/tag829.xml" ContentType="application/vnd.openxmlformats-officedocument.presentationml.tags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tags/tag523.xml" ContentType="application/vnd.openxmlformats-officedocument.presentationml.tags+xml"/>
  <Override PartName="/ppt/tags/tag570.xml" ContentType="application/vnd.openxmlformats-officedocument.presentationml.tags+xml"/>
  <Override PartName="/ppt/tags/tag668.xml" ContentType="application/vnd.openxmlformats-officedocument.presentationml.tags+xml"/>
  <Override PartName="/ppt/tags/tag807.xml" ContentType="application/vnd.openxmlformats-officedocument.presentationml.tags+xml"/>
  <Override PartName="/ppt/tags/tag14.xml" ContentType="application/vnd.openxmlformats-officedocument.presentationml.tags+xml"/>
  <Override PartName="/ppt/tags/tag61.xml" ContentType="application/vnd.openxmlformats-officedocument.presentationml.tags+xml"/>
  <Override PartName="/ppt/tags/tag129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62.xml" ContentType="application/vnd.openxmlformats-officedocument.presentationml.tags+xml"/>
  <Override PartName="/ppt/tags/tag646.xml" ContentType="application/vnd.openxmlformats-officedocument.presentationml.tags+xml"/>
  <Override PartName="/ppt/tags/tag693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438.xml" ContentType="application/vnd.openxmlformats-officedocument.presentationml.tags+xml"/>
  <Override PartName="/ppt/tags/tag485.xml" ContentType="application/vnd.openxmlformats-officedocument.presentationml.tags+xml"/>
  <Override PartName="/ppt/tags/tag501.xml" ContentType="application/vnd.openxmlformats-officedocument.presentationml.tags+xml"/>
  <Override PartName="/ppt/tags/tag832.xml" ContentType="application/vnd.openxmlformats-officedocument.presentationml.tags+xml"/>
  <Override PartName="/ppt/tags/tag277.xml" ContentType="application/vnd.openxmlformats-officedocument.presentationml.tags+xml"/>
  <Override PartName="/ppt/tags/tag340.xml" ContentType="application/vnd.openxmlformats-officedocument.presentationml.tags+xml"/>
  <Override PartName="/ppt/tags/tag624.xml" ContentType="application/vnd.openxmlformats-officedocument.presentationml.tags+xml"/>
  <Override PartName="/ppt/notesSlides/notesSlide5.xml" ContentType="application/vnd.openxmlformats-officedocument.presentationml.notesSlide+xml"/>
  <Override PartName="/ppt/tags/tag671.xml" ContentType="application/vnd.openxmlformats-officedocument.presentationml.tags+xml"/>
  <Override PartName="/ppt/tags/tag769.xml" ContentType="application/vnd.openxmlformats-officedocument.presentationml.tags+xml"/>
  <Override PartName="/ppt/tags/tag132.xml" ContentType="application/vnd.openxmlformats-officedocument.presentationml.tags+xml"/>
  <Override PartName="/ppt/tags/tag416.xml" ContentType="application/vnd.openxmlformats-officedocument.presentationml.tags+xml"/>
  <Override PartName="/ppt/tags/tag463.xml" ContentType="application/vnd.openxmlformats-officedocument.presentationml.tags+xml"/>
  <Override PartName="/ppt/tags/tag747.xml" ContentType="application/vnd.openxmlformats-officedocument.presentationml.tags+xml"/>
  <Override PartName="/ppt/tags/tag794.xml" ContentType="application/vnd.openxmlformats-officedocument.presentationml.tags+xml"/>
  <Override PartName="/ppt/tags/tag810.xml" ContentType="application/vnd.openxmlformats-officedocument.presentationml.tags+xml"/>
  <Override PartName="/ppt/slides/slide17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539.xml" ContentType="application/vnd.openxmlformats-officedocument.presentationml.tags+xml"/>
  <Override PartName="/ppt/tags/tag586.xml" ContentType="application/vnd.openxmlformats-officedocument.presentationml.tags+xml"/>
  <Override PartName="/ppt/tags/tag602.xml" ContentType="application/vnd.openxmlformats-officedocument.presentationml.tags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233.xml" ContentType="application/vnd.openxmlformats-officedocument.presentationml.tags+xml"/>
  <Override PartName="/ppt/tags/tag280.xml" ContentType="application/vnd.openxmlformats-officedocument.presentationml.tags+xml"/>
  <Override PartName="/ppt/tags/tag378.xml" ContentType="application/vnd.openxmlformats-officedocument.presentationml.tags+xml"/>
  <Override PartName="/ppt/tags/tag441.xml" ContentType="application/vnd.openxmlformats-officedocument.presentationml.tags+xml"/>
  <Override PartName="/ppt/tags/tag725.xml" ContentType="application/vnd.openxmlformats-officedocument.presentationml.tags+xml"/>
  <Override PartName="/ppt/tags/tag772.xml" ContentType="application/vnd.openxmlformats-officedocument.presentationml.tags+xml"/>
  <Override PartName="/ppt/tags/tag517.xml" ContentType="application/vnd.openxmlformats-officedocument.presentationml.tags+xml"/>
  <Override PartName="/ppt/tags/tag564.xml" ContentType="application/vnd.openxmlformats-officedocument.presentationml.tags+xml"/>
  <Override PartName="/ppt/tags/tag703.xml" ContentType="application/vnd.openxmlformats-officedocument.presentationml.tags+xml"/>
  <Override PartName="/ppt/tags/tag750.xml" ContentType="application/vnd.openxmlformats-officedocument.presentationml.tags+xml"/>
  <Override PartName="/ppt/tags/tag848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56.xml" ContentType="application/vnd.openxmlformats-officedocument.presentationml.tags+xml"/>
  <Override PartName="/ppt/tags/tag542.xml" ContentType="application/vnd.openxmlformats-officedocument.presentationml.tags+xml"/>
  <Override PartName="/ppt/tags/tag687.xml" ContentType="application/vnd.openxmlformats-officedocument.presentationml.tags+xml"/>
  <Override PartName="/ppt/tags/tag826.xml" ContentType="application/vnd.openxmlformats-officedocument.presentationml.tags+xml"/>
  <Override PartName="/ppt/tags/tag33.xml" ContentType="application/vnd.openxmlformats-officedocument.presentationml.tags+xml"/>
  <Override PartName="/ppt/tags/tag80.xml" ContentType="application/vnd.openxmlformats-officedocument.presentationml.tags+xml"/>
  <Override PartName="/ppt/tags/tag148.xml" ContentType="application/vnd.openxmlformats-officedocument.presentationml.tags+xml"/>
  <Override PartName="/ppt/tags/tag195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479.xml" ContentType="application/vnd.openxmlformats-officedocument.presentationml.tags+xml"/>
  <Override PartName="/ppt/tags/tag618.xml" ContentType="application/vnd.openxmlformats-officedocument.presentationml.tags+xml"/>
  <Override PartName="/ppt/tags/tag665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457.xml" ContentType="application/vnd.openxmlformats-officedocument.presentationml.tags+xml"/>
  <Override PartName="/ppt/tags/tag520.xml" ContentType="application/vnd.openxmlformats-officedocument.presentationml.tags+xml"/>
  <Override PartName="/ppt/tags/tag804.xml" ContentType="application/vnd.openxmlformats-officedocument.presentationml.tags+xml"/>
  <Override PartName="/ppt/tags/tag8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tags/tag643.xml" ContentType="application/vnd.openxmlformats-officedocument.presentationml.tags+xml"/>
  <Override PartName="/ppt/tags/tag690.xml" ContentType="application/vnd.openxmlformats-officedocument.presentationml.tags+xml"/>
  <Override PartName="/ppt/tags/tag788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tags/tag151.xml" ContentType="application/vnd.openxmlformats-officedocument.presentationml.tags+xml"/>
  <Override PartName="/ppt/tags/tag435.xml" ContentType="application/vnd.openxmlformats-officedocument.presentationml.tags+xml"/>
  <Override PartName="/ppt/tags/tag482.xml" ContentType="application/vnd.openxmlformats-officedocument.presentationml.tags+xml"/>
  <Override PartName="/ppt/tags/tag621.xml" ContentType="application/vnd.openxmlformats-officedocument.presentationml.tags+xml"/>
  <Override PartName="/ppt/tags/tag719.xml" ContentType="application/vnd.openxmlformats-officedocument.presentationml.tags+xml"/>
  <Override PartName="/ppt/tags/tag766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tags/tag558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tags/tag744.xml" ContentType="application/vnd.openxmlformats-officedocument.presentationml.tags+xml"/>
  <Override PartName="/ppt/tags/tag791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  <Override PartName="/ppt/tags/tag536.xml" ContentType="application/vnd.openxmlformats-officedocument.presentationml.tags+xml"/>
  <Override PartName="/ppt/tags/tag583.xml" ContentType="application/vnd.openxmlformats-officedocument.presentationml.tags+xml"/>
  <Override PartName="/ppt/tags/tag722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14.xml" ContentType="application/vnd.openxmlformats-officedocument.presentationml.tags+xml"/>
  <Override PartName="/ppt/tags/tag561.xml" ContentType="application/vnd.openxmlformats-officedocument.presentationml.tags+xml"/>
  <Override PartName="/ppt/tags/tag659.xml" ContentType="application/vnd.openxmlformats-officedocument.presentationml.tags+xml"/>
  <Override PartName="/ppt/tags/tag84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637.xml" ContentType="application/vnd.openxmlformats-officedocument.presentationml.tags+xml"/>
  <Override PartName="/ppt/tags/tag684.xml" ContentType="application/vnd.openxmlformats-officedocument.presentationml.tags+xml"/>
  <Override PartName="/ppt/tags/tag700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476.xml" ContentType="application/vnd.openxmlformats-officedocument.presentationml.tags+xml"/>
  <Override PartName="/ppt/tags/tag823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tags/tag599.xml" ContentType="application/vnd.openxmlformats-officedocument.presentationml.tags+xml"/>
  <Override PartName="/ppt/tags/tag615.xml" ContentType="application/vnd.openxmlformats-officedocument.presentationml.tags+xml"/>
  <Override PartName="/ppt/tags/tag662.xml" ContentType="application/vnd.openxmlformats-officedocument.presentationml.tags+xml"/>
  <Override PartName="/ppt/tags/tag801.xml" ContentType="application/vnd.openxmlformats-officedocument.presentationml.tags+xml"/>
  <Override PartName="/ppt/slides/slide5.xml" ContentType="application/vnd.openxmlformats-officedocument.presentationml.slide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640.xml" ContentType="application/vnd.openxmlformats-officedocument.presentationml.tags+xml"/>
  <Override PartName="/ppt/tags/tag738.xml" ContentType="application/vnd.openxmlformats-officedocument.presentationml.tags+xml"/>
  <Override PartName="/ppt/tags/tag785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tags/tag577.xml" ContentType="application/vnd.openxmlformats-officedocument.presentationml.tags+xml"/>
  <Override PartName="/ppt/tags/tag716.xml" ContentType="application/vnd.openxmlformats-officedocument.presentationml.tags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tags/tag508.xml" ContentType="application/vnd.openxmlformats-officedocument.presentationml.tags+xml"/>
  <Override PartName="/ppt/tags/tag555.xml" ContentType="application/vnd.openxmlformats-officedocument.presentationml.tags+xml"/>
  <Override PartName="/ppt/tags/tag763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ppt/tags/tag741.xml" ContentType="application/vnd.openxmlformats-officedocument.presentationml.tags+xml"/>
  <Override PartName="/ppt/tags/tag83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tags/tag533.xml" ContentType="application/vnd.openxmlformats-officedocument.presentationml.tags+xml"/>
  <Override PartName="/ppt/tags/tag580.xml" ContentType="application/vnd.openxmlformats-officedocument.presentationml.tags+xml"/>
  <Override PartName="/ppt/tags/tag678.xml" ContentType="application/vnd.openxmlformats-officedocument.presentationml.tags+xml"/>
  <Override PartName="/ppt/tags/tag817.xml" ContentType="application/vnd.openxmlformats-officedocument.presentationml.tags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609.xml" ContentType="application/vnd.openxmlformats-officedocument.presentationml.tags+xml"/>
  <Override PartName="/ppt/tags/tag656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tags/tag779.xml" ContentType="application/vnd.openxmlformats-officedocument.presentationml.tags+xml"/>
  <Override PartName="/ppt/tags/tag842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634.xml" ContentType="application/vnd.openxmlformats-officedocument.presentationml.tags+xml"/>
  <Override PartName="/ppt/tags/tag681.xml" ContentType="application/vnd.openxmlformats-officedocument.presentationml.tags+xml"/>
  <Override PartName="/ppt/tags/tag820.xml" ContentType="application/vnd.openxmlformats-officedocument.presentationml.tags+xml"/>
  <Override PartName="/ppt/tags/tag426.xml" ContentType="application/vnd.openxmlformats-officedocument.presentationml.tags+xml"/>
  <Override PartName="/ppt/tags/tag473.xml" ContentType="application/vnd.openxmlformats-officedocument.presentationml.tags+xml"/>
  <Override PartName="/ppt/tags/tag612.xml" ContentType="application/vnd.openxmlformats-officedocument.presentationml.tags+xml"/>
  <Override PartName="/ppt/tags/tag757.xml" ContentType="application/vnd.openxmlformats-officedocument.presentationml.tags+xml"/>
  <Override PartName="/ppt/slides/slide27.xml" ContentType="application/vnd.openxmlformats-officedocument.presentationml.slide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tags/tag549.xml" ContentType="application/vnd.openxmlformats-officedocument.presentationml.tags+xml"/>
  <Override PartName="/ppt/tags/tag596.xml" ContentType="application/vnd.openxmlformats-officedocument.presentationml.tags+xml"/>
  <Override PartName="/ppt/tags/tag735.xml" ContentType="application/vnd.openxmlformats-officedocument.presentationml.tags+xml"/>
  <Override PartName="/ppt/tags/tag782.xml" ContentType="application/vnd.openxmlformats-officedocument.presentationml.tags+xml"/>
  <Override PartName="/ppt/slides/slide2.xml" ContentType="application/vnd.openxmlformats-officedocument.presentationml.slide+xml"/>
  <Default Extension="wmf" ContentType="image/x-wmf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527.xml" ContentType="application/vnd.openxmlformats-officedocument.presentationml.tags+xml"/>
  <Override PartName="/ppt/tags/tag574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713.xml" ContentType="application/vnd.openxmlformats-officedocument.presentationml.tags+xml"/>
  <Override PartName="/ppt/tags/tag760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505.xml" ContentType="application/vnd.openxmlformats-officedocument.presentationml.tags+xml"/>
  <Override PartName="/ppt/tags/tag552.xml" ContentType="application/vnd.openxmlformats-officedocument.presentationml.tags+xml"/>
  <Override PartName="/ppt/tags/tag697.xml" ContentType="application/vnd.openxmlformats-officedocument.presentationml.tags+xml"/>
  <Override PartName="/ppt/tags/tag836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489.xml" ContentType="application/vnd.openxmlformats-officedocument.presentationml.tags+xml"/>
  <Override PartName="/ppt/tags/tag530.xml" ContentType="application/vnd.openxmlformats-officedocument.presentationml.tags+xml"/>
  <Override PartName="/ppt/tags/tag628.xml" ContentType="application/vnd.openxmlformats-officedocument.presentationml.tags+xml"/>
  <Override PartName="/ppt/tags/tag675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tags/tag798.xml" ContentType="application/vnd.openxmlformats-officedocument.presentationml.tags+xml"/>
  <Override PartName="/ppt/tags/tag814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606.xml" ContentType="application/vnd.openxmlformats-officedocument.presentationml.tags+xml"/>
  <Override PartName="/ppt/tags/tag653.xml" ContentType="application/vnd.openxmlformats-officedocument.presentationml.tags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tags/tag631.xml" ContentType="application/vnd.openxmlformats-officedocument.presentationml.tags+xml"/>
  <Override PartName="/ppt/tags/tag729.xml" ContentType="application/vnd.openxmlformats-officedocument.presentationml.tags+xml"/>
  <Override PartName="/ppt/tags/tag776.xml" ContentType="application/vnd.openxmlformats-officedocument.presentationml.tags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tags/tag470.xml" ContentType="application/vnd.openxmlformats-officedocument.presentationml.tags+xml"/>
  <Override PartName="/ppt/tags/tag568.xml" ContentType="application/vnd.openxmlformats-officedocument.presentationml.tags+xml"/>
  <Override PartName="/ppt/tags/tag707.xml" ContentType="application/vnd.openxmlformats-officedocument.presentationml.tags+xml"/>
  <Override PartName="/ppt/tags/tag754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tags/tag546.xml" ContentType="application/vnd.openxmlformats-officedocument.presentationml.tags+xml"/>
  <Override PartName="/ppt/tags/tag593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669.xml" ContentType="application/vnd.openxmlformats-officedocument.presentationml.tags+xml"/>
  <Override PartName="/ppt/tags/tag732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524.xml" ContentType="application/vnd.openxmlformats-officedocument.presentationml.tags+xml"/>
  <Override PartName="/ppt/tags/tag571.xml" ContentType="application/vnd.openxmlformats-officedocument.presentationml.tags+xml"/>
  <Override PartName="/ppt/tags/tag710.xml" ContentType="application/vnd.openxmlformats-officedocument.presentationml.tags+xml"/>
  <Override PartName="/ppt/tags/tag808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502.xml" ContentType="application/vnd.openxmlformats-officedocument.presentationml.tags+xml"/>
  <Override PartName="/ppt/tags/tag647.xml" ContentType="application/vnd.openxmlformats-officedocument.presentationml.tags+xml"/>
  <Override PartName="/ppt/tags/tag694.xml" ContentType="application/vnd.openxmlformats-officedocument.presentationml.tags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notesSlides/notesSlide6.xml" ContentType="application/vnd.openxmlformats-officedocument.presentationml.notesSlide+xml"/>
  <Override PartName="/ppt/tags/tag833.xml" ContentType="application/vnd.openxmlformats-officedocument.presentationml.tags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tags/tag417.xml" ContentType="application/vnd.openxmlformats-officedocument.presentationml.tags+xml"/>
  <Override PartName="/ppt/tags/tag625.xml" ContentType="application/vnd.openxmlformats-officedocument.presentationml.tags+xml"/>
  <Override PartName="/ppt/tags/tag672.xml" ContentType="application/vnd.openxmlformats-officedocument.presentationml.tags+xml"/>
  <Override PartName="/ppt/tags/tag811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464.xml" ContentType="application/vnd.openxmlformats-officedocument.presentationml.tags+xml"/>
  <Override PartName="/ppt/tags/tag603.xml" ContentType="application/vnd.openxmlformats-officedocument.presentationml.tags+xml"/>
  <Override PartName="/ppt/tags/tag650.xml" ContentType="application/vnd.openxmlformats-officedocument.presentationml.tags+xml"/>
  <Override PartName="/ppt/tags/tag748.xml" ContentType="application/vnd.openxmlformats-officedocument.presentationml.tags+xml"/>
  <Override PartName="/ppt/tags/tag795.xml" ContentType="application/vnd.openxmlformats-officedocument.presentationml.tags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ags/tag111.xml" ContentType="application/vnd.openxmlformats-officedocument.presentationml.tags+xml"/>
  <Override PartName="/ppt/tags/tag442.xml" ContentType="application/vnd.openxmlformats-officedocument.presentationml.tags+xml"/>
  <Override PartName="/ppt/tags/tag587.xml" ContentType="application/vnd.openxmlformats-officedocument.presentationml.tags+xml"/>
  <Override PartName="/ppt/tags/tag726.xml" ContentType="application/vnd.openxmlformats-officedocument.presentationml.tags+xml"/>
  <Override PartName="/ppt/tags/tag773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tags/tag518.xml" ContentType="application/vnd.openxmlformats-officedocument.presentationml.tags+xml"/>
  <Override PartName="/ppt/tags/tag565.xml" ContentType="application/vnd.openxmlformats-officedocument.presentationml.tags+xml"/>
  <Override PartName="/ppt/tags/tag849.xml" ContentType="application/vnd.openxmlformats-officedocument.presentationml.tags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tags/tag688.xml" ContentType="application/vnd.openxmlformats-officedocument.presentationml.tags+xml"/>
  <Override PartName="/ppt/tags/tag704.xml" ContentType="application/vnd.openxmlformats-officedocument.presentationml.tags+xml"/>
  <Override PartName="/ppt/tags/tag751.xml" ContentType="application/vnd.openxmlformats-officedocument.presentationml.tags+xml"/>
  <Override PartName="/ppt/slides/slide21.xml" ContentType="application/vnd.openxmlformats-officedocument.presentationml.slide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tags/tag543.xml" ContentType="application/vnd.openxmlformats-officedocument.presentationml.tags+xml"/>
  <Override PartName="/ppt/tags/tag590.xml" ContentType="application/vnd.openxmlformats-officedocument.presentationml.tags+xml"/>
  <Override PartName="/ppt/tags/tag827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tags/tag521.xml" ContentType="application/vnd.openxmlformats-officedocument.presentationml.tags+xml"/>
  <Override PartName="/ppt/tags/tag619.xml" ContentType="application/vnd.openxmlformats-officedocument.presentationml.tags+xml"/>
  <Override PartName="/ppt/tags/tag666.xml" ContentType="application/vnd.openxmlformats-officedocument.presentationml.tags+xml"/>
  <Override PartName="/ppt/tags/tag805.xml" ContentType="application/vnd.openxmlformats-officedocument.presentationml.tags+xml"/>
  <Override PartName="/ppt/tags/tag852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tags/tag644.xml" ContentType="application/vnd.openxmlformats-officedocument.presentationml.tags+xml"/>
  <Override PartName="/ppt/tags/tag691.xml" ContentType="application/vnd.openxmlformats-officedocument.presentationml.tags+xml"/>
  <Override PartName="/ppt/tags/tag789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436.xml" ContentType="application/vnd.openxmlformats-officedocument.presentationml.tags+xml"/>
  <Override PartName="/ppt/tags/tag483.xml" ContentType="application/vnd.openxmlformats-officedocument.presentationml.tags+xml"/>
  <Override PartName="/ppt/tags/tag830.xml" ContentType="application/vnd.openxmlformats-officedocument.presentationml.tags+xml"/>
  <Override PartName="/ppt/tags/tag228.xml" ContentType="application/vnd.openxmlformats-officedocument.presentationml.tags+xml"/>
  <Override PartName="/ppt/notesSlides/notesSlide3.xml" ContentType="application/vnd.openxmlformats-officedocument.presentationml.notesSlide+xml"/>
  <Override PartName="/ppt/tags/tag275.xml" ContentType="application/vnd.openxmlformats-officedocument.presentationml.tags+xml"/>
  <Override PartName="/ppt/tags/tag622.xml" ContentType="application/vnd.openxmlformats-officedocument.presentationml.tags+xml"/>
  <Override PartName="/ppt/tags/tag767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tags/tag559.xml" ContentType="application/vnd.openxmlformats-officedocument.presentationml.tags+xml"/>
  <Override PartName="/ppt/tags/tag600.xml" ContentType="application/vnd.openxmlformats-officedocument.presentationml.tags+xml"/>
  <Override PartName="/ppt/tags/tag745.xml" ContentType="application/vnd.openxmlformats-officedocument.presentationml.tags+xml"/>
  <Override PartName="/ppt/tags/tag792.xml" ContentType="application/vnd.openxmlformats-officedocument.presentationml.tags+xml"/>
  <Override PartName="/ppt/slides/slide15.xml" ContentType="application/vnd.openxmlformats-officedocument.presentationml.slide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98.xml" ContentType="application/vnd.openxmlformats-officedocument.presentationml.tags+xml"/>
  <Override PartName="/ppt/tags/tag537.xml" ContentType="application/vnd.openxmlformats-officedocument.presentationml.tags+xml"/>
  <Override PartName="/ppt/tags/tag584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723.xml" ContentType="application/vnd.openxmlformats-officedocument.presentationml.tags+xml"/>
  <Override PartName="/ppt/tags/tag770.xml" ContentType="application/vnd.openxmlformats-officedocument.presentationml.tags+xml"/>
  <Override PartName="/ppt/tags/tag168.xml" ContentType="application/vnd.openxmlformats-officedocument.presentationml.tags+xml"/>
  <Override PartName="/ppt/tags/tag499.xml" ContentType="application/vnd.openxmlformats-officedocument.presentationml.tags+xml"/>
  <Override PartName="/ppt/tags/tag515.xml" ContentType="application/vnd.openxmlformats-officedocument.presentationml.tags+xml"/>
  <Override PartName="/ppt/tags/tag562.xml" ContentType="application/vnd.openxmlformats-officedocument.presentationml.tags+xml"/>
  <Override PartName="/ppt/tags/tag701.xml" ContentType="application/vnd.openxmlformats-officedocument.presentationml.tags+xml"/>
  <Override PartName="/ppt/tags/tag846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307.xml" ContentType="application/vnd.openxmlformats-officedocument.presentationml.tags+xml"/>
  <Override PartName="/ppt/tags/tag354.xml" ContentType="application/vnd.openxmlformats-officedocument.presentationml.tags+xml"/>
  <Override PartName="/ppt/tags/tag540.xml" ContentType="application/vnd.openxmlformats-officedocument.presentationml.tags+xml"/>
  <Override PartName="/ppt/tags/tag638.xml" ContentType="application/vnd.openxmlformats-officedocument.presentationml.tags+xml"/>
  <Override PartName="/ppt/tags/tag685.xml" ContentType="application/vnd.openxmlformats-officedocument.presentationml.tags+xml"/>
  <Override PartName="/ppt/tags/tag824.xml" ContentType="application/vnd.openxmlformats-officedocument.presentationml.tags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477.xml" ContentType="application/vnd.openxmlformats-officedocument.presentationml.tags+xml"/>
  <Override PartName="/ppt/tags/tag616.xml" ContentType="application/vnd.openxmlformats-officedocument.presentationml.tags+xml"/>
  <Override PartName="/ppt/tags/tag663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408.xml" ContentType="application/vnd.openxmlformats-officedocument.presentationml.tags+xml"/>
  <Override PartName="/ppt/tags/tag455.xml" ContentType="application/vnd.openxmlformats-officedocument.presentationml.tags+xml"/>
  <Override PartName="/ppt/tags/tag739.xml" ContentType="application/vnd.openxmlformats-officedocument.presentationml.tags+xml"/>
  <Override PartName="/ppt/tags/tag802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578.xml" ContentType="application/vnd.openxmlformats-officedocument.presentationml.tags+xml"/>
  <Override PartName="/ppt/tags/tag641.xml" ContentType="application/vnd.openxmlformats-officedocument.presentationml.tags+xml"/>
  <Override PartName="/ppt/tags/tag786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tags/tag717.xml" ContentType="application/vnd.openxmlformats-officedocument.presentationml.tags+xml"/>
  <Override PartName="/ppt/tags/tag764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411.xml" ContentType="application/vnd.openxmlformats-officedocument.presentationml.tags+xml"/>
  <Override PartName="/ppt/tags/tag509.xml" ContentType="application/vnd.openxmlformats-officedocument.presentationml.tags+xml"/>
  <Override PartName="/ppt/tags/tag556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203.xml" ContentType="application/vnd.openxmlformats-officedocument.presentationml.tags+xml"/>
  <Override PartName="/ppt/tags/tag250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679.xml" ContentType="application/vnd.openxmlformats-officedocument.presentationml.tags+xml"/>
  <Override PartName="/ppt/tags/tag742.xml" ContentType="application/vnd.openxmlformats-officedocument.presentationml.tags+xml"/>
  <Override PartName="/ppt/slides/slide12.xml" ContentType="application/vnd.openxmlformats-officedocument.presentationml.slide+xml"/>
  <Override PartName="/ppt/tags/tag187.xml" ContentType="application/vnd.openxmlformats-officedocument.presentationml.tags+xml"/>
  <Override PartName="/ppt/tags/tag534.xml" ContentType="application/vnd.openxmlformats-officedocument.presentationml.tags+xml"/>
  <Override PartName="/ppt/tags/tag581.xml" ContentType="application/vnd.openxmlformats-officedocument.presentationml.tags+xml"/>
  <Override PartName="/ppt/tags/tag720.xml" ContentType="application/vnd.openxmlformats-officedocument.presentationml.tags+xml"/>
  <Override PartName="/ppt/tags/tag818.xml" ContentType="application/vnd.openxmlformats-officedocument.presentationml.tags+xml"/>
  <Override PartName="/ppt/tags/tag25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tags/tag373.xml" ContentType="application/vnd.openxmlformats-officedocument.presentationml.tags+xml"/>
  <Override PartName="/ppt/tags/tag512.xml" ContentType="application/vnd.openxmlformats-officedocument.presentationml.tags+xml"/>
  <Override PartName="/ppt/tags/tag657.xml" ContentType="application/vnd.openxmlformats-officedocument.presentationml.tags+xml"/>
  <Override PartName="/ppt/tags/tag843.xml" ContentType="application/vnd.openxmlformats-officedocument.presentationml.tags+xml"/>
  <Override PartName="/ppt/tags/tag50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49.xml" ContentType="application/vnd.openxmlformats-officedocument.presentationml.tags+xml"/>
  <Override PartName="/ppt/tags/tag496.xml" ContentType="application/vnd.openxmlformats-officedocument.presentationml.tags+xml"/>
  <Override PartName="/ppt/tags/tag635.xml" ContentType="application/vnd.openxmlformats-officedocument.presentationml.tags+xml"/>
  <Override PartName="/ppt/tags/tag682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88.xml" ContentType="application/vnd.openxmlformats-officedocument.presentationml.tags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tags/tag758.xml" ContentType="application/vnd.openxmlformats-officedocument.presentationml.tags+xml"/>
  <Override PartName="/ppt/tags/tag821.xml" ContentType="application/vnd.openxmlformats-officedocument.presentationml.tags+xml"/>
  <Override PartName="/ppt/slides/slide28.xml" ContentType="application/vnd.openxmlformats-officedocument.presentationml.slide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597.xml" ContentType="application/vnd.openxmlformats-officedocument.presentationml.tags+xml"/>
  <Override PartName="/ppt/tags/tag613.xml" ContentType="application/vnd.openxmlformats-officedocument.presentationml.tags+xml"/>
  <Override PartName="/ppt/tags/tag660.xml" ContentType="application/vnd.openxmlformats-officedocument.presentationml.tags+xml"/>
  <Override PartName="/ppt/slides/slide3.xml" ContentType="application/vnd.openxmlformats-officedocument.presentationml.slide+xml"/>
  <Override PartName="/ppt/tags/tag121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Override PartName="/ppt/tags/tag736.xml" ContentType="application/vnd.openxmlformats-officedocument.presentationml.tags+xml"/>
  <Override PartName="/ppt/tags/tag783.xml" ContentType="application/vnd.openxmlformats-officedocument.presentationml.tags+xml"/>
  <Default Extension="jpeg" ContentType="image/jpeg"/>
  <Override PartName="/ppt/tags/tag88.xml" ContentType="application/vnd.openxmlformats-officedocument.presentationml.tags+xml"/>
  <Override PartName="/ppt/tags/tag244.xml" ContentType="application/vnd.openxmlformats-officedocument.presentationml.tags+xml"/>
  <Override PartName="/ppt/tags/tag291.xml" ContentType="application/vnd.openxmlformats-officedocument.presentationml.tags+xml"/>
  <Override PartName="/ppt/tags/tag430.xml" ContentType="application/vnd.openxmlformats-officedocument.presentationml.tags+xml"/>
  <Override PartName="/ppt/tags/tag528.xml" ContentType="application/vnd.openxmlformats-officedocument.presentationml.tags+xml"/>
  <Override PartName="/ppt/tags/tag575.xml" ContentType="application/vnd.openxmlformats-officedocument.presentationml.tags+xml"/>
  <Override PartName="/ppt/tags/tag714.xml" ContentType="application/vnd.openxmlformats-officedocument.presentationml.tags+xml"/>
  <Override PartName="/ppt/tags/tag761.xml" ContentType="application/vnd.openxmlformats-officedocument.presentationml.tags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tags/tag506.xml" ContentType="application/vnd.openxmlformats-officedocument.presentationml.tags+xml"/>
  <Override PartName="/ppt/tags/tag553.xml" ContentType="application/vnd.openxmlformats-officedocument.presentationml.tags+xml"/>
  <Override PartName="/ppt/tags/tag698.xml" ContentType="application/vnd.openxmlformats-officedocument.presentationml.tags+xml"/>
  <Override PartName="/ppt/tags/tag159.xml" ContentType="application/vnd.openxmlformats-officedocument.presentationml.tags+xml"/>
  <Override PartName="/ppt/tags/tag345.xml" ContentType="application/vnd.openxmlformats-officedocument.presentationml.tags+xml"/>
  <Override PartName="/ppt/tags/tag392.xml" ContentType="application/vnd.openxmlformats-officedocument.presentationml.tags+xml"/>
  <Override PartName="/ppt/tags/tag837.xml" ContentType="application/vnd.openxmlformats-officedocument.presentationml.tags+xml"/>
  <Override PartName="/ppt/tags/tag44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tags/tag531.xml" ContentType="application/vnd.openxmlformats-officedocument.presentationml.tags+xml"/>
  <Override PartName="/ppt/tags/tag629.xml" ContentType="application/vnd.openxmlformats-officedocument.presentationml.tags+xml"/>
  <Override PartName="/ppt/tags/tag676.xml" ContentType="application/vnd.openxmlformats-officedocument.presentationml.tags+xml"/>
  <Override PartName="/ppt/tags/tag815.xml" ContentType="application/vnd.openxmlformats-officedocument.presentationml.tags+xml"/>
  <Override PartName="/ppt/tags/tag22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68.xml" ContentType="application/vnd.openxmlformats-officedocument.presentationml.tags+xml"/>
  <Override PartName="/ppt/tags/tag607.xml" ContentType="application/vnd.openxmlformats-officedocument.presentationml.tags+xml"/>
  <Override PartName="/ppt/tags/tag654.xml" ContentType="application/vnd.openxmlformats-officedocument.presentationml.tags+xml"/>
  <Override PartName="/ppt/tags/tag799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301.xml" ContentType="application/vnd.openxmlformats-officedocument.presentationml.tags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tags/tag777.xml" ContentType="application/vnd.openxmlformats-officedocument.presentationml.tags+xml"/>
  <Override PartName="/ppt/tags/tag840.xml" ContentType="application/vnd.openxmlformats-officedocument.presentationml.tags+xml"/>
  <Override PartName="/ppt/tags/tag140.xml" ContentType="application/vnd.openxmlformats-officedocument.presentationml.tags+xml"/>
  <Override PartName="/ppt/tags/tag285.xml" ContentType="application/vnd.openxmlformats-officedocument.presentationml.tags+xml"/>
  <Override PartName="/ppt/tags/tag632.xml" ContentType="application/vnd.openxmlformats-officedocument.presentationml.tags+xml"/>
  <Override PartName="/ppt/tags/tag471.xml" ContentType="application/vnd.openxmlformats-officedocument.presentationml.tags+xml"/>
  <Override PartName="/ppt/tags/tag708.xml" ContentType="application/vnd.openxmlformats-officedocument.presentationml.tags+xml"/>
  <Override PartName="/ppt/tags/tag216.xml" ContentType="application/vnd.openxmlformats-officedocument.presentationml.tags+xml"/>
  <Override PartName="/ppt/tags/tag402.xml" ContentType="application/vnd.openxmlformats-officedocument.presentationml.tags+xml"/>
  <Override PartName="/ppt/tags/tag547.xml" ContentType="application/vnd.openxmlformats-officedocument.presentationml.tags+xml"/>
  <Override PartName="/ppt/tags/tag733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86.xml" ContentType="application/vnd.openxmlformats-officedocument.presentationml.tags+xml"/>
  <Override PartName="/ppt/tags/tag572.xml" ContentType="application/vnd.openxmlformats-officedocument.presentationml.tags+xml"/>
  <Override PartName="/ppt/tags/tag16.xml" ContentType="application/vnd.openxmlformats-officedocument.presentationml.tags+xml"/>
  <Override PartName="/ppt/tags/tag317.xml" ContentType="application/vnd.openxmlformats-officedocument.presentationml.tags+xml"/>
  <Override PartName="/ppt/tags/tag809.xml" ContentType="application/vnd.openxmlformats-officedocument.presentationml.tags+xml"/>
  <Override PartName="/ppt/tags/tag156.xml" ContentType="application/vnd.openxmlformats-officedocument.presentationml.tags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tags/tag648.xml" ContentType="application/vnd.openxmlformats-officedocument.presentationml.tags+xml"/>
  <Override PartName="/ppt/tags/tag834.xml" ContentType="application/vnd.openxmlformats-officedocument.presentationml.tags+xml"/>
  <Override PartName="/ppt/tags/tag41.xml" ContentType="application/vnd.openxmlformats-officedocument.presentationml.tags+xml"/>
  <Override PartName="/ppt/tags/tag342.xml" ContentType="application/vnd.openxmlformats-officedocument.presentationml.tags+xml"/>
  <Override PartName="/ppt/tags/tag673.xml" ContentType="application/vnd.openxmlformats-officedocument.presentationml.tags+xml"/>
  <Override PartName="/ppt/tags/tag181.xml" ContentType="application/vnd.openxmlformats-officedocument.presentationml.tags+xml"/>
  <Override PartName="/ppt/tags/tag418.xml" ContentType="application/vnd.openxmlformats-officedocument.presentationml.tags+xml"/>
  <Override PartName="/ppt/tags/tag749.xml" ContentType="application/vnd.openxmlformats-officedocument.presentationml.tags+xml"/>
  <Override PartName="/ppt/slides/slide19.xml" ContentType="application/vnd.openxmlformats-officedocument.presentationml.slide+xml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88.xml" ContentType="application/vnd.openxmlformats-officedocument.presentationml.tags+xml"/>
  <Override PartName="/ppt/tags/tag604.xml" ContentType="application/vnd.openxmlformats-officedocument.presentationml.tags+xml"/>
  <Override PartName="/ppt/theme/theme2.xml" ContentType="application/vnd.openxmlformats-officedocument.theme+xml"/>
  <Override PartName="/ppt/tags/tag443.xml" ContentType="application/vnd.openxmlformats-officedocument.presentationml.tags+xml"/>
  <Override PartName="/ppt/tags/tag774.xml" ContentType="application/vnd.openxmlformats-officedocument.presentationml.tags+xml"/>
  <Default Extension="emf" ContentType="image/x-emf"/>
  <Override PartName="/ppt/tags/tag282.xml" ContentType="application/vnd.openxmlformats-officedocument.presentationml.tags+xml"/>
  <Override PartName="/ppt/tags/tag519.xml" ContentType="application/vnd.openxmlformats-officedocument.presentationml.tags+xml"/>
  <Override PartName="/ppt/tags/tag705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358.xml" ContentType="application/vnd.openxmlformats-officedocument.presentationml.tags+xml"/>
  <Override PartName="/ppt/tags/tag544.xml" ContentType="application/vnd.openxmlformats-officedocument.presentationml.tags+xml"/>
  <Override PartName="/ppt/tags/tag689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83.xml" ContentType="application/vnd.openxmlformats-officedocument.presentationml.tags+xml"/>
  <Override PartName="/ppt/tags/tag730.xml" ContentType="application/vnd.openxmlformats-officedocument.presentationml.tags+xml"/>
  <Override PartName="/ppt/tags/tag128.xml" ContentType="application/vnd.openxmlformats-officedocument.presentationml.tags+xml"/>
  <Override PartName="/ppt/tags/tag459.xml" ContentType="application/vnd.openxmlformats-officedocument.presentationml.tags+xml"/>
  <Override PartName="/ppt/tags/tag806.xml" ContentType="application/vnd.openxmlformats-officedocument.presentationml.tags+xml"/>
  <Override PartName="/ppt/tags/tag13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500.xml" ContentType="application/vnd.openxmlformats-officedocument.presentationml.tags+xml"/>
  <Override PartName="/ppt/tags/tag645.xml" ContentType="application/vnd.openxmlformats-officedocument.presentationml.tags+xml"/>
  <Override PartName="/ppt/tags/tag831.xml" ContentType="application/vnd.openxmlformats-officedocument.presentationml.tags+xml"/>
  <Override PartName="/ppt/tags/tag153.xml" ContentType="application/vnd.openxmlformats-officedocument.presentationml.tags+xml"/>
  <Override PartName="/ppt/tags/tag484.xml" ContentType="application/vnd.openxmlformats-officedocument.presentationml.tags+xml"/>
  <Override PartName="/ppt/tags/tag670.xml" ContentType="application/vnd.openxmlformats-officedocument.presentationml.tags+xml"/>
  <Override PartName="/ppt/tags/tag229.xml" ContentType="application/vnd.openxmlformats-officedocument.presentationml.tags+xml"/>
  <Override PartName="/ppt/tags/tag415.xml" ContentType="application/vnd.openxmlformats-officedocument.presentationml.tags+xml"/>
  <Override PartName="/ppt/tags/tag98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tags/tag601.xml" ContentType="application/vnd.openxmlformats-officedocument.presentationml.tags+xml"/>
  <Override PartName="/ppt/tags/tag746.xml" ContentType="application/vnd.openxmlformats-officedocument.presentationml.tags+xml"/>
  <Override PartName="/ppt/slides/slide16.xml" ContentType="application/vnd.openxmlformats-officedocument.presentationml.slide+xml"/>
  <Override PartName="/ppt/tags/tag440.xml" ContentType="application/vnd.openxmlformats-officedocument.presentationml.tags+xml"/>
  <Override PartName="/ppt/tags/tag585.xml" ContentType="application/vnd.openxmlformats-officedocument.presentationml.tags+xml"/>
  <Override PartName="/ppt/tags/tag771.xml" ContentType="application/vnd.openxmlformats-officedocument.presentationml.tags+xml"/>
  <Override PartName="/ppt/tags/tag29.xml" ContentType="application/vnd.openxmlformats-officedocument.presentationml.tags+xml"/>
  <Override PartName="/ppt/tags/tag516.xml" ContentType="application/vnd.openxmlformats-officedocument.presentationml.tags+xml"/>
  <Override PartName="/ppt/tags/tag847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55.xml" ContentType="application/vnd.openxmlformats-officedocument.presentationml.tags+xml"/>
  <Override PartName="/ppt/tags/tag686.xml" ContentType="application/vnd.openxmlformats-officedocument.presentationml.tags+xml"/>
  <Override PartName="/ppt/tags/tag702.xml" ContentType="application/vnd.openxmlformats-officedocument.presentationml.tags+xml"/>
  <Override PartName="/ppt/tags/tag194.xml" ContentType="application/vnd.openxmlformats-officedocument.presentationml.tags+xml"/>
  <Override PartName="/ppt/tags/tag541.xml" ContentType="application/vnd.openxmlformats-officedocument.presentationml.tags+xml"/>
  <Override PartName="/ppt/tags/tag380.xml" ContentType="application/vnd.openxmlformats-officedocument.presentationml.tags+xml"/>
  <Override PartName="/ppt/tags/tag617.xml" ContentType="application/vnd.openxmlformats-officedocument.presentationml.tags+xml"/>
  <Override PartName="/ppt/tags/tag803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311.xml" ContentType="application/vnd.openxmlformats-officedocument.presentationml.tags+xml"/>
  <Override PartName="/ppt/tags/tag456.xml" ContentType="application/vnd.openxmlformats-officedocument.presentationml.tags+xml"/>
  <Override PartName="/ppt/tags/tag642.xml" ContentType="application/vnd.openxmlformats-officedocument.presentationml.tags+xml"/>
  <Override PartName="/ppt/tags/tag787.xml" ContentType="application/vnd.openxmlformats-officedocument.presentationml.tags+xml"/>
  <Override PartName="/ppt/tags/tag150.xml" ContentType="application/vnd.openxmlformats-officedocument.presentationml.tags+xml"/>
  <Override PartName="/ppt/tags/tag295.xml" ContentType="application/vnd.openxmlformats-officedocument.presentationml.tags+xml"/>
  <Override PartName="/ppt/tags/tag48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97" r:id="rId2"/>
    <p:sldId id="436" r:id="rId3"/>
    <p:sldId id="437" r:id="rId4"/>
    <p:sldId id="438" r:id="rId5"/>
    <p:sldId id="442" r:id="rId6"/>
    <p:sldId id="407" r:id="rId7"/>
    <p:sldId id="433" r:id="rId8"/>
    <p:sldId id="441" r:id="rId9"/>
    <p:sldId id="435" r:id="rId10"/>
    <p:sldId id="403" r:id="rId11"/>
    <p:sldId id="401" r:id="rId12"/>
    <p:sldId id="404" r:id="rId13"/>
    <p:sldId id="385" r:id="rId14"/>
    <p:sldId id="356" r:id="rId15"/>
    <p:sldId id="439" r:id="rId16"/>
    <p:sldId id="377" r:id="rId17"/>
    <p:sldId id="347" r:id="rId18"/>
    <p:sldId id="397" r:id="rId19"/>
    <p:sldId id="432" r:id="rId20"/>
    <p:sldId id="429" r:id="rId21"/>
    <p:sldId id="398" r:id="rId22"/>
    <p:sldId id="440" r:id="rId23"/>
    <p:sldId id="431" r:id="rId24"/>
    <p:sldId id="422" r:id="rId25"/>
    <p:sldId id="423" r:id="rId26"/>
    <p:sldId id="424" r:id="rId27"/>
    <p:sldId id="425" r:id="rId28"/>
    <p:sldId id="426" r:id="rId29"/>
    <p:sldId id="427" r:id="rId30"/>
    <p:sldId id="428" r:id="rId31"/>
    <p:sldId id="430" r:id="rId32"/>
    <p:sldId id="359" r:id="rId33"/>
    <p:sldId id="343" r:id="rId34"/>
  </p:sldIdLst>
  <p:sldSz cx="9144000" cy="6858000" type="screen4x3"/>
  <p:notesSz cx="6797675" cy="9929813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2F2F2"/>
    <a:srgbClr val="77787B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3360" autoAdjust="0"/>
    <p:restoredTop sz="94718" autoAdjust="0"/>
  </p:normalViewPr>
  <p:slideViewPr>
    <p:cSldViewPr snapToGrid="0" showGuides="1">
      <p:cViewPr>
        <p:scale>
          <a:sx n="80" d="100"/>
          <a:sy n="80" d="100"/>
        </p:scale>
        <p:origin x="-78" y="-72"/>
      </p:cViewPr>
      <p:guideLst>
        <p:guide orient="horz" pos="1185"/>
        <p:guide orient="horz" pos="1321"/>
        <p:guide orient="horz" pos="3952"/>
        <p:guide orient="horz" pos="4247"/>
        <p:guide pos="2880"/>
        <p:guide pos="2657"/>
        <p:guide pos="3107"/>
        <p:guide pos="5602"/>
        <p:guide pos="15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image" Target="../media/image40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image" Target="../media/image4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BA0B0B-1A8C-4A46-A321-1DA0D87D2ECD}" type="datetimeFigureOut">
              <a:rPr lang="en-US" smtClean="0"/>
              <a:pPr/>
              <a:t>11/17/201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6661"/>
            <a:ext cx="5438140" cy="44684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1599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6C2CB8-76F0-4A9B-B4B9-CABF605FE3A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7E778A-CB0B-42FC-845C-320A296E82DE}" type="slidenum">
              <a:rPr lang="en-US" smtClean="0"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4A23CD2-EE0B-4BB4-A80C-8EC846498B47}" type="slidenum">
              <a:rPr lang="en-US" smtClean="0"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F6F461-26AC-4A8E-887A-5A4AB13695D8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F6F461-26AC-4A8E-887A-5A4AB13695D8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35EC55A-793B-4588-B9B8-A39B5AE24339}" type="slidenum">
              <a:rPr lang="en-US" sz="11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US" sz="1100" b="1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82675" y="865188"/>
            <a:ext cx="4638675" cy="34798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7930" y="4714938"/>
            <a:ext cx="4978668" cy="4461520"/>
          </a:xfrm>
          <a:noFill/>
        </p:spPr>
        <p:txBody>
          <a:bodyPr wrap="square" lIns="94493" tIns="47247" rIns="94493" bIns="47247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FF70D7B-E5D5-410C-9EAB-85F4B6D61D9A}" type="slidenum">
              <a:rPr lang="en-US" sz="11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en-US" sz="1100" b="1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AF00F6C-21FD-424E-8DF9-ADF8A1D546A6}" type="slidenum">
              <a:rPr lang="en-GB"/>
              <a:pPr/>
              <a:t>30</a:t>
            </a:fld>
            <a:endParaRPr lang="en-GB"/>
          </a:p>
        </p:txBody>
      </p:sp>
      <p:sp>
        <p:nvSpPr>
          <p:cNvPr id="1432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25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TK2007 Cov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30400" y="914400"/>
            <a:ext cx="8683200" cy="1588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9" descr="logo atekearney_rot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40150" y="6546850"/>
            <a:ext cx="167005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2000" y="2318400"/>
            <a:ext cx="6840000" cy="401648"/>
          </a:xfrm>
          <a:prstGeom prst="rect">
            <a:avLst/>
          </a:prstGeom>
        </p:spPr>
        <p:txBody>
          <a:bodyPr/>
          <a:lstStyle>
            <a:lvl1pPr algn="ctr">
              <a:lnSpc>
                <a:spcPct val="90000"/>
              </a:lnSpc>
              <a:defRPr sz="29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8000" y="3470400"/>
            <a:ext cx="6408000" cy="22159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900"/>
              </a:spcBef>
              <a:buNone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923928" y="404664"/>
            <a:ext cx="1335302" cy="1938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400" b="1" dirty="0" smtClean="0">
                <a:latin typeface="Arial "/>
              </a:rPr>
              <a:t>CONFIDENTIAL</a:t>
            </a:r>
            <a:endParaRPr lang="en-US" sz="1400" b="1" dirty="0" err="1" smtClean="0">
              <a:latin typeface="Arial 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K2007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2007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597600"/>
            <a:ext cx="8648700" cy="332399"/>
          </a:xfrm>
          <a:prstGeom prst="rect">
            <a:avLst/>
          </a:prstGeom>
        </p:spPr>
        <p:txBody>
          <a:bodyPr rtlCol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44800" y="2091600"/>
            <a:ext cx="8648700" cy="1342046"/>
          </a:xfr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wmf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596741"/>
            <a:ext cx="8650224" cy="338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2092326"/>
            <a:ext cx="8641080" cy="133882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1268635" y="457200"/>
            <a:ext cx="7644384" cy="1588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7175000" y="6699791"/>
            <a:ext cx="1484381" cy="12311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 smtClean="0">
                <a:solidFill>
                  <a:schemeClr val="accent1"/>
                </a:solidFill>
                <a:latin typeface="Arial "/>
              </a:rPr>
              <a:t>A.T. Kearney xx/mm.yyyy/00000</a:t>
            </a:r>
            <a:endParaRPr lang="en-US" sz="800" dirty="0">
              <a:solidFill>
                <a:schemeClr val="accent1"/>
              </a:solidFill>
              <a:latin typeface="Arial 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652605" y="6691407"/>
            <a:ext cx="265176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 smtClean="0">
                <a:solidFill>
                  <a:schemeClr val="accent1"/>
                </a:solidFill>
              </a:rPr>
              <a:pPr algn="r"/>
              <a:t>‹Nr.›</a:t>
            </a:fld>
            <a:endParaRPr lang="en-US" sz="900" dirty="0">
              <a:solidFill>
                <a:schemeClr val="accent1"/>
              </a:solidFill>
            </a:endParaRPr>
          </a:p>
        </p:txBody>
      </p:sp>
      <p:pic>
        <p:nvPicPr>
          <p:cNvPr id="10" name="Picture 29" descr="logo atekearney_rot"/>
          <p:cNvPicPr preferRelativeResize="0"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5900" y="338138"/>
            <a:ext cx="1055688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 userDrawn="1"/>
        </p:nvSpPr>
        <p:spPr>
          <a:xfrm>
            <a:off x="3812762" y="152636"/>
            <a:ext cx="1335302" cy="1938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400" b="1" dirty="0" smtClean="0">
                <a:latin typeface="Arial "/>
              </a:rPr>
              <a:t>CONFIDENTIAL</a:t>
            </a:r>
            <a:endParaRPr lang="en-US" sz="1400" b="1" dirty="0" err="1" smtClean="0">
              <a:latin typeface="Arial 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7" r:id="rId3"/>
  </p:sldLayoutIdLst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74320" indent="-274320" algn="l" defTabSz="914400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 typeface="Wingdings" pitchFamily="2" charset="2"/>
        <a:buChar char="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48056" indent="-182880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936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12800" indent="-182563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87552" indent="-18288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294.xml"/><Relationship Id="rId18" Type="http://schemas.openxmlformats.org/officeDocument/2006/relationships/tags" Target="../tags/tag299.xml"/><Relationship Id="rId26" Type="http://schemas.openxmlformats.org/officeDocument/2006/relationships/tags" Target="../tags/tag307.xml"/><Relationship Id="rId39" Type="http://schemas.openxmlformats.org/officeDocument/2006/relationships/tags" Target="../tags/tag320.xml"/><Relationship Id="rId21" Type="http://schemas.openxmlformats.org/officeDocument/2006/relationships/tags" Target="../tags/tag302.xml"/><Relationship Id="rId34" Type="http://schemas.openxmlformats.org/officeDocument/2006/relationships/tags" Target="../tags/tag315.xml"/><Relationship Id="rId42" Type="http://schemas.openxmlformats.org/officeDocument/2006/relationships/tags" Target="../tags/tag323.xml"/><Relationship Id="rId47" Type="http://schemas.openxmlformats.org/officeDocument/2006/relationships/tags" Target="../tags/tag328.xml"/><Relationship Id="rId50" Type="http://schemas.openxmlformats.org/officeDocument/2006/relationships/tags" Target="../tags/tag331.xml"/><Relationship Id="rId55" Type="http://schemas.openxmlformats.org/officeDocument/2006/relationships/tags" Target="../tags/tag336.xml"/><Relationship Id="rId63" Type="http://schemas.openxmlformats.org/officeDocument/2006/relationships/tags" Target="../tags/tag344.xml"/><Relationship Id="rId68" Type="http://schemas.openxmlformats.org/officeDocument/2006/relationships/tags" Target="../tags/tag349.xml"/><Relationship Id="rId76" Type="http://schemas.openxmlformats.org/officeDocument/2006/relationships/oleObject" Target="../embeddings/oleObject18.bin"/><Relationship Id="rId7" Type="http://schemas.openxmlformats.org/officeDocument/2006/relationships/tags" Target="../tags/tag288.xml"/><Relationship Id="rId71" Type="http://schemas.openxmlformats.org/officeDocument/2006/relationships/tags" Target="../tags/tag352.xml"/><Relationship Id="rId2" Type="http://schemas.openxmlformats.org/officeDocument/2006/relationships/tags" Target="../tags/tag283.xml"/><Relationship Id="rId16" Type="http://schemas.openxmlformats.org/officeDocument/2006/relationships/tags" Target="../tags/tag297.xml"/><Relationship Id="rId29" Type="http://schemas.openxmlformats.org/officeDocument/2006/relationships/tags" Target="../tags/tag310.xml"/><Relationship Id="rId11" Type="http://schemas.openxmlformats.org/officeDocument/2006/relationships/tags" Target="../tags/tag292.xml"/><Relationship Id="rId24" Type="http://schemas.openxmlformats.org/officeDocument/2006/relationships/tags" Target="../tags/tag305.xml"/><Relationship Id="rId32" Type="http://schemas.openxmlformats.org/officeDocument/2006/relationships/tags" Target="../tags/tag313.xml"/><Relationship Id="rId37" Type="http://schemas.openxmlformats.org/officeDocument/2006/relationships/tags" Target="../tags/tag318.xml"/><Relationship Id="rId40" Type="http://schemas.openxmlformats.org/officeDocument/2006/relationships/tags" Target="../tags/tag321.xml"/><Relationship Id="rId45" Type="http://schemas.openxmlformats.org/officeDocument/2006/relationships/tags" Target="../tags/tag326.xml"/><Relationship Id="rId53" Type="http://schemas.openxmlformats.org/officeDocument/2006/relationships/tags" Target="../tags/tag334.xml"/><Relationship Id="rId58" Type="http://schemas.openxmlformats.org/officeDocument/2006/relationships/tags" Target="../tags/tag339.xml"/><Relationship Id="rId66" Type="http://schemas.openxmlformats.org/officeDocument/2006/relationships/tags" Target="../tags/tag347.xml"/><Relationship Id="rId74" Type="http://schemas.openxmlformats.org/officeDocument/2006/relationships/tags" Target="../tags/tag355.xml"/><Relationship Id="rId5" Type="http://schemas.openxmlformats.org/officeDocument/2006/relationships/tags" Target="../tags/tag286.xml"/><Relationship Id="rId15" Type="http://schemas.openxmlformats.org/officeDocument/2006/relationships/tags" Target="../tags/tag296.xml"/><Relationship Id="rId23" Type="http://schemas.openxmlformats.org/officeDocument/2006/relationships/tags" Target="../tags/tag304.xml"/><Relationship Id="rId28" Type="http://schemas.openxmlformats.org/officeDocument/2006/relationships/tags" Target="../tags/tag309.xml"/><Relationship Id="rId36" Type="http://schemas.openxmlformats.org/officeDocument/2006/relationships/tags" Target="../tags/tag317.xml"/><Relationship Id="rId49" Type="http://schemas.openxmlformats.org/officeDocument/2006/relationships/tags" Target="../tags/tag330.xml"/><Relationship Id="rId57" Type="http://schemas.openxmlformats.org/officeDocument/2006/relationships/tags" Target="../tags/tag338.xml"/><Relationship Id="rId61" Type="http://schemas.openxmlformats.org/officeDocument/2006/relationships/tags" Target="../tags/tag342.xml"/><Relationship Id="rId10" Type="http://schemas.openxmlformats.org/officeDocument/2006/relationships/tags" Target="../tags/tag291.xml"/><Relationship Id="rId19" Type="http://schemas.openxmlformats.org/officeDocument/2006/relationships/tags" Target="../tags/tag300.xml"/><Relationship Id="rId31" Type="http://schemas.openxmlformats.org/officeDocument/2006/relationships/tags" Target="../tags/tag312.xml"/><Relationship Id="rId44" Type="http://schemas.openxmlformats.org/officeDocument/2006/relationships/tags" Target="../tags/tag325.xml"/><Relationship Id="rId52" Type="http://schemas.openxmlformats.org/officeDocument/2006/relationships/tags" Target="../tags/tag333.xml"/><Relationship Id="rId60" Type="http://schemas.openxmlformats.org/officeDocument/2006/relationships/tags" Target="../tags/tag341.xml"/><Relationship Id="rId65" Type="http://schemas.openxmlformats.org/officeDocument/2006/relationships/tags" Target="../tags/tag346.xml"/><Relationship Id="rId73" Type="http://schemas.openxmlformats.org/officeDocument/2006/relationships/tags" Target="../tags/tag354.xml"/><Relationship Id="rId4" Type="http://schemas.openxmlformats.org/officeDocument/2006/relationships/tags" Target="../tags/tag285.xml"/><Relationship Id="rId9" Type="http://schemas.openxmlformats.org/officeDocument/2006/relationships/tags" Target="../tags/tag290.xml"/><Relationship Id="rId14" Type="http://schemas.openxmlformats.org/officeDocument/2006/relationships/tags" Target="../tags/tag295.xml"/><Relationship Id="rId22" Type="http://schemas.openxmlformats.org/officeDocument/2006/relationships/tags" Target="../tags/tag303.xml"/><Relationship Id="rId27" Type="http://schemas.openxmlformats.org/officeDocument/2006/relationships/tags" Target="../tags/tag308.xml"/><Relationship Id="rId30" Type="http://schemas.openxmlformats.org/officeDocument/2006/relationships/tags" Target="../tags/tag311.xml"/><Relationship Id="rId35" Type="http://schemas.openxmlformats.org/officeDocument/2006/relationships/tags" Target="../tags/tag316.xml"/><Relationship Id="rId43" Type="http://schemas.openxmlformats.org/officeDocument/2006/relationships/tags" Target="../tags/tag324.xml"/><Relationship Id="rId48" Type="http://schemas.openxmlformats.org/officeDocument/2006/relationships/tags" Target="../tags/tag329.xml"/><Relationship Id="rId56" Type="http://schemas.openxmlformats.org/officeDocument/2006/relationships/tags" Target="../tags/tag337.xml"/><Relationship Id="rId64" Type="http://schemas.openxmlformats.org/officeDocument/2006/relationships/tags" Target="../tags/tag345.xml"/><Relationship Id="rId69" Type="http://schemas.openxmlformats.org/officeDocument/2006/relationships/tags" Target="../tags/tag350.xml"/><Relationship Id="rId8" Type="http://schemas.openxmlformats.org/officeDocument/2006/relationships/tags" Target="../tags/tag289.xml"/><Relationship Id="rId51" Type="http://schemas.openxmlformats.org/officeDocument/2006/relationships/tags" Target="../tags/tag332.xml"/><Relationship Id="rId72" Type="http://schemas.openxmlformats.org/officeDocument/2006/relationships/tags" Target="../tags/tag353.xml"/><Relationship Id="rId3" Type="http://schemas.openxmlformats.org/officeDocument/2006/relationships/tags" Target="../tags/tag284.xml"/><Relationship Id="rId12" Type="http://schemas.openxmlformats.org/officeDocument/2006/relationships/tags" Target="../tags/tag293.xml"/><Relationship Id="rId17" Type="http://schemas.openxmlformats.org/officeDocument/2006/relationships/tags" Target="../tags/tag298.xml"/><Relationship Id="rId25" Type="http://schemas.openxmlformats.org/officeDocument/2006/relationships/tags" Target="../tags/tag306.xml"/><Relationship Id="rId33" Type="http://schemas.openxmlformats.org/officeDocument/2006/relationships/tags" Target="../tags/tag314.xml"/><Relationship Id="rId38" Type="http://schemas.openxmlformats.org/officeDocument/2006/relationships/tags" Target="../tags/tag319.xml"/><Relationship Id="rId46" Type="http://schemas.openxmlformats.org/officeDocument/2006/relationships/tags" Target="../tags/tag327.xml"/><Relationship Id="rId59" Type="http://schemas.openxmlformats.org/officeDocument/2006/relationships/tags" Target="../tags/tag340.xml"/><Relationship Id="rId67" Type="http://schemas.openxmlformats.org/officeDocument/2006/relationships/tags" Target="../tags/tag348.xml"/><Relationship Id="rId20" Type="http://schemas.openxmlformats.org/officeDocument/2006/relationships/tags" Target="../tags/tag301.xml"/><Relationship Id="rId41" Type="http://schemas.openxmlformats.org/officeDocument/2006/relationships/tags" Target="../tags/tag322.xml"/><Relationship Id="rId54" Type="http://schemas.openxmlformats.org/officeDocument/2006/relationships/tags" Target="../tags/tag335.xml"/><Relationship Id="rId62" Type="http://schemas.openxmlformats.org/officeDocument/2006/relationships/tags" Target="../tags/tag343.xml"/><Relationship Id="rId70" Type="http://schemas.openxmlformats.org/officeDocument/2006/relationships/tags" Target="../tags/tag351.xml"/><Relationship Id="rId75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87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367.xml"/><Relationship Id="rId18" Type="http://schemas.openxmlformats.org/officeDocument/2006/relationships/tags" Target="../tags/tag372.xml"/><Relationship Id="rId26" Type="http://schemas.openxmlformats.org/officeDocument/2006/relationships/tags" Target="../tags/tag380.xml"/><Relationship Id="rId39" Type="http://schemas.openxmlformats.org/officeDocument/2006/relationships/tags" Target="../tags/tag393.xml"/><Relationship Id="rId3" Type="http://schemas.openxmlformats.org/officeDocument/2006/relationships/tags" Target="../tags/tag357.xml"/><Relationship Id="rId21" Type="http://schemas.openxmlformats.org/officeDocument/2006/relationships/tags" Target="../tags/tag375.xml"/><Relationship Id="rId34" Type="http://schemas.openxmlformats.org/officeDocument/2006/relationships/tags" Target="../tags/tag388.xml"/><Relationship Id="rId42" Type="http://schemas.openxmlformats.org/officeDocument/2006/relationships/tags" Target="../tags/tag396.xml"/><Relationship Id="rId47" Type="http://schemas.openxmlformats.org/officeDocument/2006/relationships/tags" Target="../tags/tag401.xml"/><Relationship Id="rId50" Type="http://schemas.openxmlformats.org/officeDocument/2006/relationships/slideLayout" Target="../slideLayouts/slideLayout2.xml"/><Relationship Id="rId7" Type="http://schemas.openxmlformats.org/officeDocument/2006/relationships/tags" Target="../tags/tag361.xml"/><Relationship Id="rId12" Type="http://schemas.openxmlformats.org/officeDocument/2006/relationships/tags" Target="../tags/tag366.xml"/><Relationship Id="rId17" Type="http://schemas.openxmlformats.org/officeDocument/2006/relationships/tags" Target="../tags/tag371.xml"/><Relationship Id="rId25" Type="http://schemas.openxmlformats.org/officeDocument/2006/relationships/tags" Target="../tags/tag379.xml"/><Relationship Id="rId33" Type="http://schemas.openxmlformats.org/officeDocument/2006/relationships/tags" Target="../tags/tag387.xml"/><Relationship Id="rId38" Type="http://schemas.openxmlformats.org/officeDocument/2006/relationships/tags" Target="../tags/tag392.xml"/><Relationship Id="rId46" Type="http://schemas.openxmlformats.org/officeDocument/2006/relationships/tags" Target="../tags/tag400.xml"/><Relationship Id="rId2" Type="http://schemas.openxmlformats.org/officeDocument/2006/relationships/tags" Target="../tags/tag356.xml"/><Relationship Id="rId16" Type="http://schemas.openxmlformats.org/officeDocument/2006/relationships/tags" Target="../tags/tag370.xml"/><Relationship Id="rId20" Type="http://schemas.openxmlformats.org/officeDocument/2006/relationships/tags" Target="../tags/tag374.xml"/><Relationship Id="rId29" Type="http://schemas.openxmlformats.org/officeDocument/2006/relationships/tags" Target="../tags/tag383.xml"/><Relationship Id="rId41" Type="http://schemas.openxmlformats.org/officeDocument/2006/relationships/tags" Target="../tags/tag39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360.xml"/><Relationship Id="rId11" Type="http://schemas.openxmlformats.org/officeDocument/2006/relationships/tags" Target="../tags/tag365.xml"/><Relationship Id="rId24" Type="http://schemas.openxmlformats.org/officeDocument/2006/relationships/tags" Target="../tags/tag378.xml"/><Relationship Id="rId32" Type="http://schemas.openxmlformats.org/officeDocument/2006/relationships/tags" Target="../tags/tag386.xml"/><Relationship Id="rId37" Type="http://schemas.openxmlformats.org/officeDocument/2006/relationships/tags" Target="../tags/tag391.xml"/><Relationship Id="rId40" Type="http://schemas.openxmlformats.org/officeDocument/2006/relationships/tags" Target="../tags/tag394.xml"/><Relationship Id="rId45" Type="http://schemas.openxmlformats.org/officeDocument/2006/relationships/tags" Target="../tags/tag399.xml"/><Relationship Id="rId53" Type="http://schemas.openxmlformats.org/officeDocument/2006/relationships/oleObject" Target="../embeddings/oleObject21.bin"/><Relationship Id="rId5" Type="http://schemas.openxmlformats.org/officeDocument/2006/relationships/tags" Target="../tags/tag359.xml"/><Relationship Id="rId15" Type="http://schemas.openxmlformats.org/officeDocument/2006/relationships/tags" Target="../tags/tag369.xml"/><Relationship Id="rId23" Type="http://schemas.openxmlformats.org/officeDocument/2006/relationships/tags" Target="../tags/tag377.xml"/><Relationship Id="rId28" Type="http://schemas.openxmlformats.org/officeDocument/2006/relationships/tags" Target="../tags/tag382.xml"/><Relationship Id="rId36" Type="http://schemas.openxmlformats.org/officeDocument/2006/relationships/tags" Target="../tags/tag390.xml"/><Relationship Id="rId49" Type="http://schemas.openxmlformats.org/officeDocument/2006/relationships/tags" Target="../tags/tag403.xml"/><Relationship Id="rId10" Type="http://schemas.openxmlformats.org/officeDocument/2006/relationships/tags" Target="../tags/tag364.xml"/><Relationship Id="rId19" Type="http://schemas.openxmlformats.org/officeDocument/2006/relationships/tags" Target="../tags/tag373.xml"/><Relationship Id="rId31" Type="http://schemas.openxmlformats.org/officeDocument/2006/relationships/tags" Target="../tags/tag385.xml"/><Relationship Id="rId44" Type="http://schemas.openxmlformats.org/officeDocument/2006/relationships/tags" Target="../tags/tag398.xml"/><Relationship Id="rId52" Type="http://schemas.openxmlformats.org/officeDocument/2006/relationships/oleObject" Target="../embeddings/oleObject20.bin"/><Relationship Id="rId4" Type="http://schemas.openxmlformats.org/officeDocument/2006/relationships/tags" Target="../tags/tag358.xml"/><Relationship Id="rId9" Type="http://schemas.openxmlformats.org/officeDocument/2006/relationships/tags" Target="../tags/tag363.xml"/><Relationship Id="rId14" Type="http://schemas.openxmlformats.org/officeDocument/2006/relationships/tags" Target="../tags/tag368.xml"/><Relationship Id="rId22" Type="http://schemas.openxmlformats.org/officeDocument/2006/relationships/tags" Target="../tags/tag376.xml"/><Relationship Id="rId27" Type="http://schemas.openxmlformats.org/officeDocument/2006/relationships/tags" Target="../tags/tag381.xml"/><Relationship Id="rId30" Type="http://schemas.openxmlformats.org/officeDocument/2006/relationships/tags" Target="../tags/tag384.xml"/><Relationship Id="rId35" Type="http://schemas.openxmlformats.org/officeDocument/2006/relationships/tags" Target="../tags/tag389.xml"/><Relationship Id="rId43" Type="http://schemas.openxmlformats.org/officeDocument/2006/relationships/tags" Target="../tags/tag397.xml"/><Relationship Id="rId48" Type="http://schemas.openxmlformats.org/officeDocument/2006/relationships/tags" Target="../tags/tag402.xml"/><Relationship Id="rId8" Type="http://schemas.openxmlformats.org/officeDocument/2006/relationships/tags" Target="../tags/tag362.xml"/><Relationship Id="rId51" Type="http://schemas.openxmlformats.org/officeDocument/2006/relationships/oleObject" Target="../embeddings/oleObject19.bin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415.xml"/><Relationship Id="rId18" Type="http://schemas.openxmlformats.org/officeDocument/2006/relationships/tags" Target="../tags/tag420.xml"/><Relationship Id="rId26" Type="http://schemas.openxmlformats.org/officeDocument/2006/relationships/tags" Target="../tags/tag428.xml"/><Relationship Id="rId39" Type="http://schemas.openxmlformats.org/officeDocument/2006/relationships/tags" Target="../tags/tag441.xml"/><Relationship Id="rId21" Type="http://schemas.openxmlformats.org/officeDocument/2006/relationships/tags" Target="../tags/tag423.xml"/><Relationship Id="rId34" Type="http://schemas.openxmlformats.org/officeDocument/2006/relationships/tags" Target="../tags/tag436.xml"/><Relationship Id="rId42" Type="http://schemas.openxmlformats.org/officeDocument/2006/relationships/tags" Target="../tags/tag444.xml"/><Relationship Id="rId47" Type="http://schemas.openxmlformats.org/officeDocument/2006/relationships/tags" Target="../tags/tag449.xml"/><Relationship Id="rId50" Type="http://schemas.openxmlformats.org/officeDocument/2006/relationships/tags" Target="../tags/tag452.xml"/><Relationship Id="rId55" Type="http://schemas.openxmlformats.org/officeDocument/2006/relationships/oleObject" Target="../embeddings/oleObject24.bin"/><Relationship Id="rId7" Type="http://schemas.openxmlformats.org/officeDocument/2006/relationships/tags" Target="../tags/tag409.xml"/><Relationship Id="rId12" Type="http://schemas.openxmlformats.org/officeDocument/2006/relationships/tags" Target="../tags/tag414.xml"/><Relationship Id="rId17" Type="http://schemas.openxmlformats.org/officeDocument/2006/relationships/tags" Target="../tags/tag419.xml"/><Relationship Id="rId25" Type="http://schemas.openxmlformats.org/officeDocument/2006/relationships/tags" Target="../tags/tag427.xml"/><Relationship Id="rId33" Type="http://schemas.openxmlformats.org/officeDocument/2006/relationships/tags" Target="../tags/tag435.xml"/><Relationship Id="rId38" Type="http://schemas.openxmlformats.org/officeDocument/2006/relationships/tags" Target="../tags/tag440.xml"/><Relationship Id="rId46" Type="http://schemas.openxmlformats.org/officeDocument/2006/relationships/tags" Target="../tags/tag448.xml"/><Relationship Id="rId2" Type="http://schemas.openxmlformats.org/officeDocument/2006/relationships/tags" Target="../tags/tag404.xml"/><Relationship Id="rId16" Type="http://schemas.openxmlformats.org/officeDocument/2006/relationships/tags" Target="../tags/tag418.xml"/><Relationship Id="rId20" Type="http://schemas.openxmlformats.org/officeDocument/2006/relationships/tags" Target="../tags/tag422.xml"/><Relationship Id="rId29" Type="http://schemas.openxmlformats.org/officeDocument/2006/relationships/tags" Target="../tags/tag431.xml"/><Relationship Id="rId41" Type="http://schemas.openxmlformats.org/officeDocument/2006/relationships/tags" Target="../tags/tag443.xml"/><Relationship Id="rId54" Type="http://schemas.openxmlformats.org/officeDocument/2006/relationships/oleObject" Target="../embeddings/oleObject23.bin"/><Relationship Id="rId1" Type="http://schemas.openxmlformats.org/officeDocument/2006/relationships/vmlDrawing" Target="../drawings/vmlDrawing12.vml"/><Relationship Id="rId6" Type="http://schemas.openxmlformats.org/officeDocument/2006/relationships/tags" Target="../tags/tag408.xml"/><Relationship Id="rId11" Type="http://schemas.openxmlformats.org/officeDocument/2006/relationships/tags" Target="../tags/tag413.xml"/><Relationship Id="rId24" Type="http://schemas.openxmlformats.org/officeDocument/2006/relationships/tags" Target="../tags/tag426.xml"/><Relationship Id="rId32" Type="http://schemas.openxmlformats.org/officeDocument/2006/relationships/tags" Target="../tags/tag434.xml"/><Relationship Id="rId37" Type="http://schemas.openxmlformats.org/officeDocument/2006/relationships/tags" Target="../tags/tag439.xml"/><Relationship Id="rId40" Type="http://schemas.openxmlformats.org/officeDocument/2006/relationships/tags" Target="../tags/tag442.xml"/><Relationship Id="rId45" Type="http://schemas.openxmlformats.org/officeDocument/2006/relationships/tags" Target="../tags/tag447.xml"/><Relationship Id="rId53" Type="http://schemas.openxmlformats.org/officeDocument/2006/relationships/oleObject" Target="../embeddings/oleObject22.bin"/><Relationship Id="rId5" Type="http://schemas.openxmlformats.org/officeDocument/2006/relationships/tags" Target="../tags/tag407.xml"/><Relationship Id="rId15" Type="http://schemas.openxmlformats.org/officeDocument/2006/relationships/tags" Target="../tags/tag417.xml"/><Relationship Id="rId23" Type="http://schemas.openxmlformats.org/officeDocument/2006/relationships/tags" Target="../tags/tag425.xml"/><Relationship Id="rId28" Type="http://schemas.openxmlformats.org/officeDocument/2006/relationships/tags" Target="../tags/tag430.xml"/><Relationship Id="rId36" Type="http://schemas.openxmlformats.org/officeDocument/2006/relationships/tags" Target="../tags/tag438.xml"/><Relationship Id="rId49" Type="http://schemas.openxmlformats.org/officeDocument/2006/relationships/tags" Target="../tags/tag451.xml"/><Relationship Id="rId10" Type="http://schemas.openxmlformats.org/officeDocument/2006/relationships/tags" Target="../tags/tag412.xml"/><Relationship Id="rId19" Type="http://schemas.openxmlformats.org/officeDocument/2006/relationships/tags" Target="../tags/tag421.xml"/><Relationship Id="rId31" Type="http://schemas.openxmlformats.org/officeDocument/2006/relationships/tags" Target="../tags/tag433.xml"/><Relationship Id="rId44" Type="http://schemas.openxmlformats.org/officeDocument/2006/relationships/tags" Target="../tags/tag446.xml"/><Relationship Id="rId52" Type="http://schemas.openxmlformats.org/officeDocument/2006/relationships/slideLayout" Target="../slideLayouts/slideLayout2.xml"/><Relationship Id="rId4" Type="http://schemas.openxmlformats.org/officeDocument/2006/relationships/tags" Target="../tags/tag406.xml"/><Relationship Id="rId9" Type="http://schemas.openxmlformats.org/officeDocument/2006/relationships/tags" Target="../tags/tag411.xml"/><Relationship Id="rId14" Type="http://schemas.openxmlformats.org/officeDocument/2006/relationships/tags" Target="../tags/tag416.xml"/><Relationship Id="rId22" Type="http://schemas.openxmlformats.org/officeDocument/2006/relationships/tags" Target="../tags/tag424.xml"/><Relationship Id="rId27" Type="http://schemas.openxmlformats.org/officeDocument/2006/relationships/tags" Target="../tags/tag429.xml"/><Relationship Id="rId30" Type="http://schemas.openxmlformats.org/officeDocument/2006/relationships/tags" Target="../tags/tag432.xml"/><Relationship Id="rId35" Type="http://schemas.openxmlformats.org/officeDocument/2006/relationships/tags" Target="../tags/tag437.xml"/><Relationship Id="rId43" Type="http://schemas.openxmlformats.org/officeDocument/2006/relationships/tags" Target="../tags/tag445.xml"/><Relationship Id="rId48" Type="http://schemas.openxmlformats.org/officeDocument/2006/relationships/tags" Target="../tags/tag450.xml"/><Relationship Id="rId8" Type="http://schemas.openxmlformats.org/officeDocument/2006/relationships/tags" Target="../tags/tag410.xml"/><Relationship Id="rId51" Type="http://schemas.openxmlformats.org/officeDocument/2006/relationships/tags" Target="../tags/tag453.xml"/><Relationship Id="rId3" Type="http://schemas.openxmlformats.org/officeDocument/2006/relationships/tags" Target="../tags/tag40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60.xml"/><Relationship Id="rId3" Type="http://schemas.openxmlformats.org/officeDocument/2006/relationships/tags" Target="../tags/tag455.xml"/><Relationship Id="rId7" Type="http://schemas.openxmlformats.org/officeDocument/2006/relationships/tags" Target="../tags/tag459.xml"/><Relationship Id="rId12" Type="http://schemas.openxmlformats.org/officeDocument/2006/relationships/image" Target="../media/image45.png"/><Relationship Id="rId2" Type="http://schemas.openxmlformats.org/officeDocument/2006/relationships/tags" Target="../tags/tag45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458.xml"/><Relationship Id="rId11" Type="http://schemas.openxmlformats.org/officeDocument/2006/relationships/image" Target="../media/image44.png"/><Relationship Id="rId5" Type="http://schemas.openxmlformats.org/officeDocument/2006/relationships/tags" Target="../tags/tag457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456.xml"/><Relationship Id="rId9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6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2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3.xml"/><Relationship Id="rId4" Type="http://schemas.openxmlformats.org/officeDocument/2006/relationships/image" Target="../media/image50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470.xml"/><Relationship Id="rId13" Type="http://schemas.openxmlformats.org/officeDocument/2006/relationships/tags" Target="../tags/tag475.xml"/><Relationship Id="rId18" Type="http://schemas.openxmlformats.org/officeDocument/2006/relationships/tags" Target="../tags/tag480.xml"/><Relationship Id="rId26" Type="http://schemas.openxmlformats.org/officeDocument/2006/relationships/tags" Target="../tags/tag488.xml"/><Relationship Id="rId39" Type="http://schemas.openxmlformats.org/officeDocument/2006/relationships/oleObject" Target="../embeddings/oleObject26.bin"/><Relationship Id="rId3" Type="http://schemas.openxmlformats.org/officeDocument/2006/relationships/tags" Target="../tags/tag465.xml"/><Relationship Id="rId21" Type="http://schemas.openxmlformats.org/officeDocument/2006/relationships/tags" Target="../tags/tag483.xml"/><Relationship Id="rId34" Type="http://schemas.openxmlformats.org/officeDocument/2006/relationships/tags" Target="../tags/tag496.xml"/><Relationship Id="rId7" Type="http://schemas.openxmlformats.org/officeDocument/2006/relationships/tags" Target="../tags/tag469.xml"/><Relationship Id="rId12" Type="http://schemas.openxmlformats.org/officeDocument/2006/relationships/tags" Target="../tags/tag474.xml"/><Relationship Id="rId17" Type="http://schemas.openxmlformats.org/officeDocument/2006/relationships/tags" Target="../tags/tag479.xml"/><Relationship Id="rId25" Type="http://schemas.openxmlformats.org/officeDocument/2006/relationships/tags" Target="../tags/tag487.xml"/><Relationship Id="rId33" Type="http://schemas.openxmlformats.org/officeDocument/2006/relationships/tags" Target="../tags/tag495.xml"/><Relationship Id="rId38" Type="http://schemas.openxmlformats.org/officeDocument/2006/relationships/slideLayout" Target="../slideLayouts/slideLayout2.xml"/><Relationship Id="rId2" Type="http://schemas.openxmlformats.org/officeDocument/2006/relationships/tags" Target="../tags/tag464.xml"/><Relationship Id="rId16" Type="http://schemas.openxmlformats.org/officeDocument/2006/relationships/tags" Target="../tags/tag478.xml"/><Relationship Id="rId20" Type="http://schemas.openxmlformats.org/officeDocument/2006/relationships/tags" Target="../tags/tag482.xml"/><Relationship Id="rId29" Type="http://schemas.openxmlformats.org/officeDocument/2006/relationships/tags" Target="../tags/tag491.xml"/><Relationship Id="rId1" Type="http://schemas.openxmlformats.org/officeDocument/2006/relationships/vmlDrawing" Target="../drawings/vmlDrawing14.vml"/><Relationship Id="rId6" Type="http://schemas.openxmlformats.org/officeDocument/2006/relationships/tags" Target="../tags/tag468.xml"/><Relationship Id="rId11" Type="http://schemas.openxmlformats.org/officeDocument/2006/relationships/tags" Target="../tags/tag473.xml"/><Relationship Id="rId24" Type="http://schemas.openxmlformats.org/officeDocument/2006/relationships/tags" Target="../tags/tag486.xml"/><Relationship Id="rId32" Type="http://schemas.openxmlformats.org/officeDocument/2006/relationships/tags" Target="../tags/tag494.xml"/><Relationship Id="rId37" Type="http://schemas.openxmlformats.org/officeDocument/2006/relationships/tags" Target="../tags/tag499.xml"/><Relationship Id="rId5" Type="http://schemas.openxmlformats.org/officeDocument/2006/relationships/tags" Target="../tags/tag467.xml"/><Relationship Id="rId15" Type="http://schemas.openxmlformats.org/officeDocument/2006/relationships/tags" Target="../tags/tag477.xml"/><Relationship Id="rId23" Type="http://schemas.openxmlformats.org/officeDocument/2006/relationships/tags" Target="../tags/tag485.xml"/><Relationship Id="rId28" Type="http://schemas.openxmlformats.org/officeDocument/2006/relationships/tags" Target="../tags/tag490.xml"/><Relationship Id="rId36" Type="http://schemas.openxmlformats.org/officeDocument/2006/relationships/tags" Target="../tags/tag498.xml"/><Relationship Id="rId10" Type="http://schemas.openxmlformats.org/officeDocument/2006/relationships/tags" Target="../tags/tag472.xml"/><Relationship Id="rId19" Type="http://schemas.openxmlformats.org/officeDocument/2006/relationships/tags" Target="../tags/tag481.xml"/><Relationship Id="rId31" Type="http://schemas.openxmlformats.org/officeDocument/2006/relationships/tags" Target="../tags/tag493.xml"/><Relationship Id="rId4" Type="http://schemas.openxmlformats.org/officeDocument/2006/relationships/tags" Target="../tags/tag466.xml"/><Relationship Id="rId9" Type="http://schemas.openxmlformats.org/officeDocument/2006/relationships/tags" Target="../tags/tag471.xml"/><Relationship Id="rId14" Type="http://schemas.openxmlformats.org/officeDocument/2006/relationships/tags" Target="../tags/tag476.xml"/><Relationship Id="rId22" Type="http://schemas.openxmlformats.org/officeDocument/2006/relationships/tags" Target="../tags/tag484.xml"/><Relationship Id="rId27" Type="http://schemas.openxmlformats.org/officeDocument/2006/relationships/tags" Target="../tags/tag489.xml"/><Relationship Id="rId30" Type="http://schemas.openxmlformats.org/officeDocument/2006/relationships/tags" Target="../tags/tag492.xml"/><Relationship Id="rId35" Type="http://schemas.openxmlformats.org/officeDocument/2006/relationships/tags" Target="../tags/tag49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01.xml"/><Relationship Id="rId7" Type="http://schemas.openxmlformats.org/officeDocument/2006/relationships/tags" Target="../tags/tag505.xml"/><Relationship Id="rId2" Type="http://schemas.openxmlformats.org/officeDocument/2006/relationships/tags" Target="../tags/tag500.xml"/><Relationship Id="rId1" Type="http://schemas.openxmlformats.org/officeDocument/2006/relationships/vmlDrawing" Target="../drawings/vmlDrawing15.vml"/><Relationship Id="rId6" Type="http://schemas.openxmlformats.org/officeDocument/2006/relationships/tags" Target="../tags/tag504.xml"/><Relationship Id="rId5" Type="http://schemas.openxmlformats.org/officeDocument/2006/relationships/tags" Target="../tags/tag503.xml"/><Relationship Id="rId10" Type="http://schemas.openxmlformats.org/officeDocument/2006/relationships/image" Target="../media/image51.jpeg"/><Relationship Id="rId4" Type="http://schemas.openxmlformats.org/officeDocument/2006/relationships/tags" Target="../tags/tag502.xml"/><Relationship Id="rId9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slideLayout" Target="../slideLayouts/slideLayout2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image" Target="../media/image3.jpe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image" Target="../media/image7.jpeg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41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notesSlide" Target="../notesSlides/notesSlide1.xml"/><Relationship Id="rId45" Type="http://schemas.openxmlformats.org/officeDocument/2006/relationships/image" Target="../media/image6.jpeg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image" Target="../media/image5.jpe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512.xml"/><Relationship Id="rId13" Type="http://schemas.openxmlformats.org/officeDocument/2006/relationships/tags" Target="../tags/tag517.xml"/><Relationship Id="rId18" Type="http://schemas.openxmlformats.org/officeDocument/2006/relationships/tags" Target="../tags/tag522.xml"/><Relationship Id="rId3" Type="http://schemas.openxmlformats.org/officeDocument/2006/relationships/tags" Target="../tags/tag507.xml"/><Relationship Id="rId21" Type="http://schemas.openxmlformats.org/officeDocument/2006/relationships/tags" Target="../tags/tag525.xml"/><Relationship Id="rId7" Type="http://schemas.openxmlformats.org/officeDocument/2006/relationships/tags" Target="../tags/tag511.xml"/><Relationship Id="rId12" Type="http://schemas.openxmlformats.org/officeDocument/2006/relationships/tags" Target="../tags/tag516.xml"/><Relationship Id="rId17" Type="http://schemas.openxmlformats.org/officeDocument/2006/relationships/tags" Target="../tags/tag521.xml"/><Relationship Id="rId2" Type="http://schemas.openxmlformats.org/officeDocument/2006/relationships/tags" Target="../tags/tag506.xml"/><Relationship Id="rId16" Type="http://schemas.openxmlformats.org/officeDocument/2006/relationships/tags" Target="../tags/tag520.xml"/><Relationship Id="rId20" Type="http://schemas.openxmlformats.org/officeDocument/2006/relationships/tags" Target="../tags/tag52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510.xml"/><Relationship Id="rId11" Type="http://schemas.openxmlformats.org/officeDocument/2006/relationships/tags" Target="../tags/tag515.xml"/><Relationship Id="rId24" Type="http://schemas.openxmlformats.org/officeDocument/2006/relationships/oleObject" Target="../embeddings/oleObject29.bin"/><Relationship Id="rId5" Type="http://schemas.openxmlformats.org/officeDocument/2006/relationships/tags" Target="../tags/tag509.xml"/><Relationship Id="rId15" Type="http://schemas.openxmlformats.org/officeDocument/2006/relationships/tags" Target="../tags/tag519.xml"/><Relationship Id="rId23" Type="http://schemas.openxmlformats.org/officeDocument/2006/relationships/oleObject" Target="../embeddings/oleObject28.bin"/><Relationship Id="rId10" Type="http://schemas.openxmlformats.org/officeDocument/2006/relationships/tags" Target="../tags/tag514.xml"/><Relationship Id="rId19" Type="http://schemas.openxmlformats.org/officeDocument/2006/relationships/tags" Target="../tags/tag523.xml"/><Relationship Id="rId4" Type="http://schemas.openxmlformats.org/officeDocument/2006/relationships/tags" Target="../tags/tag508.xml"/><Relationship Id="rId9" Type="http://schemas.openxmlformats.org/officeDocument/2006/relationships/tags" Target="../tags/tag513.xml"/><Relationship Id="rId14" Type="http://schemas.openxmlformats.org/officeDocument/2006/relationships/tags" Target="../tags/tag518.xml"/><Relationship Id="rId22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6" Type="http://schemas.openxmlformats.org/officeDocument/2006/relationships/tags" Target="../tags/tag550.xml"/><Relationship Id="rId117" Type="http://schemas.openxmlformats.org/officeDocument/2006/relationships/image" Target="../media/image57.png"/><Relationship Id="rId21" Type="http://schemas.openxmlformats.org/officeDocument/2006/relationships/tags" Target="../tags/tag545.xml"/><Relationship Id="rId42" Type="http://schemas.openxmlformats.org/officeDocument/2006/relationships/tags" Target="../tags/tag566.xml"/><Relationship Id="rId47" Type="http://schemas.openxmlformats.org/officeDocument/2006/relationships/tags" Target="../tags/tag571.xml"/><Relationship Id="rId63" Type="http://schemas.openxmlformats.org/officeDocument/2006/relationships/tags" Target="../tags/tag587.xml"/><Relationship Id="rId68" Type="http://schemas.openxmlformats.org/officeDocument/2006/relationships/tags" Target="../tags/tag592.xml"/><Relationship Id="rId84" Type="http://schemas.openxmlformats.org/officeDocument/2006/relationships/tags" Target="../tags/tag608.xml"/><Relationship Id="rId89" Type="http://schemas.openxmlformats.org/officeDocument/2006/relationships/tags" Target="../tags/tag613.xml"/><Relationship Id="rId112" Type="http://schemas.openxmlformats.org/officeDocument/2006/relationships/notesSlide" Target="../notesSlides/notesSlide5.xml"/><Relationship Id="rId16" Type="http://schemas.openxmlformats.org/officeDocument/2006/relationships/tags" Target="../tags/tag540.xml"/><Relationship Id="rId107" Type="http://schemas.openxmlformats.org/officeDocument/2006/relationships/tags" Target="../tags/tag631.xml"/><Relationship Id="rId11" Type="http://schemas.openxmlformats.org/officeDocument/2006/relationships/tags" Target="../tags/tag535.xml"/><Relationship Id="rId32" Type="http://schemas.openxmlformats.org/officeDocument/2006/relationships/tags" Target="../tags/tag556.xml"/><Relationship Id="rId37" Type="http://schemas.openxmlformats.org/officeDocument/2006/relationships/tags" Target="../tags/tag561.xml"/><Relationship Id="rId53" Type="http://schemas.openxmlformats.org/officeDocument/2006/relationships/tags" Target="../tags/tag577.xml"/><Relationship Id="rId58" Type="http://schemas.openxmlformats.org/officeDocument/2006/relationships/tags" Target="../tags/tag582.xml"/><Relationship Id="rId74" Type="http://schemas.openxmlformats.org/officeDocument/2006/relationships/tags" Target="../tags/tag598.xml"/><Relationship Id="rId79" Type="http://schemas.openxmlformats.org/officeDocument/2006/relationships/tags" Target="../tags/tag603.xml"/><Relationship Id="rId102" Type="http://schemas.openxmlformats.org/officeDocument/2006/relationships/tags" Target="../tags/tag626.xml"/><Relationship Id="rId123" Type="http://schemas.openxmlformats.org/officeDocument/2006/relationships/image" Target="../media/image62.png"/><Relationship Id="rId5" Type="http://schemas.openxmlformats.org/officeDocument/2006/relationships/tags" Target="../tags/tag529.xml"/><Relationship Id="rId61" Type="http://schemas.openxmlformats.org/officeDocument/2006/relationships/tags" Target="../tags/tag585.xml"/><Relationship Id="rId82" Type="http://schemas.openxmlformats.org/officeDocument/2006/relationships/tags" Target="../tags/tag606.xml"/><Relationship Id="rId90" Type="http://schemas.openxmlformats.org/officeDocument/2006/relationships/tags" Target="../tags/tag614.xml"/><Relationship Id="rId95" Type="http://schemas.openxmlformats.org/officeDocument/2006/relationships/tags" Target="../tags/tag619.xml"/><Relationship Id="rId19" Type="http://schemas.openxmlformats.org/officeDocument/2006/relationships/tags" Target="../tags/tag543.xml"/><Relationship Id="rId14" Type="http://schemas.openxmlformats.org/officeDocument/2006/relationships/tags" Target="../tags/tag538.xml"/><Relationship Id="rId22" Type="http://schemas.openxmlformats.org/officeDocument/2006/relationships/tags" Target="../tags/tag546.xml"/><Relationship Id="rId27" Type="http://schemas.openxmlformats.org/officeDocument/2006/relationships/tags" Target="../tags/tag551.xml"/><Relationship Id="rId30" Type="http://schemas.openxmlformats.org/officeDocument/2006/relationships/tags" Target="../tags/tag554.xml"/><Relationship Id="rId35" Type="http://schemas.openxmlformats.org/officeDocument/2006/relationships/tags" Target="../tags/tag559.xml"/><Relationship Id="rId43" Type="http://schemas.openxmlformats.org/officeDocument/2006/relationships/tags" Target="../tags/tag567.xml"/><Relationship Id="rId48" Type="http://schemas.openxmlformats.org/officeDocument/2006/relationships/tags" Target="../tags/tag572.xml"/><Relationship Id="rId56" Type="http://schemas.openxmlformats.org/officeDocument/2006/relationships/tags" Target="../tags/tag580.xml"/><Relationship Id="rId64" Type="http://schemas.openxmlformats.org/officeDocument/2006/relationships/tags" Target="../tags/tag588.xml"/><Relationship Id="rId69" Type="http://schemas.openxmlformats.org/officeDocument/2006/relationships/tags" Target="../tags/tag593.xml"/><Relationship Id="rId77" Type="http://schemas.openxmlformats.org/officeDocument/2006/relationships/tags" Target="../tags/tag601.xml"/><Relationship Id="rId100" Type="http://schemas.openxmlformats.org/officeDocument/2006/relationships/tags" Target="../tags/tag624.xml"/><Relationship Id="rId105" Type="http://schemas.openxmlformats.org/officeDocument/2006/relationships/tags" Target="../tags/tag629.xml"/><Relationship Id="rId113" Type="http://schemas.openxmlformats.org/officeDocument/2006/relationships/oleObject" Target="../embeddings/oleObject30.bin"/><Relationship Id="rId118" Type="http://schemas.openxmlformats.org/officeDocument/2006/relationships/oleObject" Target="../embeddings/oleObject31.bin"/><Relationship Id="rId8" Type="http://schemas.openxmlformats.org/officeDocument/2006/relationships/tags" Target="../tags/tag532.xml"/><Relationship Id="rId51" Type="http://schemas.openxmlformats.org/officeDocument/2006/relationships/tags" Target="../tags/tag575.xml"/><Relationship Id="rId72" Type="http://schemas.openxmlformats.org/officeDocument/2006/relationships/tags" Target="../tags/tag596.xml"/><Relationship Id="rId80" Type="http://schemas.openxmlformats.org/officeDocument/2006/relationships/tags" Target="../tags/tag604.xml"/><Relationship Id="rId85" Type="http://schemas.openxmlformats.org/officeDocument/2006/relationships/tags" Target="../tags/tag609.xml"/><Relationship Id="rId93" Type="http://schemas.openxmlformats.org/officeDocument/2006/relationships/tags" Target="../tags/tag617.xml"/><Relationship Id="rId98" Type="http://schemas.openxmlformats.org/officeDocument/2006/relationships/tags" Target="../tags/tag622.xml"/><Relationship Id="rId121" Type="http://schemas.openxmlformats.org/officeDocument/2006/relationships/image" Target="../media/image60.png"/><Relationship Id="rId3" Type="http://schemas.openxmlformats.org/officeDocument/2006/relationships/tags" Target="../tags/tag527.xml"/><Relationship Id="rId12" Type="http://schemas.openxmlformats.org/officeDocument/2006/relationships/tags" Target="../tags/tag536.xml"/><Relationship Id="rId17" Type="http://schemas.openxmlformats.org/officeDocument/2006/relationships/tags" Target="../tags/tag541.xml"/><Relationship Id="rId25" Type="http://schemas.openxmlformats.org/officeDocument/2006/relationships/tags" Target="../tags/tag549.xml"/><Relationship Id="rId33" Type="http://schemas.openxmlformats.org/officeDocument/2006/relationships/tags" Target="../tags/tag557.xml"/><Relationship Id="rId38" Type="http://schemas.openxmlformats.org/officeDocument/2006/relationships/tags" Target="../tags/tag562.xml"/><Relationship Id="rId46" Type="http://schemas.openxmlformats.org/officeDocument/2006/relationships/tags" Target="../tags/tag570.xml"/><Relationship Id="rId59" Type="http://schemas.openxmlformats.org/officeDocument/2006/relationships/tags" Target="../tags/tag583.xml"/><Relationship Id="rId67" Type="http://schemas.openxmlformats.org/officeDocument/2006/relationships/tags" Target="../tags/tag591.xml"/><Relationship Id="rId103" Type="http://schemas.openxmlformats.org/officeDocument/2006/relationships/tags" Target="../tags/tag627.xml"/><Relationship Id="rId108" Type="http://schemas.openxmlformats.org/officeDocument/2006/relationships/tags" Target="../tags/tag632.xml"/><Relationship Id="rId116" Type="http://schemas.openxmlformats.org/officeDocument/2006/relationships/image" Target="../media/image56.png"/><Relationship Id="rId124" Type="http://schemas.openxmlformats.org/officeDocument/2006/relationships/image" Target="../media/image63.png"/><Relationship Id="rId20" Type="http://schemas.openxmlformats.org/officeDocument/2006/relationships/tags" Target="../tags/tag544.xml"/><Relationship Id="rId41" Type="http://schemas.openxmlformats.org/officeDocument/2006/relationships/tags" Target="../tags/tag565.xml"/><Relationship Id="rId54" Type="http://schemas.openxmlformats.org/officeDocument/2006/relationships/tags" Target="../tags/tag578.xml"/><Relationship Id="rId62" Type="http://schemas.openxmlformats.org/officeDocument/2006/relationships/tags" Target="../tags/tag586.xml"/><Relationship Id="rId70" Type="http://schemas.openxmlformats.org/officeDocument/2006/relationships/tags" Target="../tags/tag594.xml"/><Relationship Id="rId75" Type="http://schemas.openxmlformats.org/officeDocument/2006/relationships/tags" Target="../tags/tag599.xml"/><Relationship Id="rId83" Type="http://schemas.openxmlformats.org/officeDocument/2006/relationships/tags" Target="../tags/tag607.xml"/><Relationship Id="rId88" Type="http://schemas.openxmlformats.org/officeDocument/2006/relationships/tags" Target="../tags/tag612.xml"/><Relationship Id="rId91" Type="http://schemas.openxmlformats.org/officeDocument/2006/relationships/tags" Target="../tags/tag615.xml"/><Relationship Id="rId96" Type="http://schemas.openxmlformats.org/officeDocument/2006/relationships/tags" Target="../tags/tag620.xml"/><Relationship Id="rId111" Type="http://schemas.openxmlformats.org/officeDocument/2006/relationships/slideLayout" Target="../slideLayouts/slideLayout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530.xml"/><Relationship Id="rId15" Type="http://schemas.openxmlformats.org/officeDocument/2006/relationships/tags" Target="../tags/tag539.xml"/><Relationship Id="rId23" Type="http://schemas.openxmlformats.org/officeDocument/2006/relationships/tags" Target="../tags/tag547.xml"/><Relationship Id="rId28" Type="http://schemas.openxmlformats.org/officeDocument/2006/relationships/tags" Target="../tags/tag552.xml"/><Relationship Id="rId36" Type="http://schemas.openxmlformats.org/officeDocument/2006/relationships/tags" Target="../tags/tag560.xml"/><Relationship Id="rId49" Type="http://schemas.openxmlformats.org/officeDocument/2006/relationships/tags" Target="../tags/tag573.xml"/><Relationship Id="rId57" Type="http://schemas.openxmlformats.org/officeDocument/2006/relationships/tags" Target="../tags/tag581.xml"/><Relationship Id="rId106" Type="http://schemas.openxmlformats.org/officeDocument/2006/relationships/tags" Target="../tags/tag630.xml"/><Relationship Id="rId114" Type="http://schemas.openxmlformats.org/officeDocument/2006/relationships/image" Target="../media/image54.jpeg"/><Relationship Id="rId119" Type="http://schemas.openxmlformats.org/officeDocument/2006/relationships/image" Target="../media/image58.png"/><Relationship Id="rId10" Type="http://schemas.openxmlformats.org/officeDocument/2006/relationships/tags" Target="../tags/tag534.xml"/><Relationship Id="rId31" Type="http://schemas.openxmlformats.org/officeDocument/2006/relationships/tags" Target="../tags/tag555.xml"/><Relationship Id="rId44" Type="http://schemas.openxmlformats.org/officeDocument/2006/relationships/tags" Target="../tags/tag568.xml"/><Relationship Id="rId52" Type="http://schemas.openxmlformats.org/officeDocument/2006/relationships/tags" Target="../tags/tag576.xml"/><Relationship Id="rId60" Type="http://schemas.openxmlformats.org/officeDocument/2006/relationships/tags" Target="../tags/tag584.xml"/><Relationship Id="rId65" Type="http://schemas.openxmlformats.org/officeDocument/2006/relationships/tags" Target="../tags/tag589.xml"/><Relationship Id="rId73" Type="http://schemas.openxmlformats.org/officeDocument/2006/relationships/tags" Target="../tags/tag597.xml"/><Relationship Id="rId78" Type="http://schemas.openxmlformats.org/officeDocument/2006/relationships/tags" Target="../tags/tag602.xml"/><Relationship Id="rId81" Type="http://schemas.openxmlformats.org/officeDocument/2006/relationships/tags" Target="../tags/tag605.xml"/><Relationship Id="rId86" Type="http://schemas.openxmlformats.org/officeDocument/2006/relationships/tags" Target="../tags/tag610.xml"/><Relationship Id="rId94" Type="http://schemas.openxmlformats.org/officeDocument/2006/relationships/tags" Target="../tags/tag618.xml"/><Relationship Id="rId99" Type="http://schemas.openxmlformats.org/officeDocument/2006/relationships/tags" Target="../tags/tag623.xml"/><Relationship Id="rId101" Type="http://schemas.openxmlformats.org/officeDocument/2006/relationships/tags" Target="../tags/tag625.xml"/><Relationship Id="rId122" Type="http://schemas.openxmlformats.org/officeDocument/2006/relationships/image" Target="../media/image61.png"/><Relationship Id="rId4" Type="http://schemas.openxmlformats.org/officeDocument/2006/relationships/tags" Target="../tags/tag528.xml"/><Relationship Id="rId9" Type="http://schemas.openxmlformats.org/officeDocument/2006/relationships/tags" Target="../tags/tag533.xml"/><Relationship Id="rId13" Type="http://schemas.openxmlformats.org/officeDocument/2006/relationships/tags" Target="../tags/tag537.xml"/><Relationship Id="rId18" Type="http://schemas.openxmlformats.org/officeDocument/2006/relationships/tags" Target="../tags/tag542.xml"/><Relationship Id="rId39" Type="http://schemas.openxmlformats.org/officeDocument/2006/relationships/tags" Target="../tags/tag563.xml"/><Relationship Id="rId109" Type="http://schemas.openxmlformats.org/officeDocument/2006/relationships/tags" Target="../tags/tag633.xml"/><Relationship Id="rId34" Type="http://schemas.openxmlformats.org/officeDocument/2006/relationships/tags" Target="../tags/tag558.xml"/><Relationship Id="rId50" Type="http://schemas.openxmlformats.org/officeDocument/2006/relationships/tags" Target="../tags/tag574.xml"/><Relationship Id="rId55" Type="http://schemas.openxmlformats.org/officeDocument/2006/relationships/tags" Target="../tags/tag579.xml"/><Relationship Id="rId76" Type="http://schemas.openxmlformats.org/officeDocument/2006/relationships/tags" Target="../tags/tag600.xml"/><Relationship Id="rId97" Type="http://schemas.openxmlformats.org/officeDocument/2006/relationships/tags" Target="../tags/tag621.xml"/><Relationship Id="rId104" Type="http://schemas.openxmlformats.org/officeDocument/2006/relationships/tags" Target="../tags/tag628.xml"/><Relationship Id="rId120" Type="http://schemas.openxmlformats.org/officeDocument/2006/relationships/image" Target="../media/image59.png"/><Relationship Id="rId7" Type="http://schemas.openxmlformats.org/officeDocument/2006/relationships/tags" Target="../tags/tag531.xml"/><Relationship Id="rId71" Type="http://schemas.openxmlformats.org/officeDocument/2006/relationships/tags" Target="../tags/tag595.xml"/><Relationship Id="rId92" Type="http://schemas.openxmlformats.org/officeDocument/2006/relationships/tags" Target="../tags/tag616.xml"/><Relationship Id="rId2" Type="http://schemas.openxmlformats.org/officeDocument/2006/relationships/tags" Target="../tags/tag526.xml"/><Relationship Id="rId29" Type="http://schemas.openxmlformats.org/officeDocument/2006/relationships/tags" Target="../tags/tag553.xml"/><Relationship Id="rId24" Type="http://schemas.openxmlformats.org/officeDocument/2006/relationships/tags" Target="../tags/tag548.xml"/><Relationship Id="rId40" Type="http://schemas.openxmlformats.org/officeDocument/2006/relationships/tags" Target="../tags/tag564.xml"/><Relationship Id="rId45" Type="http://schemas.openxmlformats.org/officeDocument/2006/relationships/tags" Target="../tags/tag569.xml"/><Relationship Id="rId66" Type="http://schemas.openxmlformats.org/officeDocument/2006/relationships/tags" Target="../tags/tag590.xml"/><Relationship Id="rId87" Type="http://schemas.openxmlformats.org/officeDocument/2006/relationships/tags" Target="../tags/tag611.xml"/><Relationship Id="rId110" Type="http://schemas.openxmlformats.org/officeDocument/2006/relationships/tags" Target="../tags/tag634.xml"/><Relationship Id="rId115" Type="http://schemas.openxmlformats.org/officeDocument/2006/relationships/image" Target="../media/image5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36.xml"/><Relationship Id="rId7" Type="http://schemas.openxmlformats.org/officeDocument/2006/relationships/tags" Target="../tags/tag640.xml"/><Relationship Id="rId2" Type="http://schemas.openxmlformats.org/officeDocument/2006/relationships/tags" Target="../tags/tag635.xml"/><Relationship Id="rId1" Type="http://schemas.openxmlformats.org/officeDocument/2006/relationships/vmlDrawing" Target="../drawings/vmlDrawing18.vml"/><Relationship Id="rId6" Type="http://schemas.openxmlformats.org/officeDocument/2006/relationships/tags" Target="../tags/tag639.xml"/><Relationship Id="rId5" Type="http://schemas.openxmlformats.org/officeDocument/2006/relationships/tags" Target="../tags/tag638.xml"/><Relationship Id="rId10" Type="http://schemas.openxmlformats.org/officeDocument/2006/relationships/image" Target="../media/image51.jpeg"/><Relationship Id="rId4" Type="http://schemas.openxmlformats.org/officeDocument/2006/relationships/tags" Target="../tags/tag637.xml"/><Relationship Id="rId9" Type="http://schemas.openxmlformats.org/officeDocument/2006/relationships/oleObject" Target="../embeddings/oleObject32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647.xml"/><Relationship Id="rId13" Type="http://schemas.openxmlformats.org/officeDocument/2006/relationships/tags" Target="../tags/tag652.xml"/><Relationship Id="rId18" Type="http://schemas.openxmlformats.org/officeDocument/2006/relationships/tags" Target="../tags/tag657.xml"/><Relationship Id="rId3" Type="http://schemas.openxmlformats.org/officeDocument/2006/relationships/tags" Target="../tags/tag642.xml"/><Relationship Id="rId21" Type="http://schemas.openxmlformats.org/officeDocument/2006/relationships/oleObject" Target="../embeddings/oleObject34.bin"/><Relationship Id="rId7" Type="http://schemas.openxmlformats.org/officeDocument/2006/relationships/tags" Target="../tags/tag646.xml"/><Relationship Id="rId12" Type="http://schemas.openxmlformats.org/officeDocument/2006/relationships/tags" Target="../tags/tag651.xml"/><Relationship Id="rId17" Type="http://schemas.openxmlformats.org/officeDocument/2006/relationships/tags" Target="../tags/tag656.xml"/><Relationship Id="rId2" Type="http://schemas.openxmlformats.org/officeDocument/2006/relationships/tags" Target="../tags/tag641.xml"/><Relationship Id="rId16" Type="http://schemas.openxmlformats.org/officeDocument/2006/relationships/tags" Target="../tags/tag655.xml"/><Relationship Id="rId20" Type="http://schemas.openxmlformats.org/officeDocument/2006/relationships/oleObject" Target="../embeddings/oleObject33.bin"/><Relationship Id="rId1" Type="http://schemas.openxmlformats.org/officeDocument/2006/relationships/vmlDrawing" Target="../drawings/vmlDrawing19.vml"/><Relationship Id="rId6" Type="http://schemas.openxmlformats.org/officeDocument/2006/relationships/tags" Target="../tags/tag645.xml"/><Relationship Id="rId11" Type="http://schemas.openxmlformats.org/officeDocument/2006/relationships/tags" Target="../tags/tag650.xml"/><Relationship Id="rId5" Type="http://schemas.openxmlformats.org/officeDocument/2006/relationships/tags" Target="../tags/tag644.xml"/><Relationship Id="rId15" Type="http://schemas.openxmlformats.org/officeDocument/2006/relationships/tags" Target="../tags/tag654.xml"/><Relationship Id="rId10" Type="http://schemas.openxmlformats.org/officeDocument/2006/relationships/tags" Target="../tags/tag649.xml"/><Relationship Id="rId19" Type="http://schemas.openxmlformats.org/officeDocument/2006/relationships/slideLayout" Target="../slideLayouts/slideLayout3.xml"/><Relationship Id="rId4" Type="http://schemas.openxmlformats.org/officeDocument/2006/relationships/tags" Target="../tags/tag643.xml"/><Relationship Id="rId9" Type="http://schemas.openxmlformats.org/officeDocument/2006/relationships/tags" Target="../tags/tag648.xml"/><Relationship Id="rId14" Type="http://schemas.openxmlformats.org/officeDocument/2006/relationships/tags" Target="../tags/tag65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664.xml"/><Relationship Id="rId13" Type="http://schemas.openxmlformats.org/officeDocument/2006/relationships/tags" Target="../tags/tag669.xml"/><Relationship Id="rId18" Type="http://schemas.openxmlformats.org/officeDocument/2006/relationships/tags" Target="../tags/tag674.xml"/><Relationship Id="rId26" Type="http://schemas.openxmlformats.org/officeDocument/2006/relationships/image" Target="../media/image29.jpeg"/><Relationship Id="rId3" Type="http://schemas.openxmlformats.org/officeDocument/2006/relationships/tags" Target="../tags/tag659.xml"/><Relationship Id="rId21" Type="http://schemas.openxmlformats.org/officeDocument/2006/relationships/tags" Target="../tags/tag677.xml"/><Relationship Id="rId7" Type="http://schemas.openxmlformats.org/officeDocument/2006/relationships/tags" Target="../tags/tag663.xml"/><Relationship Id="rId12" Type="http://schemas.openxmlformats.org/officeDocument/2006/relationships/tags" Target="../tags/tag668.xml"/><Relationship Id="rId17" Type="http://schemas.openxmlformats.org/officeDocument/2006/relationships/tags" Target="../tags/tag673.xml"/><Relationship Id="rId25" Type="http://schemas.openxmlformats.org/officeDocument/2006/relationships/oleObject" Target="../embeddings/oleObject35.bin"/><Relationship Id="rId2" Type="http://schemas.openxmlformats.org/officeDocument/2006/relationships/tags" Target="../tags/tag658.xml"/><Relationship Id="rId16" Type="http://schemas.openxmlformats.org/officeDocument/2006/relationships/tags" Target="../tags/tag672.xml"/><Relationship Id="rId20" Type="http://schemas.openxmlformats.org/officeDocument/2006/relationships/tags" Target="../tags/tag676.xml"/><Relationship Id="rId29" Type="http://schemas.openxmlformats.org/officeDocument/2006/relationships/image" Target="../media/image66.jpeg"/><Relationship Id="rId1" Type="http://schemas.openxmlformats.org/officeDocument/2006/relationships/vmlDrawing" Target="../drawings/vmlDrawing20.vml"/><Relationship Id="rId6" Type="http://schemas.openxmlformats.org/officeDocument/2006/relationships/tags" Target="../tags/tag662.xml"/><Relationship Id="rId11" Type="http://schemas.openxmlformats.org/officeDocument/2006/relationships/tags" Target="../tags/tag667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661.xml"/><Relationship Id="rId15" Type="http://schemas.openxmlformats.org/officeDocument/2006/relationships/tags" Target="../tags/tag671.xml"/><Relationship Id="rId23" Type="http://schemas.openxmlformats.org/officeDocument/2006/relationships/tags" Target="../tags/tag679.xml"/><Relationship Id="rId28" Type="http://schemas.openxmlformats.org/officeDocument/2006/relationships/oleObject" Target="../embeddings/oleObject36.bin"/><Relationship Id="rId10" Type="http://schemas.openxmlformats.org/officeDocument/2006/relationships/tags" Target="../tags/tag666.xml"/><Relationship Id="rId19" Type="http://schemas.openxmlformats.org/officeDocument/2006/relationships/tags" Target="../tags/tag675.xml"/><Relationship Id="rId4" Type="http://schemas.openxmlformats.org/officeDocument/2006/relationships/tags" Target="../tags/tag660.xml"/><Relationship Id="rId9" Type="http://schemas.openxmlformats.org/officeDocument/2006/relationships/tags" Target="../tags/tag665.xml"/><Relationship Id="rId14" Type="http://schemas.openxmlformats.org/officeDocument/2006/relationships/tags" Target="../tags/tag670.xml"/><Relationship Id="rId22" Type="http://schemas.openxmlformats.org/officeDocument/2006/relationships/tags" Target="../tags/tag678.xml"/><Relationship Id="rId27" Type="http://schemas.openxmlformats.org/officeDocument/2006/relationships/image" Target="../media/image28.jpeg"/><Relationship Id="rId30" Type="http://schemas.openxmlformats.org/officeDocument/2006/relationships/image" Target="../media/image67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686.xml"/><Relationship Id="rId13" Type="http://schemas.openxmlformats.org/officeDocument/2006/relationships/tags" Target="../tags/tag691.xml"/><Relationship Id="rId18" Type="http://schemas.openxmlformats.org/officeDocument/2006/relationships/tags" Target="../tags/tag696.xml"/><Relationship Id="rId26" Type="http://schemas.openxmlformats.org/officeDocument/2006/relationships/tags" Target="../tags/tag704.xml"/><Relationship Id="rId3" Type="http://schemas.openxmlformats.org/officeDocument/2006/relationships/tags" Target="../tags/tag681.xml"/><Relationship Id="rId21" Type="http://schemas.openxmlformats.org/officeDocument/2006/relationships/tags" Target="../tags/tag699.xml"/><Relationship Id="rId7" Type="http://schemas.openxmlformats.org/officeDocument/2006/relationships/tags" Target="../tags/tag685.xml"/><Relationship Id="rId12" Type="http://schemas.openxmlformats.org/officeDocument/2006/relationships/tags" Target="../tags/tag690.xml"/><Relationship Id="rId17" Type="http://schemas.openxmlformats.org/officeDocument/2006/relationships/tags" Target="../tags/tag695.xml"/><Relationship Id="rId25" Type="http://schemas.openxmlformats.org/officeDocument/2006/relationships/tags" Target="../tags/tag703.xml"/><Relationship Id="rId33" Type="http://schemas.openxmlformats.org/officeDocument/2006/relationships/image" Target="../media/image28.jpeg"/><Relationship Id="rId2" Type="http://schemas.openxmlformats.org/officeDocument/2006/relationships/tags" Target="../tags/tag680.xml"/><Relationship Id="rId16" Type="http://schemas.openxmlformats.org/officeDocument/2006/relationships/tags" Target="../tags/tag694.xml"/><Relationship Id="rId20" Type="http://schemas.openxmlformats.org/officeDocument/2006/relationships/tags" Target="../tags/tag698.xml"/><Relationship Id="rId29" Type="http://schemas.openxmlformats.org/officeDocument/2006/relationships/tags" Target="../tags/tag70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684.xml"/><Relationship Id="rId11" Type="http://schemas.openxmlformats.org/officeDocument/2006/relationships/tags" Target="../tags/tag689.xml"/><Relationship Id="rId24" Type="http://schemas.openxmlformats.org/officeDocument/2006/relationships/tags" Target="../tags/tag702.xml"/><Relationship Id="rId32" Type="http://schemas.openxmlformats.org/officeDocument/2006/relationships/oleObject" Target="../embeddings/oleObject38.bin"/><Relationship Id="rId5" Type="http://schemas.openxmlformats.org/officeDocument/2006/relationships/tags" Target="../tags/tag683.xml"/><Relationship Id="rId15" Type="http://schemas.openxmlformats.org/officeDocument/2006/relationships/tags" Target="../tags/tag693.xml"/><Relationship Id="rId23" Type="http://schemas.openxmlformats.org/officeDocument/2006/relationships/tags" Target="../tags/tag701.xml"/><Relationship Id="rId28" Type="http://schemas.openxmlformats.org/officeDocument/2006/relationships/tags" Target="../tags/tag706.xml"/><Relationship Id="rId10" Type="http://schemas.openxmlformats.org/officeDocument/2006/relationships/tags" Target="../tags/tag688.xml"/><Relationship Id="rId19" Type="http://schemas.openxmlformats.org/officeDocument/2006/relationships/tags" Target="../tags/tag697.xml"/><Relationship Id="rId31" Type="http://schemas.openxmlformats.org/officeDocument/2006/relationships/oleObject" Target="../embeddings/oleObject37.bin"/><Relationship Id="rId4" Type="http://schemas.openxmlformats.org/officeDocument/2006/relationships/tags" Target="../tags/tag682.xml"/><Relationship Id="rId9" Type="http://schemas.openxmlformats.org/officeDocument/2006/relationships/tags" Target="../tags/tag687.xml"/><Relationship Id="rId14" Type="http://schemas.openxmlformats.org/officeDocument/2006/relationships/tags" Target="../tags/tag692.xml"/><Relationship Id="rId22" Type="http://schemas.openxmlformats.org/officeDocument/2006/relationships/tags" Target="../tags/tag700.xml"/><Relationship Id="rId27" Type="http://schemas.openxmlformats.org/officeDocument/2006/relationships/tags" Target="../tags/tag705.xml"/><Relationship Id="rId30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714.xml"/><Relationship Id="rId13" Type="http://schemas.openxmlformats.org/officeDocument/2006/relationships/image" Target="../media/image69.jpeg"/><Relationship Id="rId3" Type="http://schemas.openxmlformats.org/officeDocument/2006/relationships/tags" Target="../tags/tag709.xml"/><Relationship Id="rId7" Type="http://schemas.openxmlformats.org/officeDocument/2006/relationships/tags" Target="../tags/tag713.xml"/><Relationship Id="rId12" Type="http://schemas.openxmlformats.org/officeDocument/2006/relationships/oleObject" Target="../embeddings/oleObject39.bin"/><Relationship Id="rId2" Type="http://schemas.openxmlformats.org/officeDocument/2006/relationships/tags" Target="../tags/tag708.xml"/><Relationship Id="rId1" Type="http://schemas.openxmlformats.org/officeDocument/2006/relationships/vmlDrawing" Target="../drawings/vmlDrawing22.vml"/><Relationship Id="rId6" Type="http://schemas.openxmlformats.org/officeDocument/2006/relationships/tags" Target="../tags/tag712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711.xml"/><Relationship Id="rId10" Type="http://schemas.openxmlformats.org/officeDocument/2006/relationships/tags" Target="../tags/tag716.xml"/><Relationship Id="rId4" Type="http://schemas.openxmlformats.org/officeDocument/2006/relationships/tags" Target="../tags/tag710.xml"/><Relationship Id="rId9" Type="http://schemas.openxmlformats.org/officeDocument/2006/relationships/tags" Target="../tags/tag715.xml"/><Relationship Id="rId14" Type="http://schemas.openxmlformats.org/officeDocument/2006/relationships/image" Target="../media/image27.jpeg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728.xml"/><Relationship Id="rId18" Type="http://schemas.openxmlformats.org/officeDocument/2006/relationships/tags" Target="../tags/tag733.xml"/><Relationship Id="rId26" Type="http://schemas.openxmlformats.org/officeDocument/2006/relationships/tags" Target="../tags/tag741.xml"/><Relationship Id="rId39" Type="http://schemas.openxmlformats.org/officeDocument/2006/relationships/tags" Target="../tags/tag754.xml"/><Relationship Id="rId21" Type="http://schemas.openxmlformats.org/officeDocument/2006/relationships/tags" Target="../tags/tag736.xml"/><Relationship Id="rId34" Type="http://schemas.openxmlformats.org/officeDocument/2006/relationships/tags" Target="../tags/tag749.xml"/><Relationship Id="rId42" Type="http://schemas.openxmlformats.org/officeDocument/2006/relationships/tags" Target="../tags/tag757.xml"/><Relationship Id="rId47" Type="http://schemas.openxmlformats.org/officeDocument/2006/relationships/slideLayout" Target="../slideLayouts/slideLayout2.xml"/><Relationship Id="rId50" Type="http://schemas.openxmlformats.org/officeDocument/2006/relationships/image" Target="../media/image71.jpeg"/><Relationship Id="rId55" Type="http://schemas.openxmlformats.org/officeDocument/2006/relationships/oleObject" Target="../embeddings/oleObject41.bin"/><Relationship Id="rId7" Type="http://schemas.openxmlformats.org/officeDocument/2006/relationships/tags" Target="../tags/tag722.xml"/><Relationship Id="rId12" Type="http://schemas.openxmlformats.org/officeDocument/2006/relationships/tags" Target="../tags/tag727.xml"/><Relationship Id="rId17" Type="http://schemas.openxmlformats.org/officeDocument/2006/relationships/tags" Target="../tags/tag732.xml"/><Relationship Id="rId25" Type="http://schemas.openxmlformats.org/officeDocument/2006/relationships/tags" Target="../tags/tag740.xml"/><Relationship Id="rId33" Type="http://schemas.openxmlformats.org/officeDocument/2006/relationships/tags" Target="../tags/tag748.xml"/><Relationship Id="rId38" Type="http://schemas.openxmlformats.org/officeDocument/2006/relationships/tags" Target="../tags/tag753.xml"/><Relationship Id="rId46" Type="http://schemas.openxmlformats.org/officeDocument/2006/relationships/tags" Target="../tags/tag761.xml"/><Relationship Id="rId2" Type="http://schemas.openxmlformats.org/officeDocument/2006/relationships/tags" Target="../tags/tag717.xml"/><Relationship Id="rId16" Type="http://schemas.openxmlformats.org/officeDocument/2006/relationships/tags" Target="../tags/tag731.xml"/><Relationship Id="rId20" Type="http://schemas.openxmlformats.org/officeDocument/2006/relationships/tags" Target="../tags/tag735.xml"/><Relationship Id="rId29" Type="http://schemas.openxmlformats.org/officeDocument/2006/relationships/tags" Target="../tags/tag744.xml"/><Relationship Id="rId41" Type="http://schemas.openxmlformats.org/officeDocument/2006/relationships/tags" Target="../tags/tag756.xml"/><Relationship Id="rId54" Type="http://schemas.openxmlformats.org/officeDocument/2006/relationships/image" Target="../media/image74.jpeg"/><Relationship Id="rId1" Type="http://schemas.openxmlformats.org/officeDocument/2006/relationships/vmlDrawing" Target="../drawings/vmlDrawing23.vml"/><Relationship Id="rId6" Type="http://schemas.openxmlformats.org/officeDocument/2006/relationships/tags" Target="../tags/tag721.xml"/><Relationship Id="rId11" Type="http://schemas.openxmlformats.org/officeDocument/2006/relationships/tags" Target="../tags/tag726.xml"/><Relationship Id="rId24" Type="http://schemas.openxmlformats.org/officeDocument/2006/relationships/tags" Target="../tags/tag739.xml"/><Relationship Id="rId32" Type="http://schemas.openxmlformats.org/officeDocument/2006/relationships/tags" Target="../tags/tag747.xml"/><Relationship Id="rId37" Type="http://schemas.openxmlformats.org/officeDocument/2006/relationships/tags" Target="../tags/tag752.xml"/><Relationship Id="rId40" Type="http://schemas.openxmlformats.org/officeDocument/2006/relationships/tags" Target="../tags/tag755.xml"/><Relationship Id="rId45" Type="http://schemas.openxmlformats.org/officeDocument/2006/relationships/tags" Target="../tags/tag760.xml"/><Relationship Id="rId53" Type="http://schemas.openxmlformats.org/officeDocument/2006/relationships/image" Target="../media/image73.jpeg"/><Relationship Id="rId5" Type="http://schemas.openxmlformats.org/officeDocument/2006/relationships/tags" Target="../tags/tag720.xml"/><Relationship Id="rId15" Type="http://schemas.openxmlformats.org/officeDocument/2006/relationships/tags" Target="../tags/tag730.xml"/><Relationship Id="rId23" Type="http://schemas.openxmlformats.org/officeDocument/2006/relationships/tags" Target="../tags/tag738.xml"/><Relationship Id="rId28" Type="http://schemas.openxmlformats.org/officeDocument/2006/relationships/tags" Target="../tags/tag743.xml"/><Relationship Id="rId36" Type="http://schemas.openxmlformats.org/officeDocument/2006/relationships/tags" Target="../tags/tag751.xml"/><Relationship Id="rId49" Type="http://schemas.openxmlformats.org/officeDocument/2006/relationships/oleObject" Target="../embeddings/oleObject40.bin"/><Relationship Id="rId57" Type="http://schemas.openxmlformats.org/officeDocument/2006/relationships/image" Target="../media/image76.wmf"/><Relationship Id="rId10" Type="http://schemas.openxmlformats.org/officeDocument/2006/relationships/tags" Target="../tags/tag725.xml"/><Relationship Id="rId19" Type="http://schemas.openxmlformats.org/officeDocument/2006/relationships/tags" Target="../tags/tag734.xml"/><Relationship Id="rId31" Type="http://schemas.openxmlformats.org/officeDocument/2006/relationships/tags" Target="../tags/tag746.xml"/><Relationship Id="rId44" Type="http://schemas.openxmlformats.org/officeDocument/2006/relationships/tags" Target="../tags/tag759.xml"/><Relationship Id="rId52" Type="http://schemas.openxmlformats.org/officeDocument/2006/relationships/image" Target="../media/image72.jpeg"/><Relationship Id="rId4" Type="http://schemas.openxmlformats.org/officeDocument/2006/relationships/tags" Target="../tags/tag719.xml"/><Relationship Id="rId9" Type="http://schemas.openxmlformats.org/officeDocument/2006/relationships/tags" Target="../tags/tag724.xml"/><Relationship Id="rId14" Type="http://schemas.openxmlformats.org/officeDocument/2006/relationships/tags" Target="../tags/tag729.xml"/><Relationship Id="rId22" Type="http://schemas.openxmlformats.org/officeDocument/2006/relationships/tags" Target="../tags/tag737.xml"/><Relationship Id="rId27" Type="http://schemas.openxmlformats.org/officeDocument/2006/relationships/tags" Target="../tags/tag742.xml"/><Relationship Id="rId30" Type="http://schemas.openxmlformats.org/officeDocument/2006/relationships/tags" Target="../tags/tag745.xml"/><Relationship Id="rId35" Type="http://schemas.openxmlformats.org/officeDocument/2006/relationships/tags" Target="../tags/tag750.xml"/><Relationship Id="rId43" Type="http://schemas.openxmlformats.org/officeDocument/2006/relationships/tags" Target="../tags/tag758.xml"/><Relationship Id="rId48" Type="http://schemas.openxmlformats.org/officeDocument/2006/relationships/notesSlide" Target="../notesSlides/notesSlide6.xml"/><Relationship Id="rId56" Type="http://schemas.openxmlformats.org/officeDocument/2006/relationships/image" Target="../media/image75.jpeg"/><Relationship Id="rId8" Type="http://schemas.openxmlformats.org/officeDocument/2006/relationships/tags" Target="../tags/tag723.xml"/><Relationship Id="rId51" Type="http://schemas.openxmlformats.org/officeDocument/2006/relationships/image" Target="../media/image1.wmf"/><Relationship Id="rId3" Type="http://schemas.openxmlformats.org/officeDocument/2006/relationships/tags" Target="../tags/tag71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768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763.xml"/><Relationship Id="rId7" Type="http://schemas.openxmlformats.org/officeDocument/2006/relationships/tags" Target="../tags/tag767.xml"/><Relationship Id="rId12" Type="http://schemas.openxmlformats.org/officeDocument/2006/relationships/tags" Target="../tags/tag772.xml"/><Relationship Id="rId2" Type="http://schemas.openxmlformats.org/officeDocument/2006/relationships/tags" Target="../tags/tag762.xml"/><Relationship Id="rId16" Type="http://schemas.openxmlformats.org/officeDocument/2006/relationships/image" Target="../media/image77.png"/><Relationship Id="rId1" Type="http://schemas.openxmlformats.org/officeDocument/2006/relationships/vmlDrawing" Target="../drawings/vmlDrawing24.vml"/><Relationship Id="rId6" Type="http://schemas.openxmlformats.org/officeDocument/2006/relationships/tags" Target="../tags/tag766.xml"/><Relationship Id="rId11" Type="http://schemas.openxmlformats.org/officeDocument/2006/relationships/tags" Target="../tags/tag771.xml"/><Relationship Id="rId5" Type="http://schemas.openxmlformats.org/officeDocument/2006/relationships/tags" Target="../tags/tag765.xml"/><Relationship Id="rId15" Type="http://schemas.openxmlformats.org/officeDocument/2006/relationships/image" Target="../media/image29.jpeg"/><Relationship Id="rId10" Type="http://schemas.openxmlformats.org/officeDocument/2006/relationships/tags" Target="../tags/tag770.xml"/><Relationship Id="rId4" Type="http://schemas.openxmlformats.org/officeDocument/2006/relationships/tags" Target="../tags/tag764.xml"/><Relationship Id="rId9" Type="http://schemas.openxmlformats.org/officeDocument/2006/relationships/tags" Target="../tags/tag769.xml"/><Relationship Id="rId14" Type="http://schemas.openxmlformats.org/officeDocument/2006/relationships/oleObject" Target="../embeddings/oleObject42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779.xml"/><Relationship Id="rId13" Type="http://schemas.openxmlformats.org/officeDocument/2006/relationships/tags" Target="../tags/tag784.xml"/><Relationship Id="rId18" Type="http://schemas.openxmlformats.org/officeDocument/2006/relationships/oleObject" Target="../embeddings/oleObject43.bin"/><Relationship Id="rId3" Type="http://schemas.openxmlformats.org/officeDocument/2006/relationships/tags" Target="../tags/tag774.xml"/><Relationship Id="rId7" Type="http://schemas.openxmlformats.org/officeDocument/2006/relationships/tags" Target="../tags/tag778.xml"/><Relationship Id="rId12" Type="http://schemas.openxmlformats.org/officeDocument/2006/relationships/tags" Target="../tags/tag783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773.xml"/><Relationship Id="rId16" Type="http://schemas.openxmlformats.org/officeDocument/2006/relationships/tags" Target="../tags/tag787.xml"/><Relationship Id="rId1" Type="http://schemas.openxmlformats.org/officeDocument/2006/relationships/vmlDrawing" Target="../drawings/vmlDrawing25.vml"/><Relationship Id="rId6" Type="http://schemas.openxmlformats.org/officeDocument/2006/relationships/tags" Target="../tags/tag777.xml"/><Relationship Id="rId11" Type="http://schemas.openxmlformats.org/officeDocument/2006/relationships/tags" Target="../tags/tag782.xml"/><Relationship Id="rId5" Type="http://schemas.openxmlformats.org/officeDocument/2006/relationships/tags" Target="../tags/tag776.xml"/><Relationship Id="rId15" Type="http://schemas.openxmlformats.org/officeDocument/2006/relationships/tags" Target="../tags/tag786.xml"/><Relationship Id="rId10" Type="http://schemas.openxmlformats.org/officeDocument/2006/relationships/tags" Target="../tags/tag781.xml"/><Relationship Id="rId4" Type="http://schemas.openxmlformats.org/officeDocument/2006/relationships/tags" Target="../tags/tag775.xml"/><Relationship Id="rId9" Type="http://schemas.openxmlformats.org/officeDocument/2006/relationships/tags" Target="../tags/tag780.xml"/><Relationship Id="rId14" Type="http://schemas.openxmlformats.org/officeDocument/2006/relationships/tags" Target="../tags/tag785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9" Type="http://schemas.openxmlformats.org/officeDocument/2006/relationships/tags" Target="../tags/tag79.xml"/><Relationship Id="rId21" Type="http://schemas.openxmlformats.org/officeDocument/2006/relationships/tags" Target="../tags/tag61.xml"/><Relationship Id="rId34" Type="http://schemas.openxmlformats.org/officeDocument/2006/relationships/tags" Target="../tags/tag74.xml"/><Relationship Id="rId42" Type="http://schemas.openxmlformats.org/officeDocument/2006/relationships/tags" Target="../tags/tag82.xml"/><Relationship Id="rId47" Type="http://schemas.openxmlformats.org/officeDocument/2006/relationships/slideLayout" Target="../slideLayouts/slideLayout2.xml"/><Relationship Id="rId50" Type="http://schemas.openxmlformats.org/officeDocument/2006/relationships/oleObject" Target="../embeddings/oleObject5.bin"/><Relationship Id="rId55" Type="http://schemas.openxmlformats.org/officeDocument/2006/relationships/image" Target="../media/image14.png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tags" Target="../tags/tag73.xml"/><Relationship Id="rId38" Type="http://schemas.openxmlformats.org/officeDocument/2006/relationships/tags" Target="../tags/tag78.xml"/><Relationship Id="rId46" Type="http://schemas.openxmlformats.org/officeDocument/2006/relationships/tags" Target="../tags/tag86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tags" Target="../tags/tag69.xml"/><Relationship Id="rId41" Type="http://schemas.openxmlformats.org/officeDocument/2006/relationships/tags" Target="../tags/tag81.xml"/><Relationship Id="rId54" Type="http://schemas.openxmlformats.org/officeDocument/2006/relationships/image" Target="../media/image13.png"/><Relationship Id="rId1" Type="http://schemas.openxmlformats.org/officeDocument/2006/relationships/vmlDrawing" Target="../drawings/vmlDrawing3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tags" Target="../tags/tag72.xml"/><Relationship Id="rId37" Type="http://schemas.openxmlformats.org/officeDocument/2006/relationships/tags" Target="../tags/tag77.xml"/><Relationship Id="rId40" Type="http://schemas.openxmlformats.org/officeDocument/2006/relationships/tags" Target="../tags/tag80.xml"/><Relationship Id="rId45" Type="http://schemas.openxmlformats.org/officeDocument/2006/relationships/tags" Target="../tags/tag85.xml"/><Relationship Id="rId53" Type="http://schemas.openxmlformats.org/officeDocument/2006/relationships/image" Target="../media/image12.jpe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tags" Target="../tags/tag76.xml"/><Relationship Id="rId49" Type="http://schemas.openxmlformats.org/officeDocument/2006/relationships/oleObject" Target="../embeddings/oleObject4.bin"/><Relationship Id="rId57" Type="http://schemas.openxmlformats.org/officeDocument/2006/relationships/image" Target="../media/image16.png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tags" Target="../tags/tag71.xml"/><Relationship Id="rId44" Type="http://schemas.openxmlformats.org/officeDocument/2006/relationships/tags" Target="../tags/tag84.xml"/><Relationship Id="rId52" Type="http://schemas.openxmlformats.org/officeDocument/2006/relationships/image" Target="../media/image11.jpe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tags" Target="../tags/tag75.xml"/><Relationship Id="rId43" Type="http://schemas.openxmlformats.org/officeDocument/2006/relationships/tags" Target="../tags/tag83.xml"/><Relationship Id="rId48" Type="http://schemas.openxmlformats.org/officeDocument/2006/relationships/oleObject" Target="../embeddings/oleObject3.bin"/><Relationship Id="rId56" Type="http://schemas.openxmlformats.org/officeDocument/2006/relationships/image" Target="../media/image15.png"/><Relationship Id="rId8" Type="http://schemas.openxmlformats.org/officeDocument/2006/relationships/tags" Target="../tags/tag48.xml"/><Relationship Id="rId51" Type="http://schemas.openxmlformats.org/officeDocument/2006/relationships/oleObject" Target="../embeddings/oleObject6.bin"/><Relationship Id="rId3" Type="http://schemas.openxmlformats.org/officeDocument/2006/relationships/tags" Target="../tags/tag43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799.xml"/><Relationship Id="rId18" Type="http://schemas.openxmlformats.org/officeDocument/2006/relationships/tags" Target="../tags/tag804.xml"/><Relationship Id="rId26" Type="http://schemas.openxmlformats.org/officeDocument/2006/relationships/tags" Target="../tags/tag812.xml"/><Relationship Id="rId39" Type="http://schemas.openxmlformats.org/officeDocument/2006/relationships/tags" Target="../tags/tag825.xml"/><Relationship Id="rId21" Type="http://schemas.openxmlformats.org/officeDocument/2006/relationships/tags" Target="../tags/tag807.xml"/><Relationship Id="rId34" Type="http://schemas.openxmlformats.org/officeDocument/2006/relationships/tags" Target="../tags/tag820.xml"/><Relationship Id="rId42" Type="http://schemas.openxmlformats.org/officeDocument/2006/relationships/tags" Target="../tags/tag828.xml"/><Relationship Id="rId47" Type="http://schemas.openxmlformats.org/officeDocument/2006/relationships/tags" Target="../tags/tag833.xml"/><Relationship Id="rId50" Type="http://schemas.openxmlformats.org/officeDocument/2006/relationships/tags" Target="../tags/tag836.xml"/><Relationship Id="rId55" Type="http://schemas.openxmlformats.org/officeDocument/2006/relationships/notesSlide" Target="../notesSlides/notesSlide7.xml"/><Relationship Id="rId7" Type="http://schemas.openxmlformats.org/officeDocument/2006/relationships/tags" Target="../tags/tag793.xml"/><Relationship Id="rId12" Type="http://schemas.openxmlformats.org/officeDocument/2006/relationships/tags" Target="../tags/tag798.xml"/><Relationship Id="rId17" Type="http://schemas.openxmlformats.org/officeDocument/2006/relationships/tags" Target="../tags/tag803.xml"/><Relationship Id="rId25" Type="http://schemas.openxmlformats.org/officeDocument/2006/relationships/tags" Target="../tags/tag811.xml"/><Relationship Id="rId33" Type="http://schemas.openxmlformats.org/officeDocument/2006/relationships/tags" Target="../tags/tag819.xml"/><Relationship Id="rId38" Type="http://schemas.openxmlformats.org/officeDocument/2006/relationships/tags" Target="../tags/tag824.xml"/><Relationship Id="rId46" Type="http://schemas.openxmlformats.org/officeDocument/2006/relationships/tags" Target="../tags/tag832.xml"/><Relationship Id="rId2" Type="http://schemas.openxmlformats.org/officeDocument/2006/relationships/tags" Target="../tags/tag788.xml"/><Relationship Id="rId16" Type="http://schemas.openxmlformats.org/officeDocument/2006/relationships/tags" Target="../tags/tag802.xml"/><Relationship Id="rId20" Type="http://schemas.openxmlformats.org/officeDocument/2006/relationships/tags" Target="../tags/tag806.xml"/><Relationship Id="rId29" Type="http://schemas.openxmlformats.org/officeDocument/2006/relationships/tags" Target="../tags/tag815.xml"/><Relationship Id="rId41" Type="http://schemas.openxmlformats.org/officeDocument/2006/relationships/tags" Target="../tags/tag827.xml"/><Relationship Id="rId54" Type="http://schemas.openxmlformats.org/officeDocument/2006/relationships/slideLayout" Target="../slideLayouts/slideLayout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792.xml"/><Relationship Id="rId11" Type="http://schemas.openxmlformats.org/officeDocument/2006/relationships/tags" Target="../tags/tag797.xml"/><Relationship Id="rId24" Type="http://schemas.openxmlformats.org/officeDocument/2006/relationships/tags" Target="../tags/tag810.xml"/><Relationship Id="rId32" Type="http://schemas.openxmlformats.org/officeDocument/2006/relationships/tags" Target="../tags/tag818.xml"/><Relationship Id="rId37" Type="http://schemas.openxmlformats.org/officeDocument/2006/relationships/tags" Target="../tags/tag823.xml"/><Relationship Id="rId40" Type="http://schemas.openxmlformats.org/officeDocument/2006/relationships/tags" Target="../tags/tag826.xml"/><Relationship Id="rId45" Type="http://schemas.openxmlformats.org/officeDocument/2006/relationships/tags" Target="../tags/tag831.xml"/><Relationship Id="rId53" Type="http://schemas.openxmlformats.org/officeDocument/2006/relationships/tags" Target="../tags/tag839.xml"/><Relationship Id="rId58" Type="http://schemas.openxmlformats.org/officeDocument/2006/relationships/image" Target="../media/image79.jpeg"/><Relationship Id="rId5" Type="http://schemas.openxmlformats.org/officeDocument/2006/relationships/tags" Target="../tags/tag791.xml"/><Relationship Id="rId15" Type="http://schemas.openxmlformats.org/officeDocument/2006/relationships/tags" Target="../tags/tag801.xml"/><Relationship Id="rId23" Type="http://schemas.openxmlformats.org/officeDocument/2006/relationships/tags" Target="../tags/tag809.xml"/><Relationship Id="rId28" Type="http://schemas.openxmlformats.org/officeDocument/2006/relationships/tags" Target="../tags/tag814.xml"/><Relationship Id="rId36" Type="http://schemas.openxmlformats.org/officeDocument/2006/relationships/tags" Target="../tags/tag822.xml"/><Relationship Id="rId49" Type="http://schemas.openxmlformats.org/officeDocument/2006/relationships/tags" Target="../tags/tag835.xml"/><Relationship Id="rId57" Type="http://schemas.openxmlformats.org/officeDocument/2006/relationships/image" Target="../media/image78.jpeg"/><Relationship Id="rId10" Type="http://schemas.openxmlformats.org/officeDocument/2006/relationships/tags" Target="../tags/tag796.xml"/><Relationship Id="rId19" Type="http://schemas.openxmlformats.org/officeDocument/2006/relationships/tags" Target="../tags/tag805.xml"/><Relationship Id="rId31" Type="http://schemas.openxmlformats.org/officeDocument/2006/relationships/tags" Target="../tags/tag817.xml"/><Relationship Id="rId44" Type="http://schemas.openxmlformats.org/officeDocument/2006/relationships/tags" Target="../tags/tag830.xml"/><Relationship Id="rId52" Type="http://schemas.openxmlformats.org/officeDocument/2006/relationships/tags" Target="../tags/tag838.xml"/><Relationship Id="rId4" Type="http://schemas.openxmlformats.org/officeDocument/2006/relationships/tags" Target="../tags/tag790.xml"/><Relationship Id="rId9" Type="http://schemas.openxmlformats.org/officeDocument/2006/relationships/tags" Target="../tags/tag795.xml"/><Relationship Id="rId14" Type="http://schemas.openxmlformats.org/officeDocument/2006/relationships/tags" Target="../tags/tag800.xml"/><Relationship Id="rId22" Type="http://schemas.openxmlformats.org/officeDocument/2006/relationships/tags" Target="../tags/tag808.xml"/><Relationship Id="rId27" Type="http://schemas.openxmlformats.org/officeDocument/2006/relationships/tags" Target="../tags/tag813.xml"/><Relationship Id="rId30" Type="http://schemas.openxmlformats.org/officeDocument/2006/relationships/tags" Target="../tags/tag816.xml"/><Relationship Id="rId35" Type="http://schemas.openxmlformats.org/officeDocument/2006/relationships/tags" Target="../tags/tag821.xml"/><Relationship Id="rId43" Type="http://schemas.openxmlformats.org/officeDocument/2006/relationships/tags" Target="../tags/tag829.xml"/><Relationship Id="rId48" Type="http://schemas.openxmlformats.org/officeDocument/2006/relationships/tags" Target="../tags/tag834.xml"/><Relationship Id="rId56" Type="http://schemas.openxmlformats.org/officeDocument/2006/relationships/oleObject" Target="../embeddings/oleObject44.bin"/><Relationship Id="rId8" Type="http://schemas.openxmlformats.org/officeDocument/2006/relationships/tags" Target="../tags/tag794.xml"/><Relationship Id="rId51" Type="http://schemas.openxmlformats.org/officeDocument/2006/relationships/tags" Target="../tags/tag837.xml"/><Relationship Id="rId3" Type="http://schemas.openxmlformats.org/officeDocument/2006/relationships/tags" Target="../tags/tag78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tags" Target="../tags/tag841.xml"/><Relationship Id="rId7" Type="http://schemas.openxmlformats.org/officeDocument/2006/relationships/image" Target="../media/image80.png"/><Relationship Id="rId2" Type="http://schemas.openxmlformats.org/officeDocument/2006/relationships/tags" Target="../tags/tag84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45.bin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83.png"/><Relationship Id="rId4" Type="http://schemas.openxmlformats.org/officeDocument/2006/relationships/tags" Target="../tags/tag842.xml"/><Relationship Id="rId9" Type="http://schemas.openxmlformats.org/officeDocument/2006/relationships/image" Target="../media/image8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6.png"/><Relationship Id="rId2" Type="http://schemas.openxmlformats.org/officeDocument/2006/relationships/tags" Target="../tags/tag844.xml"/><Relationship Id="rId1" Type="http://schemas.openxmlformats.org/officeDocument/2006/relationships/tags" Target="../tags/tag843.xml"/><Relationship Id="rId6" Type="http://schemas.openxmlformats.org/officeDocument/2006/relationships/hyperlink" Target="http://upload.wikimedia.org/wikipedia/de/c/c6/Rohde_&amp;_Schwarz_Logo.svg" TargetMode="External"/><Relationship Id="rId5" Type="http://schemas.openxmlformats.org/officeDocument/2006/relationships/image" Target="../media/image85.png"/><Relationship Id="rId4" Type="http://schemas.openxmlformats.org/officeDocument/2006/relationships/image" Target="../media/image84.gif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851.xml"/><Relationship Id="rId13" Type="http://schemas.openxmlformats.org/officeDocument/2006/relationships/image" Target="../media/image45.png"/><Relationship Id="rId3" Type="http://schemas.openxmlformats.org/officeDocument/2006/relationships/tags" Target="../tags/tag846.xml"/><Relationship Id="rId7" Type="http://schemas.openxmlformats.org/officeDocument/2006/relationships/tags" Target="../tags/tag850.xml"/><Relationship Id="rId12" Type="http://schemas.openxmlformats.org/officeDocument/2006/relationships/image" Target="../media/image87.png"/><Relationship Id="rId2" Type="http://schemas.openxmlformats.org/officeDocument/2006/relationships/tags" Target="../tags/tag845.xml"/><Relationship Id="rId1" Type="http://schemas.openxmlformats.org/officeDocument/2006/relationships/vmlDrawing" Target="../drawings/vmlDrawing28.vml"/><Relationship Id="rId6" Type="http://schemas.openxmlformats.org/officeDocument/2006/relationships/tags" Target="../tags/tag849.xml"/><Relationship Id="rId11" Type="http://schemas.openxmlformats.org/officeDocument/2006/relationships/oleObject" Target="../embeddings/oleObject46.bin"/><Relationship Id="rId5" Type="http://schemas.openxmlformats.org/officeDocument/2006/relationships/tags" Target="../tags/tag84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847.xml"/><Relationship Id="rId9" Type="http://schemas.openxmlformats.org/officeDocument/2006/relationships/tags" Target="../tags/tag85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26" Type="http://schemas.openxmlformats.org/officeDocument/2006/relationships/tags" Target="../tags/tag111.xml"/><Relationship Id="rId3" Type="http://schemas.openxmlformats.org/officeDocument/2006/relationships/tags" Target="../tags/tag88.xml"/><Relationship Id="rId21" Type="http://schemas.openxmlformats.org/officeDocument/2006/relationships/tags" Target="../tags/tag106.xml"/><Relationship Id="rId34" Type="http://schemas.openxmlformats.org/officeDocument/2006/relationships/tags" Target="../tags/tag119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5" Type="http://schemas.openxmlformats.org/officeDocument/2006/relationships/tags" Target="../tags/tag110.xml"/><Relationship Id="rId33" Type="http://schemas.openxmlformats.org/officeDocument/2006/relationships/tags" Target="../tags/tag118.xml"/><Relationship Id="rId38" Type="http://schemas.openxmlformats.org/officeDocument/2006/relationships/oleObject" Target="../embeddings/oleObject8.bin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tags" Target="../tags/tag105.xml"/><Relationship Id="rId29" Type="http://schemas.openxmlformats.org/officeDocument/2006/relationships/tags" Target="../tags/tag114.xml"/><Relationship Id="rId1" Type="http://schemas.openxmlformats.org/officeDocument/2006/relationships/vmlDrawing" Target="../drawings/vmlDrawing4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tags" Target="../tags/tag109.xml"/><Relationship Id="rId32" Type="http://schemas.openxmlformats.org/officeDocument/2006/relationships/tags" Target="../tags/tag117.xml"/><Relationship Id="rId37" Type="http://schemas.openxmlformats.org/officeDocument/2006/relationships/oleObject" Target="../embeddings/oleObject7.bin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23" Type="http://schemas.openxmlformats.org/officeDocument/2006/relationships/tags" Target="../tags/tag108.xml"/><Relationship Id="rId28" Type="http://schemas.openxmlformats.org/officeDocument/2006/relationships/tags" Target="../tags/tag113.xml"/><Relationship Id="rId36" Type="http://schemas.openxmlformats.org/officeDocument/2006/relationships/notesSlide" Target="../notesSlides/notesSlide2.xml"/><Relationship Id="rId10" Type="http://schemas.openxmlformats.org/officeDocument/2006/relationships/tags" Target="../tags/tag95.xml"/><Relationship Id="rId19" Type="http://schemas.openxmlformats.org/officeDocument/2006/relationships/tags" Target="../tags/tag104.xml"/><Relationship Id="rId31" Type="http://schemas.openxmlformats.org/officeDocument/2006/relationships/tags" Target="../tags/tag116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tags" Target="../tags/tag107.xml"/><Relationship Id="rId27" Type="http://schemas.openxmlformats.org/officeDocument/2006/relationships/tags" Target="../tags/tag112.xml"/><Relationship Id="rId30" Type="http://schemas.openxmlformats.org/officeDocument/2006/relationships/tags" Target="../tags/tag115.xml"/><Relationship Id="rId35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31.xml"/><Relationship Id="rId18" Type="http://schemas.openxmlformats.org/officeDocument/2006/relationships/tags" Target="../tags/tag136.xml"/><Relationship Id="rId26" Type="http://schemas.openxmlformats.org/officeDocument/2006/relationships/tags" Target="../tags/tag144.xml"/><Relationship Id="rId39" Type="http://schemas.openxmlformats.org/officeDocument/2006/relationships/tags" Target="../tags/tag157.xml"/><Relationship Id="rId21" Type="http://schemas.openxmlformats.org/officeDocument/2006/relationships/tags" Target="../tags/tag139.xml"/><Relationship Id="rId34" Type="http://schemas.openxmlformats.org/officeDocument/2006/relationships/tags" Target="../tags/tag152.xml"/><Relationship Id="rId42" Type="http://schemas.openxmlformats.org/officeDocument/2006/relationships/tags" Target="../tags/tag160.xml"/><Relationship Id="rId47" Type="http://schemas.openxmlformats.org/officeDocument/2006/relationships/oleObject" Target="../embeddings/oleObject9.bin"/><Relationship Id="rId50" Type="http://schemas.openxmlformats.org/officeDocument/2006/relationships/image" Target="../media/image20.jpeg"/><Relationship Id="rId55" Type="http://schemas.openxmlformats.org/officeDocument/2006/relationships/image" Target="../media/image25.png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25" Type="http://schemas.openxmlformats.org/officeDocument/2006/relationships/tags" Target="../tags/tag143.xml"/><Relationship Id="rId33" Type="http://schemas.openxmlformats.org/officeDocument/2006/relationships/tags" Target="../tags/tag151.xml"/><Relationship Id="rId38" Type="http://schemas.openxmlformats.org/officeDocument/2006/relationships/tags" Target="../tags/tag156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tags" Target="../tags/tag138.xml"/><Relationship Id="rId29" Type="http://schemas.openxmlformats.org/officeDocument/2006/relationships/tags" Target="../tags/tag147.xml"/><Relationship Id="rId41" Type="http://schemas.openxmlformats.org/officeDocument/2006/relationships/tags" Target="../tags/tag159.xml"/><Relationship Id="rId54" Type="http://schemas.openxmlformats.org/officeDocument/2006/relationships/image" Target="../media/image24.png"/><Relationship Id="rId1" Type="http://schemas.openxmlformats.org/officeDocument/2006/relationships/vmlDrawing" Target="../drawings/vmlDrawing5.v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24" Type="http://schemas.openxmlformats.org/officeDocument/2006/relationships/tags" Target="../tags/tag142.xml"/><Relationship Id="rId32" Type="http://schemas.openxmlformats.org/officeDocument/2006/relationships/tags" Target="../tags/tag150.xml"/><Relationship Id="rId37" Type="http://schemas.openxmlformats.org/officeDocument/2006/relationships/tags" Target="../tags/tag155.xml"/><Relationship Id="rId40" Type="http://schemas.openxmlformats.org/officeDocument/2006/relationships/tags" Target="../tags/tag158.xml"/><Relationship Id="rId45" Type="http://schemas.openxmlformats.org/officeDocument/2006/relationships/tags" Target="../tags/tag163.xml"/><Relationship Id="rId53" Type="http://schemas.openxmlformats.org/officeDocument/2006/relationships/image" Target="../media/image23.png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23" Type="http://schemas.openxmlformats.org/officeDocument/2006/relationships/tags" Target="../tags/tag141.xml"/><Relationship Id="rId28" Type="http://schemas.openxmlformats.org/officeDocument/2006/relationships/tags" Target="../tags/tag146.xml"/><Relationship Id="rId36" Type="http://schemas.openxmlformats.org/officeDocument/2006/relationships/tags" Target="../tags/tag154.xml"/><Relationship Id="rId49" Type="http://schemas.openxmlformats.org/officeDocument/2006/relationships/image" Target="../media/image19.jpeg"/><Relationship Id="rId10" Type="http://schemas.openxmlformats.org/officeDocument/2006/relationships/tags" Target="../tags/tag128.xml"/><Relationship Id="rId19" Type="http://schemas.openxmlformats.org/officeDocument/2006/relationships/tags" Target="../tags/tag137.xml"/><Relationship Id="rId31" Type="http://schemas.openxmlformats.org/officeDocument/2006/relationships/tags" Target="../tags/tag149.xml"/><Relationship Id="rId44" Type="http://schemas.openxmlformats.org/officeDocument/2006/relationships/tags" Target="../tags/tag162.xml"/><Relationship Id="rId52" Type="http://schemas.openxmlformats.org/officeDocument/2006/relationships/image" Target="../media/image22.png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Relationship Id="rId22" Type="http://schemas.openxmlformats.org/officeDocument/2006/relationships/tags" Target="../tags/tag140.xml"/><Relationship Id="rId27" Type="http://schemas.openxmlformats.org/officeDocument/2006/relationships/tags" Target="../tags/tag145.xml"/><Relationship Id="rId30" Type="http://schemas.openxmlformats.org/officeDocument/2006/relationships/tags" Target="../tags/tag148.xml"/><Relationship Id="rId35" Type="http://schemas.openxmlformats.org/officeDocument/2006/relationships/tags" Target="../tags/tag153.xml"/><Relationship Id="rId43" Type="http://schemas.openxmlformats.org/officeDocument/2006/relationships/tags" Target="../tags/tag161.xml"/><Relationship Id="rId48" Type="http://schemas.openxmlformats.org/officeDocument/2006/relationships/oleObject" Target="../embeddings/oleObject10.bin"/><Relationship Id="rId8" Type="http://schemas.openxmlformats.org/officeDocument/2006/relationships/tags" Target="../tags/tag126.xml"/><Relationship Id="rId51" Type="http://schemas.openxmlformats.org/officeDocument/2006/relationships/image" Target="../media/image21.jpeg"/><Relationship Id="rId3" Type="http://schemas.openxmlformats.org/officeDocument/2006/relationships/tags" Target="../tags/tag12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tags" Target="../tags/tag175.xml"/><Relationship Id="rId18" Type="http://schemas.openxmlformats.org/officeDocument/2006/relationships/image" Target="../media/image28.jpeg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12" Type="http://schemas.openxmlformats.org/officeDocument/2006/relationships/tags" Target="../tags/tag174.xml"/><Relationship Id="rId17" Type="http://schemas.openxmlformats.org/officeDocument/2006/relationships/image" Target="../media/image27.jpeg"/><Relationship Id="rId2" Type="http://schemas.openxmlformats.org/officeDocument/2006/relationships/tags" Target="../tags/tag164.xml"/><Relationship Id="rId16" Type="http://schemas.openxmlformats.org/officeDocument/2006/relationships/image" Target="../media/image26.jpeg"/><Relationship Id="rId1" Type="http://schemas.openxmlformats.org/officeDocument/2006/relationships/vmlDrawing" Target="../drawings/vmlDrawing6.vml"/><Relationship Id="rId6" Type="http://schemas.openxmlformats.org/officeDocument/2006/relationships/tags" Target="../tags/tag168.xml"/><Relationship Id="rId11" Type="http://schemas.openxmlformats.org/officeDocument/2006/relationships/tags" Target="../tags/tag173.xml"/><Relationship Id="rId5" Type="http://schemas.openxmlformats.org/officeDocument/2006/relationships/tags" Target="../tags/tag167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172.xml"/><Relationship Id="rId19" Type="http://schemas.openxmlformats.org/officeDocument/2006/relationships/image" Target="../media/image29.jpeg"/><Relationship Id="rId4" Type="http://schemas.openxmlformats.org/officeDocument/2006/relationships/tags" Target="../tags/tag166.xml"/><Relationship Id="rId9" Type="http://schemas.openxmlformats.org/officeDocument/2006/relationships/tags" Target="../tags/tag171.xml"/><Relationship Id="rId1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87.xml"/><Relationship Id="rId18" Type="http://schemas.openxmlformats.org/officeDocument/2006/relationships/tags" Target="../tags/tag192.xml"/><Relationship Id="rId26" Type="http://schemas.openxmlformats.org/officeDocument/2006/relationships/tags" Target="../tags/tag200.xml"/><Relationship Id="rId39" Type="http://schemas.openxmlformats.org/officeDocument/2006/relationships/tags" Target="../tags/tag213.xml"/><Relationship Id="rId21" Type="http://schemas.openxmlformats.org/officeDocument/2006/relationships/tags" Target="../tags/tag195.xml"/><Relationship Id="rId34" Type="http://schemas.openxmlformats.org/officeDocument/2006/relationships/tags" Target="../tags/tag208.xml"/><Relationship Id="rId42" Type="http://schemas.openxmlformats.org/officeDocument/2006/relationships/tags" Target="../tags/tag216.xml"/><Relationship Id="rId47" Type="http://schemas.openxmlformats.org/officeDocument/2006/relationships/tags" Target="../tags/tag221.xml"/><Relationship Id="rId50" Type="http://schemas.openxmlformats.org/officeDocument/2006/relationships/tags" Target="../tags/tag224.xml"/><Relationship Id="rId55" Type="http://schemas.openxmlformats.org/officeDocument/2006/relationships/tags" Target="../tags/tag229.xml"/><Relationship Id="rId63" Type="http://schemas.openxmlformats.org/officeDocument/2006/relationships/image" Target="../media/image28.jpeg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6" Type="http://schemas.openxmlformats.org/officeDocument/2006/relationships/tags" Target="../tags/tag190.xml"/><Relationship Id="rId20" Type="http://schemas.openxmlformats.org/officeDocument/2006/relationships/tags" Target="../tags/tag194.xml"/><Relationship Id="rId29" Type="http://schemas.openxmlformats.org/officeDocument/2006/relationships/tags" Target="../tags/tag203.xml"/><Relationship Id="rId41" Type="http://schemas.openxmlformats.org/officeDocument/2006/relationships/tags" Target="../tags/tag215.xml"/><Relationship Id="rId54" Type="http://schemas.openxmlformats.org/officeDocument/2006/relationships/tags" Target="../tags/tag228.xml"/><Relationship Id="rId62" Type="http://schemas.openxmlformats.org/officeDocument/2006/relationships/oleObject" Target="../embeddings/oleObject13.bin"/><Relationship Id="rId1" Type="http://schemas.openxmlformats.org/officeDocument/2006/relationships/vmlDrawing" Target="../drawings/vmlDrawing7.vml"/><Relationship Id="rId6" Type="http://schemas.openxmlformats.org/officeDocument/2006/relationships/tags" Target="../tags/tag180.xml"/><Relationship Id="rId11" Type="http://schemas.openxmlformats.org/officeDocument/2006/relationships/tags" Target="../tags/tag185.xml"/><Relationship Id="rId24" Type="http://schemas.openxmlformats.org/officeDocument/2006/relationships/tags" Target="../tags/tag198.xml"/><Relationship Id="rId32" Type="http://schemas.openxmlformats.org/officeDocument/2006/relationships/tags" Target="../tags/tag206.xml"/><Relationship Id="rId37" Type="http://schemas.openxmlformats.org/officeDocument/2006/relationships/tags" Target="../tags/tag211.xml"/><Relationship Id="rId40" Type="http://schemas.openxmlformats.org/officeDocument/2006/relationships/tags" Target="../tags/tag214.xml"/><Relationship Id="rId45" Type="http://schemas.openxmlformats.org/officeDocument/2006/relationships/tags" Target="../tags/tag219.xml"/><Relationship Id="rId53" Type="http://schemas.openxmlformats.org/officeDocument/2006/relationships/tags" Target="../tags/tag227.xml"/><Relationship Id="rId58" Type="http://schemas.openxmlformats.org/officeDocument/2006/relationships/tags" Target="../tags/tag232.xml"/><Relationship Id="rId66" Type="http://schemas.openxmlformats.org/officeDocument/2006/relationships/image" Target="../media/image33.png"/><Relationship Id="rId5" Type="http://schemas.openxmlformats.org/officeDocument/2006/relationships/tags" Target="../tags/tag179.xml"/><Relationship Id="rId15" Type="http://schemas.openxmlformats.org/officeDocument/2006/relationships/tags" Target="../tags/tag189.xml"/><Relationship Id="rId23" Type="http://schemas.openxmlformats.org/officeDocument/2006/relationships/tags" Target="../tags/tag197.xml"/><Relationship Id="rId28" Type="http://schemas.openxmlformats.org/officeDocument/2006/relationships/tags" Target="../tags/tag202.xml"/><Relationship Id="rId36" Type="http://schemas.openxmlformats.org/officeDocument/2006/relationships/tags" Target="../tags/tag210.xml"/><Relationship Id="rId49" Type="http://schemas.openxmlformats.org/officeDocument/2006/relationships/tags" Target="../tags/tag223.xml"/><Relationship Id="rId57" Type="http://schemas.openxmlformats.org/officeDocument/2006/relationships/tags" Target="../tags/tag231.xml"/><Relationship Id="rId61" Type="http://schemas.openxmlformats.org/officeDocument/2006/relationships/oleObject" Target="../embeddings/oleObject12.bin"/><Relationship Id="rId10" Type="http://schemas.openxmlformats.org/officeDocument/2006/relationships/tags" Target="../tags/tag184.xml"/><Relationship Id="rId19" Type="http://schemas.openxmlformats.org/officeDocument/2006/relationships/tags" Target="../tags/tag193.xml"/><Relationship Id="rId31" Type="http://schemas.openxmlformats.org/officeDocument/2006/relationships/tags" Target="../tags/tag205.xml"/><Relationship Id="rId44" Type="http://schemas.openxmlformats.org/officeDocument/2006/relationships/tags" Target="../tags/tag218.xml"/><Relationship Id="rId52" Type="http://schemas.openxmlformats.org/officeDocument/2006/relationships/tags" Target="../tags/tag226.xml"/><Relationship Id="rId60" Type="http://schemas.openxmlformats.org/officeDocument/2006/relationships/notesSlide" Target="../notesSlides/notesSlide3.xml"/><Relationship Id="rId65" Type="http://schemas.openxmlformats.org/officeDocument/2006/relationships/image" Target="../media/image32.png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tags" Target="../tags/tag188.xml"/><Relationship Id="rId22" Type="http://schemas.openxmlformats.org/officeDocument/2006/relationships/tags" Target="../tags/tag196.xml"/><Relationship Id="rId27" Type="http://schemas.openxmlformats.org/officeDocument/2006/relationships/tags" Target="../tags/tag201.xml"/><Relationship Id="rId30" Type="http://schemas.openxmlformats.org/officeDocument/2006/relationships/tags" Target="../tags/tag204.xml"/><Relationship Id="rId35" Type="http://schemas.openxmlformats.org/officeDocument/2006/relationships/tags" Target="../tags/tag209.xml"/><Relationship Id="rId43" Type="http://schemas.openxmlformats.org/officeDocument/2006/relationships/tags" Target="../tags/tag217.xml"/><Relationship Id="rId48" Type="http://schemas.openxmlformats.org/officeDocument/2006/relationships/tags" Target="../tags/tag222.xml"/><Relationship Id="rId56" Type="http://schemas.openxmlformats.org/officeDocument/2006/relationships/tags" Target="../tags/tag230.xml"/><Relationship Id="rId64" Type="http://schemas.openxmlformats.org/officeDocument/2006/relationships/image" Target="../media/image31.jpeg"/><Relationship Id="rId8" Type="http://schemas.openxmlformats.org/officeDocument/2006/relationships/tags" Target="../tags/tag182.xml"/><Relationship Id="rId51" Type="http://schemas.openxmlformats.org/officeDocument/2006/relationships/tags" Target="../tags/tag225.xml"/><Relationship Id="rId3" Type="http://schemas.openxmlformats.org/officeDocument/2006/relationships/tags" Target="../tags/tag177.xml"/><Relationship Id="rId12" Type="http://schemas.openxmlformats.org/officeDocument/2006/relationships/tags" Target="../tags/tag186.xml"/><Relationship Id="rId17" Type="http://schemas.openxmlformats.org/officeDocument/2006/relationships/tags" Target="../tags/tag191.xml"/><Relationship Id="rId25" Type="http://schemas.openxmlformats.org/officeDocument/2006/relationships/tags" Target="../tags/tag199.xml"/><Relationship Id="rId33" Type="http://schemas.openxmlformats.org/officeDocument/2006/relationships/tags" Target="../tags/tag207.xml"/><Relationship Id="rId38" Type="http://schemas.openxmlformats.org/officeDocument/2006/relationships/tags" Target="../tags/tag212.xml"/><Relationship Id="rId46" Type="http://schemas.openxmlformats.org/officeDocument/2006/relationships/tags" Target="../tags/tag220.xml"/><Relationship Id="rId59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tags" Target="../tags/tag244.xml"/><Relationship Id="rId18" Type="http://schemas.openxmlformats.org/officeDocument/2006/relationships/tags" Target="../tags/tag249.xml"/><Relationship Id="rId26" Type="http://schemas.openxmlformats.org/officeDocument/2006/relationships/tags" Target="../tags/tag257.xml"/><Relationship Id="rId39" Type="http://schemas.openxmlformats.org/officeDocument/2006/relationships/slideLayout" Target="../slideLayouts/slideLayout2.xml"/><Relationship Id="rId3" Type="http://schemas.openxmlformats.org/officeDocument/2006/relationships/tags" Target="../tags/tag234.xml"/><Relationship Id="rId21" Type="http://schemas.openxmlformats.org/officeDocument/2006/relationships/tags" Target="../tags/tag252.xml"/><Relationship Id="rId34" Type="http://schemas.openxmlformats.org/officeDocument/2006/relationships/tags" Target="../tags/tag265.xml"/><Relationship Id="rId42" Type="http://schemas.openxmlformats.org/officeDocument/2006/relationships/oleObject" Target="../embeddings/oleObject15.bin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tags" Target="../tags/tag248.xml"/><Relationship Id="rId25" Type="http://schemas.openxmlformats.org/officeDocument/2006/relationships/tags" Target="../tags/tag256.xml"/><Relationship Id="rId33" Type="http://schemas.openxmlformats.org/officeDocument/2006/relationships/tags" Target="../tags/tag264.xml"/><Relationship Id="rId38" Type="http://schemas.openxmlformats.org/officeDocument/2006/relationships/tags" Target="../tags/tag269.xml"/><Relationship Id="rId46" Type="http://schemas.openxmlformats.org/officeDocument/2006/relationships/image" Target="../media/image38.jpeg"/><Relationship Id="rId2" Type="http://schemas.openxmlformats.org/officeDocument/2006/relationships/tags" Target="../tags/tag233.xml"/><Relationship Id="rId16" Type="http://schemas.openxmlformats.org/officeDocument/2006/relationships/tags" Target="../tags/tag247.xml"/><Relationship Id="rId20" Type="http://schemas.openxmlformats.org/officeDocument/2006/relationships/tags" Target="../tags/tag251.xml"/><Relationship Id="rId29" Type="http://schemas.openxmlformats.org/officeDocument/2006/relationships/tags" Target="../tags/tag260.xml"/><Relationship Id="rId41" Type="http://schemas.openxmlformats.org/officeDocument/2006/relationships/oleObject" Target="../embeddings/oleObject14.bin"/><Relationship Id="rId1" Type="http://schemas.openxmlformats.org/officeDocument/2006/relationships/vmlDrawing" Target="../drawings/vmlDrawing8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24" Type="http://schemas.openxmlformats.org/officeDocument/2006/relationships/tags" Target="../tags/tag255.xml"/><Relationship Id="rId32" Type="http://schemas.openxmlformats.org/officeDocument/2006/relationships/tags" Target="../tags/tag263.xml"/><Relationship Id="rId37" Type="http://schemas.openxmlformats.org/officeDocument/2006/relationships/tags" Target="../tags/tag268.xml"/><Relationship Id="rId40" Type="http://schemas.openxmlformats.org/officeDocument/2006/relationships/notesSlide" Target="../notesSlides/notesSlide4.xml"/><Relationship Id="rId45" Type="http://schemas.openxmlformats.org/officeDocument/2006/relationships/image" Target="../media/image37.jpeg"/><Relationship Id="rId5" Type="http://schemas.openxmlformats.org/officeDocument/2006/relationships/tags" Target="../tags/tag236.xml"/><Relationship Id="rId15" Type="http://schemas.openxmlformats.org/officeDocument/2006/relationships/tags" Target="../tags/tag246.xml"/><Relationship Id="rId23" Type="http://schemas.openxmlformats.org/officeDocument/2006/relationships/tags" Target="../tags/tag254.xml"/><Relationship Id="rId28" Type="http://schemas.openxmlformats.org/officeDocument/2006/relationships/tags" Target="../tags/tag259.xml"/><Relationship Id="rId36" Type="http://schemas.openxmlformats.org/officeDocument/2006/relationships/tags" Target="../tags/tag267.xml"/><Relationship Id="rId10" Type="http://schemas.openxmlformats.org/officeDocument/2006/relationships/tags" Target="../tags/tag241.xml"/><Relationship Id="rId19" Type="http://schemas.openxmlformats.org/officeDocument/2006/relationships/tags" Target="../tags/tag250.xml"/><Relationship Id="rId31" Type="http://schemas.openxmlformats.org/officeDocument/2006/relationships/tags" Target="../tags/tag262.xml"/><Relationship Id="rId44" Type="http://schemas.openxmlformats.org/officeDocument/2006/relationships/image" Target="../media/image36.png"/><Relationship Id="rId4" Type="http://schemas.openxmlformats.org/officeDocument/2006/relationships/tags" Target="../tags/tag235.xml"/><Relationship Id="rId9" Type="http://schemas.openxmlformats.org/officeDocument/2006/relationships/tags" Target="../tags/tag240.xml"/><Relationship Id="rId14" Type="http://schemas.openxmlformats.org/officeDocument/2006/relationships/tags" Target="../tags/tag245.xml"/><Relationship Id="rId22" Type="http://schemas.openxmlformats.org/officeDocument/2006/relationships/tags" Target="../tags/tag253.xml"/><Relationship Id="rId27" Type="http://schemas.openxmlformats.org/officeDocument/2006/relationships/tags" Target="../tags/tag258.xml"/><Relationship Id="rId30" Type="http://schemas.openxmlformats.org/officeDocument/2006/relationships/tags" Target="../tags/tag261.xml"/><Relationship Id="rId35" Type="http://schemas.openxmlformats.org/officeDocument/2006/relationships/tags" Target="../tags/tag266.xml"/><Relationship Id="rId43" Type="http://schemas.openxmlformats.org/officeDocument/2006/relationships/image" Target="../media/image3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76.xml"/><Relationship Id="rId13" Type="http://schemas.openxmlformats.org/officeDocument/2006/relationships/tags" Target="../tags/tag281.xml"/><Relationship Id="rId18" Type="http://schemas.openxmlformats.org/officeDocument/2006/relationships/image" Target="../media/image35.jpeg"/><Relationship Id="rId3" Type="http://schemas.openxmlformats.org/officeDocument/2006/relationships/tags" Target="../tags/tag271.xml"/><Relationship Id="rId7" Type="http://schemas.openxmlformats.org/officeDocument/2006/relationships/tags" Target="../tags/tag275.xml"/><Relationship Id="rId12" Type="http://schemas.openxmlformats.org/officeDocument/2006/relationships/tags" Target="../tags/tag280.xml"/><Relationship Id="rId17" Type="http://schemas.openxmlformats.org/officeDocument/2006/relationships/oleObject" Target="../embeddings/oleObject17.bin"/><Relationship Id="rId2" Type="http://schemas.openxmlformats.org/officeDocument/2006/relationships/tags" Target="../tags/tag270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9.vml"/><Relationship Id="rId6" Type="http://schemas.openxmlformats.org/officeDocument/2006/relationships/tags" Target="../tags/tag274.xml"/><Relationship Id="rId11" Type="http://schemas.openxmlformats.org/officeDocument/2006/relationships/tags" Target="../tags/tag279.xml"/><Relationship Id="rId5" Type="http://schemas.openxmlformats.org/officeDocument/2006/relationships/tags" Target="../tags/tag273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278.xml"/><Relationship Id="rId4" Type="http://schemas.openxmlformats.org/officeDocument/2006/relationships/tags" Target="../tags/tag272.xml"/><Relationship Id="rId9" Type="http://schemas.openxmlformats.org/officeDocument/2006/relationships/tags" Target="../tags/tag277.xml"/><Relationship Id="rId14" Type="http://schemas.openxmlformats.org/officeDocument/2006/relationships/tags" Target="../tags/tag28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0658" name="think-cell Slide" r:id="rId6" imgW="0" imgH="0" progId="">
              <p:embed/>
            </p:oleObj>
          </a:graphicData>
        </a:graphic>
      </p:graphicFrame>
      <p:sp>
        <p:nvSpPr>
          <p:cNvPr id="9" name="Title 8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815916" y="1916832"/>
            <a:ext cx="4675186" cy="886397"/>
          </a:xfrm>
        </p:spPr>
        <p:txBody>
          <a:bodyPr/>
          <a:lstStyle/>
          <a:p>
            <a:pPr algn="l"/>
            <a:r>
              <a:rPr lang="en-US" sz="3200" dirty="0" smtClean="0"/>
              <a:t>Embedded Electronic Systems</a:t>
            </a:r>
            <a:endParaRPr lang="en-US" sz="3200" dirty="0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815916" y="3392996"/>
            <a:ext cx="4675186" cy="664797"/>
          </a:xfrm>
        </p:spPr>
        <p:txBody>
          <a:bodyPr/>
          <a:lstStyle/>
          <a:p>
            <a:pPr algn="l"/>
            <a:r>
              <a:rPr lang="en-US" sz="2400" dirty="0" smtClean="0"/>
              <a:t>A success story for the German </a:t>
            </a:r>
            <a:br>
              <a:rPr lang="en-US" sz="2400" dirty="0" smtClean="0"/>
            </a:br>
            <a:r>
              <a:rPr lang="en-US" sz="2400" dirty="0" smtClean="0"/>
              <a:t>job market</a:t>
            </a:r>
            <a:endParaRPr lang="en-US" sz="2400" dirty="0" smtClean="0">
              <a:solidFill>
                <a:srgbClr val="000000"/>
              </a:solidFill>
            </a:endParaRPr>
          </a:p>
        </p:txBody>
      </p:sp>
      <p:sp>
        <p:nvSpPr>
          <p:cNvPr id="1030" name="Text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18360" y="4700296"/>
            <a:ext cx="483235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lnSpc>
                <a:spcPct val="90000"/>
              </a:lnSpc>
            </a:pPr>
            <a:r>
              <a:rPr lang="en-US" b="1" dirty="0" smtClean="0"/>
              <a:t>Michael </a:t>
            </a:r>
            <a:r>
              <a:rPr lang="en-US" b="1" dirty="0" err="1" smtClean="0"/>
              <a:t>Römer</a:t>
            </a:r>
            <a:endParaRPr lang="en-US" b="1" dirty="0" smtClean="0"/>
          </a:p>
          <a:p>
            <a:pPr>
              <a:lnSpc>
                <a:spcPct val="90000"/>
              </a:lnSpc>
            </a:pPr>
            <a:endParaRPr lang="en-US" sz="1600" b="1" dirty="0" smtClean="0"/>
          </a:p>
          <a:p>
            <a:pPr>
              <a:lnSpc>
                <a:spcPct val="90000"/>
              </a:lnSpc>
            </a:pPr>
            <a:endParaRPr lang="en-US" sz="1600" b="1" dirty="0" smtClean="0"/>
          </a:p>
          <a:p>
            <a:pPr>
              <a:lnSpc>
                <a:spcPct val="90000"/>
              </a:lnSpc>
            </a:pPr>
            <a:endParaRPr lang="en-US" sz="1600" b="1" dirty="0" smtClean="0"/>
          </a:p>
          <a:p>
            <a:pPr>
              <a:lnSpc>
                <a:spcPct val="90000"/>
              </a:lnSpc>
            </a:pPr>
            <a:r>
              <a:rPr lang="en-US" sz="1600" dirty="0" err="1" smtClean="0"/>
              <a:t>Münchner</a:t>
            </a:r>
            <a:r>
              <a:rPr lang="en-US" sz="1600" dirty="0" smtClean="0"/>
              <a:t> Kreis, November 17</a:t>
            </a:r>
            <a:r>
              <a:rPr lang="en-US" sz="1600" baseline="30000" dirty="0" smtClean="0"/>
              <a:t>th</a:t>
            </a:r>
            <a:r>
              <a:rPr lang="en-US" sz="1600" dirty="0" smtClean="0"/>
              <a:t>, 2010</a:t>
            </a:r>
          </a:p>
          <a:p>
            <a:pPr>
              <a:lnSpc>
                <a:spcPct val="90000"/>
              </a:lnSpc>
            </a:pPr>
            <a:endParaRPr lang="de-DE" sz="1600" b="1" dirty="0" smtClean="0"/>
          </a:p>
          <a:p>
            <a:pPr>
              <a:lnSpc>
                <a:spcPct val="90000"/>
              </a:lnSpc>
            </a:pPr>
            <a:endParaRPr lang="en-US" sz="1600" b="1" dirty="0" smtClean="0"/>
          </a:p>
          <a:p>
            <a:pPr>
              <a:lnSpc>
                <a:spcPct val="90000"/>
              </a:lnSpc>
            </a:pPr>
            <a:endParaRPr lang="en-US" sz="1600" b="1" dirty="0"/>
          </a:p>
        </p:txBody>
      </p:sp>
      <p:pic>
        <p:nvPicPr>
          <p:cNvPr id="2" name="Picture 4" descr="http://www.liquidware.com/system/0000/2695/DoublePlug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9532" y="1520788"/>
            <a:ext cx="2990371" cy="19920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61826" name="think-cell Slide" r:id="rId76" imgW="0" imgH="0" progId="">
              <p:embed/>
            </p:oleObj>
          </a:graphicData>
        </a:graphic>
      </p:graphicFrame>
      <p:sp>
        <p:nvSpPr>
          <p:cNvPr id="24" name="Rectangle 23"/>
          <p:cNvSpPr/>
          <p:nvPr>
            <p:custDataLst>
              <p:tags r:id="rId2"/>
            </p:custDataLst>
          </p:nvPr>
        </p:nvSpPr>
        <p:spPr>
          <a:xfrm>
            <a:off x="250825" y="4020850"/>
            <a:ext cx="8655684" cy="253916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22" name="Rectangle 21"/>
          <p:cNvSpPr/>
          <p:nvPr>
            <p:custDataLst>
              <p:tags r:id="rId3"/>
            </p:custDataLst>
          </p:nvPr>
        </p:nvSpPr>
        <p:spPr>
          <a:xfrm>
            <a:off x="250825" y="2092648"/>
            <a:ext cx="8655684" cy="253916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4507" y="596741"/>
            <a:ext cx="8650224" cy="332399"/>
          </a:xfrm>
        </p:spPr>
        <p:txBody>
          <a:bodyPr/>
          <a:lstStyle/>
          <a:p>
            <a:r>
              <a:rPr lang="en-US" dirty="0" smtClean="0"/>
              <a:t>However there are still barriers that delay the breakthrough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4294967295"/>
            <p:custDataLst>
              <p:tags r:id="rId5"/>
            </p:custDataLst>
          </p:nvPr>
        </p:nvSpPr>
        <p:spPr>
          <a:xfrm>
            <a:off x="244507" y="2477894"/>
            <a:ext cx="3960813" cy="1126462"/>
          </a:xfrm>
        </p:spPr>
        <p:txBody>
          <a:bodyPr/>
          <a:lstStyle/>
          <a:p>
            <a:pPr marL="271463" indent="-273050" eaLnBrk="0" hangingPunct="0"/>
            <a:r>
              <a:rPr lang="en-US" dirty="0" smtClean="0">
                <a:latin typeface="+mn-lt"/>
                <a:cs typeface="+mn-cs"/>
              </a:rPr>
              <a:t>Unclear use cases, complex services</a:t>
            </a:r>
          </a:p>
          <a:p>
            <a:pPr marL="271463" indent="-273050" eaLnBrk="0" hangingPunct="0"/>
            <a:r>
              <a:rPr lang="en-US" dirty="0" smtClean="0">
                <a:latin typeface="+mn-lt"/>
                <a:cs typeface="+mn-cs"/>
              </a:rPr>
              <a:t>Security of data</a:t>
            </a:r>
          </a:p>
          <a:p>
            <a:pPr marL="271463" indent="-273050" eaLnBrk="0" hangingPunct="0"/>
            <a:r>
              <a:rPr lang="en-US" dirty="0" smtClean="0">
                <a:latin typeface="+mn-lt"/>
                <a:cs typeface="+mn-cs"/>
              </a:rPr>
              <a:t>Only for premium products</a:t>
            </a:r>
          </a:p>
        </p:txBody>
      </p:sp>
      <p:sp>
        <p:nvSpPr>
          <p:cNvPr id="6" name="Content Placeholder 3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4927600" y="2477894"/>
            <a:ext cx="3967163" cy="1117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71463" lvl="0" indent="-273050" eaLnBrk="0" hangingPunct="0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Wingdings" pitchFamily="2" charset="2"/>
              <a:buChar char=""/>
            </a:pPr>
            <a:r>
              <a:rPr lang="en-US" sz="1600" dirty="0" smtClean="0"/>
              <a:t>Many functionalities are confusing/not needed, usability not intuitive </a:t>
            </a:r>
          </a:p>
          <a:p>
            <a:pPr marL="271463" lvl="0" indent="-273050" eaLnBrk="0" hangingPunct="0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Wingdings" pitchFamily="2" charset="2"/>
              <a:buChar char=""/>
            </a:pPr>
            <a:r>
              <a:rPr lang="en-US" sz="1600" dirty="0" smtClean="0"/>
              <a:t>Storage of personal data especially with access to internet</a:t>
            </a:r>
          </a:p>
        </p:txBody>
      </p:sp>
      <p:sp>
        <p:nvSpPr>
          <p:cNvPr id="8" name="TextBox 7"/>
          <p:cNvSpPr txBox="1"/>
          <p:nvPr>
            <p:custDataLst>
              <p:tags r:id="rId7"/>
            </p:custDataLst>
          </p:nvPr>
        </p:nvSpPr>
        <p:spPr>
          <a:xfrm>
            <a:off x="246125" y="1617725"/>
            <a:ext cx="5437451" cy="498598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cs typeface="Arial"/>
              </a:rPr>
              <a:t>Major EES growth barriers</a:t>
            </a:r>
          </a:p>
          <a:p>
            <a:pPr>
              <a:lnSpc>
                <a:spcPct val="90000"/>
              </a:lnSpc>
              <a:buClr>
                <a:schemeClr val="bg2"/>
              </a:buClr>
            </a:pPr>
            <a:endParaRPr lang="en-US" b="1" dirty="0" smtClean="0">
              <a:latin typeface="Arial"/>
              <a:cs typeface="Arial"/>
            </a:endParaRPr>
          </a:p>
        </p:txBody>
      </p:sp>
      <p:sp>
        <p:nvSpPr>
          <p:cNvPr id="9" name="Oval 8"/>
          <p:cNvSpPr/>
          <p:nvPr>
            <p:custDataLst>
              <p:tags r:id="rId8"/>
            </p:custDataLst>
          </p:nvPr>
        </p:nvSpPr>
        <p:spPr>
          <a:xfrm>
            <a:off x="158766" y="2075606"/>
            <a:ext cx="288000" cy="288000"/>
          </a:xfrm>
          <a:prstGeom prst="ellipse">
            <a:avLst/>
          </a:prstGeom>
          <a:solidFill>
            <a:schemeClr val="bg2"/>
          </a:solidFill>
          <a:ln w="381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10" name="Oval 9"/>
          <p:cNvSpPr/>
          <p:nvPr>
            <p:custDataLst>
              <p:tags r:id="rId9"/>
            </p:custDataLst>
          </p:nvPr>
        </p:nvSpPr>
        <p:spPr>
          <a:xfrm>
            <a:off x="158766" y="4003808"/>
            <a:ext cx="288000" cy="288000"/>
          </a:xfrm>
          <a:prstGeom prst="ellipse">
            <a:avLst/>
          </a:prstGeom>
          <a:solidFill>
            <a:schemeClr val="bg2"/>
          </a:solidFill>
          <a:ln w="381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</a:t>
            </a:r>
          </a:p>
        </p:txBody>
      </p:sp>
      <p:sp>
        <p:nvSpPr>
          <p:cNvPr id="17" name="Rectangle 16"/>
          <p:cNvSpPr/>
          <p:nvPr>
            <p:custDataLst>
              <p:tags r:id="rId10"/>
            </p:custDataLst>
          </p:nvPr>
        </p:nvSpPr>
        <p:spPr>
          <a:xfrm>
            <a:off x="526668" y="2108807"/>
            <a:ext cx="3690366" cy="221599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tx1"/>
                </a:solidFill>
                <a:cs typeface="Arial" pitchFamily="34" charset="0"/>
              </a:rPr>
              <a:t>Consumer Perspective</a:t>
            </a:r>
            <a:endParaRPr lang="en-US" sz="1600" b="1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</p:txBody>
      </p:sp>
      <p:sp>
        <p:nvSpPr>
          <p:cNvPr id="18" name="Rectangle 17"/>
          <p:cNvSpPr/>
          <p:nvPr>
            <p:custDataLst>
              <p:tags r:id="rId11"/>
            </p:custDataLst>
          </p:nvPr>
        </p:nvSpPr>
        <p:spPr>
          <a:xfrm>
            <a:off x="4930393" y="2108807"/>
            <a:ext cx="3967861" cy="221599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tx1"/>
                </a:solidFill>
                <a:cs typeface="Arial" pitchFamily="34" charset="0"/>
              </a:rPr>
              <a:t>Example</a:t>
            </a:r>
          </a:p>
        </p:txBody>
      </p:sp>
      <p:sp>
        <p:nvSpPr>
          <p:cNvPr id="14" name="Rectangle 13"/>
          <p:cNvSpPr/>
          <p:nvPr>
            <p:custDataLst>
              <p:tags r:id="rId12"/>
            </p:custDataLst>
          </p:nvPr>
        </p:nvSpPr>
        <p:spPr>
          <a:xfrm>
            <a:off x="526668" y="4037009"/>
            <a:ext cx="3690366" cy="221599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tx1"/>
                </a:solidFill>
                <a:cs typeface="Arial" pitchFamily="34" charset="0"/>
              </a:rPr>
              <a:t>Company Perspective</a:t>
            </a:r>
            <a:endParaRPr lang="en-US" sz="1600" b="1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</p:txBody>
      </p:sp>
      <p:sp>
        <p:nvSpPr>
          <p:cNvPr id="15" name="Content Placeholder 3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244507" y="4465464"/>
            <a:ext cx="3650599" cy="20128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71463" indent="-273050" eaLnBrk="0" hangingPunct="0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Wingdings" pitchFamily="2" charset="2"/>
              <a:buChar char=""/>
            </a:pPr>
            <a:r>
              <a:rPr lang="en-US" sz="1600" dirty="0" smtClean="0"/>
              <a:t>Lack of architecture standards and product modularization</a:t>
            </a:r>
          </a:p>
          <a:p>
            <a:pPr marL="271463" indent="-273050" eaLnBrk="0" hangingPunct="0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Wingdings" pitchFamily="2" charset="2"/>
              <a:buChar char=""/>
            </a:pPr>
            <a:r>
              <a:rPr lang="en-US" sz="1600" dirty="0" smtClean="0"/>
              <a:t>Limited number of experienced architects and developers with industry know-how</a:t>
            </a:r>
          </a:p>
          <a:p>
            <a:pPr marL="271463" indent="-273050" eaLnBrk="0" hangingPunct="0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Wingdings" pitchFamily="2" charset="2"/>
              <a:buChar char=""/>
            </a:pPr>
            <a:r>
              <a:rPr lang="en-US" sz="1600" dirty="0" smtClean="0"/>
              <a:t>Products consumer are willing to pay for?</a:t>
            </a:r>
          </a:p>
        </p:txBody>
      </p:sp>
      <p:sp>
        <p:nvSpPr>
          <p:cNvPr id="16" name="Content Placeholder 3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4927600" y="4465464"/>
            <a:ext cx="3967163" cy="1117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71463" lvl="0" indent="-273050" eaLnBrk="0" hangingPunct="0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Wingdings" pitchFamily="2" charset="2"/>
              <a:buChar char=""/>
            </a:pPr>
            <a:r>
              <a:rPr lang="en-US" sz="1600" dirty="0" smtClean="0"/>
              <a:t>R&amp;D budget for Embedded Systems not adequate</a:t>
            </a:r>
          </a:p>
          <a:p>
            <a:pPr marL="271463" lvl="0" indent="-273050" eaLnBrk="0" hangingPunct="0">
              <a:lnSpc>
                <a:spcPct val="90000"/>
              </a:lnSpc>
              <a:spcBef>
                <a:spcPts val="1800"/>
              </a:spcBef>
              <a:buClr>
                <a:schemeClr val="bg2"/>
              </a:buClr>
              <a:buFont typeface="Wingdings" pitchFamily="2" charset="2"/>
              <a:buChar char=""/>
            </a:pPr>
            <a:r>
              <a:rPr lang="en-US" sz="1600" dirty="0" smtClean="0"/>
              <a:t>Lack of architecture standards leads to not manageable complexity</a:t>
            </a:r>
          </a:p>
        </p:txBody>
      </p:sp>
      <p:sp>
        <p:nvSpPr>
          <p:cNvPr id="21" name="Rectangle 20"/>
          <p:cNvSpPr/>
          <p:nvPr>
            <p:custDataLst>
              <p:tags r:id="rId15"/>
            </p:custDataLst>
          </p:nvPr>
        </p:nvSpPr>
        <p:spPr>
          <a:xfrm>
            <a:off x="4930393" y="4037009"/>
            <a:ext cx="3967861" cy="221599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tx1"/>
                </a:solidFill>
                <a:cs typeface="Arial" pitchFamily="34" charset="0"/>
              </a:rPr>
              <a:t>Example</a:t>
            </a:r>
          </a:p>
        </p:txBody>
      </p:sp>
      <p:sp>
        <p:nvSpPr>
          <p:cNvPr id="19" name="Rectangle 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44475" y="6607175"/>
            <a:ext cx="6478588" cy="13811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eaLnBrk="0" hangingPunct="0">
              <a:lnSpc>
                <a:spcPct val="90000"/>
              </a:lnSpc>
              <a:tabLst>
                <a:tab pos="687388" algn="l"/>
                <a:tab pos="2116138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Source: A.T. Kearney Embedded Systems Study 2010</a:t>
            </a:r>
          </a:p>
        </p:txBody>
      </p:sp>
      <p:grpSp>
        <p:nvGrpSpPr>
          <p:cNvPr id="20" name="Group 87"/>
          <p:cNvGrpSpPr/>
          <p:nvPr>
            <p:custDataLst>
              <p:tags r:id="rId17"/>
            </p:custDataLst>
          </p:nvPr>
        </p:nvGrpSpPr>
        <p:grpSpPr>
          <a:xfrm>
            <a:off x="3714150" y="2856351"/>
            <a:ext cx="958104" cy="635190"/>
            <a:chOff x="6986588" y="4565650"/>
            <a:chExt cx="1512887" cy="752476"/>
          </a:xfrm>
        </p:grpSpPr>
        <p:sp>
          <p:nvSpPr>
            <p:cNvPr id="25" name="Freeform 56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7951788" y="4627563"/>
              <a:ext cx="161925" cy="690563"/>
            </a:xfrm>
            <a:custGeom>
              <a:avLst/>
              <a:gdLst>
                <a:gd name="T0" fmla="*/ 1 w 375"/>
                <a:gd name="T1" fmla="*/ 0 h 1740"/>
                <a:gd name="T2" fmla="*/ 0 w 375"/>
                <a:gd name="T3" fmla="*/ 329 h 1740"/>
                <a:gd name="T4" fmla="*/ 102 w 375"/>
                <a:gd name="T5" fmla="*/ 435 h 1740"/>
                <a:gd name="T6" fmla="*/ 102 w 375"/>
                <a:gd name="T7" fmla="*/ 102 h 1740"/>
                <a:gd name="T8" fmla="*/ 1 w 375"/>
                <a:gd name="T9" fmla="*/ 0 h 1740"/>
                <a:gd name="T10" fmla="*/ 1 w 375"/>
                <a:gd name="T11" fmla="*/ 0 h 17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5"/>
                <a:gd name="T19" fmla="*/ 0 h 1740"/>
                <a:gd name="T20" fmla="*/ 375 w 375"/>
                <a:gd name="T21" fmla="*/ 1740 h 174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5" h="1740">
                  <a:moveTo>
                    <a:pt x="2" y="0"/>
                  </a:moveTo>
                  <a:lnTo>
                    <a:pt x="0" y="1317"/>
                  </a:lnTo>
                  <a:lnTo>
                    <a:pt x="375" y="1740"/>
                  </a:lnTo>
                  <a:lnTo>
                    <a:pt x="375" y="40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26" name="Freeform 57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7951788" y="4627563"/>
              <a:ext cx="161925" cy="690563"/>
            </a:xfrm>
            <a:custGeom>
              <a:avLst/>
              <a:gdLst>
                <a:gd name="T0" fmla="*/ 1 w 375"/>
                <a:gd name="T1" fmla="*/ 0 h 1740"/>
                <a:gd name="T2" fmla="*/ 0 w 375"/>
                <a:gd name="T3" fmla="*/ 329 h 1740"/>
                <a:gd name="T4" fmla="*/ 102 w 375"/>
                <a:gd name="T5" fmla="*/ 435 h 1740"/>
                <a:gd name="T6" fmla="*/ 102 w 375"/>
                <a:gd name="T7" fmla="*/ 102 h 1740"/>
                <a:gd name="T8" fmla="*/ 1 w 375"/>
                <a:gd name="T9" fmla="*/ 0 h 1740"/>
                <a:gd name="T10" fmla="*/ 1 w 375"/>
                <a:gd name="T11" fmla="*/ 0 h 1740"/>
                <a:gd name="T12" fmla="*/ 1 w 375"/>
                <a:gd name="T13" fmla="*/ 0 h 17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5"/>
                <a:gd name="T22" fmla="*/ 0 h 1740"/>
                <a:gd name="T23" fmla="*/ 375 w 375"/>
                <a:gd name="T24" fmla="*/ 1740 h 17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5" h="1740">
                  <a:moveTo>
                    <a:pt x="2" y="0"/>
                  </a:moveTo>
                  <a:lnTo>
                    <a:pt x="0" y="1317"/>
                  </a:lnTo>
                  <a:lnTo>
                    <a:pt x="375" y="1740"/>
                  </a:lnTo>
                  <a:lnTo>
                    <a:pt x="375" y="407"/>
                  </a:lnTo>
                  <a:lnTo>
                    <a:pt x="2" y="0"/>
                  </a:lnTo>
                </a:path>
              </a:pathLst>
            </a:custGeom>
            <a:solidFill>
              <a:schemeClr val="accent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27" name="Freeform 58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7953375" y="4627563"/>
              <a:ext cx="382587" cy="161925"/>
            </a:xfrm>
            <a:custGeom>
              <a:avLst/>
              <a:gdLst>
                <a:gd name="T0" fmla="*/ 0 w 888"/>
                <a:gd name="T1" fmla="*/ 0 h 407"/>
                <a:gd name="T2" fmla="*/ 141 w 888"/>
                <a:gd name="T3" fmla="*/ 0 h 407"/>
                <a:gd name="T4" fmla="*/ 241 w 888"/>
                <a:gd name="T5" fmla="*/ 102 h 407"/>
                <a:gd name="T6" fmla="*/ 101 w 888"/>
                <a:gd name="T7" fmla="*/ 102 h 407"/>
                <a:gd name="T8" fmla="*/ 0 w 888"/>
                <a:gd name="T9" fmla="*/ 0 h 407"/>
                <a:gd name="T10" fmla="*/ 0 w 888"/>
                <a:gd name="T11" fmla="*/ 0 h 40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88"/>
                <a:gd name="T19" fmla="*/ 0 h 407"/>
                <a:gd name="T20" fmla="*/ 888 w 888"/>
                <a:gd name="T21" fmla="*/ 407 h 40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88" h="407">
                  <a:moveTo>
                    <a:pt x="0" y="0"/>
                  </a:moveTo>
                  <a:lnTo>
                    <a:pt x="519" y="0"/>
                  </a:lnTo>
                  <a:lnTo>
                    <a:pt x="888" y="407"/>
                  </a:lnTo>
                  <a:lnTo>
                    <a:pt x="373" y="4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hlink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28" name="Freeform 59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7953375" y="4627563"/>
              <a:ext cx="382587" cy="161925"/>
            </a:xfrm>
            <a:custGeom>
              <a:avLst/>
              <a:gdLst>
                <a:gd name="T0" fmla="*/ 0 w 888"/>
                <a:gd name="T1" fmla="*/ 0 h 407"/>
                <a:gd name="T2" fmla="*/ 141 w 888"/>
                <a:gd name="T3" fmla="*/ 0 h 407"/>
                <a:gd name="T4" fmla="*/ 241 w 888"/>
                <a:gd name="T5" fmla="*/ 102 h 407"/>
                <a:gd name="T6" fmla="*/ 101 w 888"/>
                <a:gd name="T7" fmla="*/ 102 h 407"/>
                <a:gd name="T8" fmla="*/ 0 w 888"/>
                <a:gd name="T9" fmla="*/ 0 h 407"/>
                <a:gd name="T10" fmla="*/ 0 w 888"/>
                <a:gd name="T11" fmla="*/ 0 h 407"/>
                <a:gd name="T12" fmla="*/ 0 w 888"/>
                <a:gd name="T13" fmla="*/ 0 h 40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88"/>
                <a:gd name="T22" fmla="*/ 0 h 407"/>
                <a:gd name="T23" fmla="*/ 888 w 888"/>
                <a:gd name="T24" fmla="*/ 407 h 40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88" h="407">
                  <a:moveTo>
                    <a:pt x="0" y="0"/>
                  </a:moveTo>
                  <a:lnTo>
                    <a:pt x="519" y="0"/>
                  </a:lnTo>
                  <a:lnTo>
                    <a:pt x="888" y="407"/>
                  </a:lnTo>
                  <a:lnTo>
                    <a:pt x="373" y="407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29" name="Freeform 60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8113713" y="4789488"/>
              <a:ext cx="385762" cy="528638"/>
            </a:xfrm>
            <a:custGeom>
              <a:avLst/>
              <a:gdLst>
                <a:gd name="T0" fmla="*/ 243 w 895"/>
                <a:gd name="T1" fmla="*/ 333 h 1333"/>
                <a:gd name="T2" fmla="*/ 0 w 895"/>
                <a:gd name="T3" fmla="*/ 333 h 1333"/>
                <a:gd name="T4" fmla="*/ 0 w 895"/>
                <a:gd name="T5" fmla="*/ 0 h 1333"/>
                <a:gd name="T6" fmla="*/ 140 w 895"/>
                <a:gd name="T7" fmla="*/ 0 h 1333"/>
                <a:gd name="T8" fmla="*/ 243 w 895"/>
                <a:gd name="T9" fmla="*/ 333 h 1333"/>
                <a:gd name="T10" fmla="*/ 243 w 895"/>
                <a:gd name="T11" fmla="*/ 333 h 13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95"/>
                <a:gd name="T19" fmla="*/ 0 h 1333"/>
                <a:gd name="T20" fmla="*/ 895 w 895"/>
                <a:gd name="T21" fmla="*/ 1333 h 13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95" h="1333">
                  <a:moveTo>
                    <a:pt x="895" y="1333"/>
                  </a:moveTo>
                  <a:lnTo>
                    <a:pt x="0" y="1333"/>
                  </a:lnTo>
                  <a:lnTo>
                    <a:pt x="0" y="0"/>
                  </a:lnTo>
                  <a:lnTo>
                    <a:pt x="515" y="0"/>
                  </a:lnTo>
                  <a:lnTo>
                    <a:pt x="895" y="133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30" name="Freeform 61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8113713" y="4789488"/>
              <a:ext cx="385762" cy="528638"/>
            </a:xfrm>
            <a:custGeom>
              <a:avLst/>
              <a:gdLst>
                <a:gd name="T0" fmla="*/ 243 w 895"/>
                <a:gd name="T1" fmla="*/ 333 h 1333"/>
                <a:gd name="T2" fmla="*/ 0 w 895"/>
                <a:gd name="T3" fmla="*/ 333 h 1333"/>
                <a:gd name="T4" fmla="*/ 0 w 895"/>
                <a:gd name="T5" fmla="*/ 0 h 1333"/>
                <a:gd name="T6" fmla="*/ 140 w 895"/>
                <a:gd name="T7" fmla="*/ 0 h 1333"/>
                <a:gd name="T8" fmla="*/ 243 w 895"/>
                <a:gd name="T9" fmla="*/ 333 h 1333"/>
                <a:gd name="T10" fmla="*/ 243 w 895"/>
                <a:gd name="T11" fmla="*/ 333 h 1333"/>
                <a:gd name="T12" fmla="*/ 243 w 895"/>
                <a:gd name="T13" fmla="*/ 333 h 13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95"/>
                <a:gd name="T22" fmla="*/ 0 h 1333"/>
                <a:gd name="T23" fmla="*/ 895 w 895"/>
                <a:gd name="T24" fmla="*/ 1333 h 13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95" h="1333">
                  <a:moveTo>
                    <a:pt x="895" y="1333"/>
                  </a:moveTo>
                  <a:lnTo>
                    <a:pt x="0" y="1333"/>
                  </a:lnTo>
                  <a:lnTo>
                    <a:pt x="0" y="0"/>
                  </a:lnTo>
                  <a:lnTo>
                    <a:pt x="515" y="0"/>
                  </a:lnTo>
                  <a:lnTo>
                    <a:pt x="895" y="1333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31" name="Freeform 62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064375" y="4737100"/>
              <a:ext cx="981075" cy="473075"/>
            </a:xfrm>
            <a:custGeom>
              <a:avLst/>
              <a:gdLst>
                <a:gd name="T0" fmla="*/ 454 w 2281"/>
                <a:gd name="T1" fmla="*/ 193 h 1190"/>
                <a:gd name="T2" fmla="*/ 415 w 2281"/>
                <a:gd name="T3" fmla="*/ 257 h 1190"/>
                <a:gd name="T4" fmla="*/ 377 w 2281"/>
                <a:gd name="T5" fmla="*/ 188 h 1190"/>
                <a:gd name="T6" fmla="*/ 368 w 2281"/>
                <a:gd name="T7" fmla="*/ 221 h 1190"/>
                <a:gd name="T8" fmla="*/ 358 w 2281"/>
                <a:gd name="T9" fmla="*/ 177 h 1190"/>
                <a:gd name="T10" fmla="*/ 349 w 2281"/>
                <a:gd name="T11" fmla="*/ 213 h 1190"/>
                <a:gd name="T12" fmla="*/ 321 w 2281"/>
                <a:gd name="T13" fmla="*/ 184 h 1190"/>
                <a:gd name="T14" fmla="*/ 339 w 2281"/>
                <a:gd name="T15" fmla="*/ 227 h 1190"/>
                <a:gd name="T16" fmla="*/ 317 w 2281"/>
                <a:gd name="T17" fmla="*/ 274 h 1190"/>
                <a:gd name="T18" fmla="*/ 305 w 2281"/>
                <a:gd name="T19" fmla="*/ 229 h 1190"/>
                <a:gd name="T20" fmla="*/ 259 w 2281"/>
                <a:gd name="T21" fmla="*/ 259 h 1190"/>
                <a:gd name="T22" fmla="*/ 208 w 2281"/>
                <a:gd name="T23" fmla="*/ 247 h 1190"/>
                <a:gd name="T24" fmla="*/ 169 w 2281"/>
                <a:gd name="T25" fmla="*/ 283 h 1190"/>
                <a:gd name="T26" fmla="*/ 93 w 2281"/>
                <a:gd name="T27" fmla="*/ 298 h 1190"/>
                <a:gd name="T28" fmla="*/ 0 w 2281"/>
                <a:gd name="T29" fmla="*/ 281 h 1190"/>
                <a:gd name="T30" fmla="*/ 42 w 2281"/>
                <a:gd name="T31" fmla="*/ 243 h 1190"/>
                <a:gd name="T32" fmla="*/ 106 w 2281"/>
                <a:gd name="T33" fmla="*/ 203 h 1190"/>
                <a:gd name="T34" fmla="*/ 112 w 2281"/>
                <a:gd name="T35" fmla="*/ 184 h 1190"/>
                <a:gd name="T36" fmla="*/ 79 w 2281"/>
                <a:gd name="T37" fmla="*/ 151 h 1190"/>
                <a:gd name="T38" fmla="*/ 58 w 2281"/>
                <a:gd name="T39" fmla="*/ 124 h 1190"/>
                <a:gd name="T40" fmla="*/ 28 w 2281"/>
                <a:gd name="T41" fmla="*/ 107 h 1190"/>
                <a:gd name="T42" fmla="*/ 107 w 2281"/>
                <a:gd name="T43" fmla="*/ 111 h 1190"/>
                <a:gd name="T44" fmla="*/ 138 w 2281"/>
                <a:gd name="T45" fmla="*/ 100 h 1190"/>
                <a:gd name="T46" fmla="*/ 150 w 2281"/>
                <a:gd name="T47" fmla="*/ 107 h 1190"/>
                <a:gd name="T48" fmla="*/ 177 w 2281"/>
                <a:gd name="T49" fmla="*/ 111 h 1190"/>
                <a:gd name="T50" fmla="*/ 189 w 2281"/>
                <a:gd name="T51" fmla="*/ 100 h 1190"/>
                <a:gd name="T52" fmla="*/ 213 w 2281"/>
                <a:gd name="T53" fmla="*/ 100 h 1190"/>
                <a:gd name="T54" fmla="*/ 225 w 2281"/>
                <a:gd name="T55" fmla="*/ 113 h 1190"/>
                <a:gd name="T56" fmla="*/ 241 w 2281"/>
                <a:gd name="T57" fmla="*/ 85 h 1190"/>
                <a:gd name="T58" fmla="*/ 272 w 2281"/>
                <a:gd name="T59" fmla="*/ 106 h 1190"/>
                <a:gd name="T60" fmla="*/ 279 w 2281"/>
                <a:gd name="T61" fmla="*/ 140 h 1190"/>
                <a:gd name="T62" fmla="*/ 287 w 2281"/>
                <a:gd name="T63" fmla="*/ 96 h 1190"/>
                <a:gd name="T64" fmla="*/ 296 w 2281"/>
                <a:gd name="T65" fmla="*/ 83 h 1190"/>
                <a:gd name="T66" fmla="*/ 337 w 2281"/>
                <a:gd name="T67" fmla="*/ 43 h 1190"/>
                <a:gd name="T68" fmla="*/ 402 w 2281"/>
                <a:gd name="T69" fmla="*/ 148 h 1190"/>
                <a:gd name="T70" fmla="*/ 414 w 2281"/>
                <a:gd name="T71" fmla="*/ 73 h 1190"/>
                <a:gd name="T72" fmla="*/ 484 w 2281"/>
                <a:gd name="T73" fmla="*/ 90 h 1190"/>
                <a:gd name="T74" fmla="*/ 482 w 2281"/>
                <a:gd name="T75" fmla="*/ 0 h 1190"/>
                <a:gd name="T76" fmla="*/ 504 w 2281"/>
                <a:gd name="T77" fmla="*/ 18 h 1190"/>
                <a:gd name="T78" fmla="*/ 538 w 2281"/>
                <a:gd name="T79" fmla="*/ 39 h 1190"/>
                <a:gd name="T80" fmla="*/ 556 w 2281"/>
                <a:gd name="T81" fmla="*/ 61 h 1190"/>
                <a:gd name="T82" fmla="*/ 577 w 2281"/>
                <a:gd name="T83" fmla="*/ 89 h 1190"/>
                <a:gd name="T84" fmla="*/ 602 w 2281"/>
                <a:gd name="T85" fmla="*/ 104 h 1190"/>
                <a:gd name="T86" fmla="*/ 618 w 2281"/>
                <a:gd name="T87" fmla="*/ 117 h 1190"/>
                <a:gd name="T88" fmla="*/ 606 w 2281"/>
                <a:gd name="T89" fmla="*/ 151 h 1190"/>
                <a:gd name="T90" fmla="*/ 579 w 2281"/>
                <a:gd name="T91" fmla="*/ 174 h 1190"/>
                <a:gd name="T92" fmla="*/ 557 w 2281"/>
                <a:gd name="T93" fmla="*/ 217 h 1190"/>
                <a:gd name="T94" fmla="*/ 521 w 2281"/>
                <a:gd name="T95" fmla="*/ 262 h 1190"/>
                <a:gd name="T96" fmla="*/ 482 w 2281"/>
                <a:gd name="T97" fmla="*/ 295 h 1190"/>
                <a:gd name="T98" fmla="*/ 482 w 2281"/>
                <a:gd name="T99" fmla="*/ 205 h 1190"/>
                <a:gd name="T100" fmla="*/ 454 w 2281"/>
                <a:gd name="T101" fmla="*/ 193 h 1190"/>
                <a:gd name="T102" fmla="*/ 454 w 2281"/>
                <a:gd name="T103" fmla="*/ 193 h 119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281"/>
                <a:gd name="T157" fmla="*/ 0 h 1190"/>
                <a:gd name="T158" fmla="*/ 2281 w 2281"/>
                <a:gd name="T159" fmla="*/ 1190 h 119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281" h="1190">
                  <a:moveTo>
                    <a:pt x="1675" y="771"/>
                  </a:moveTo>
                  <a:lnTo>
                    <a:pt x="1532" y="1026"/>
                  </a:lnTo>
                  <a:lnTo>
                    <a:pt x="1390" y="752"/>
                  </a:lnTo>
                  <a:lnTo>
                    <a:pt x="1360" y="883"/>
                  </a:lnTo>
                  <a:lnTo>
                    <a:pt x="1323" y="708"/>
                  </a:lnTo>
                  <a:lnTo>
                    <a:pt x="1288" y="850"/>
                  </a:lnTo>
                  <a:lnTo>
                    <a:pt x="1184" y="734"/>
                  </a:lnTo>
                  <a:lnTo>
                    <a:pt x="1250" y="905"/>
                  </a:lnTo>
                  <a:lnTo>
                    <a:pt x="1169" y="1093"/>
                  </a:lnTo>
                  <a:lnTo>
                    <a:pt x="1124" y="913"/>
                  </a:lnTo>
                  <a:lnTo>
                    <a:pt x="955" y="1035"/>
                  </a:lnTo>
                  <a:lnTo>
                    <a:pt x="768" y="988"/>
                  </a:lnTo>
                  <a:lnTo>
                    <a:pt x="622" y="1130"/>
                  </a:lnTo>
                  <a:lnTo>
                    <a:pt x="345" y="1190"/>
                  </a:lnTo>
                  <a:lnTo>
                    <a:pt x="0" y="1122"/>
                  </a:lnTo>
                  <a:lnTo>
                    <a:pt x="154" y="972"/>
                  </a:lnTo>
                  <a:lnTo>
                    <a:pt x="390" y="809"/>
                  </a:lnTo>
                  <a:lnTo>
                    <a:pt x="412" y="734"/>
                  </a:lnTo>
                  <a:lnTo>
                    <a:pt x="293" y="603"/>
                  </a:lnTo>
                  <a:lnTo>
                    <a:pt x="214" y="497"/>
                  </a:lnTo>
                  <a:lnTo>
                    <a:pt x="102" y="427"/>
                  </a:lnTo>
                  <a:lnTo>
                    <a:pt x="394" y="442"/>
                  </a:lnTo>
                  <a:lnTo>
                    <a:pt x="510" y="400"/>
                  </a:lnTo>
                  <a:lnTo>
                    <a:pt x="555" y="427"/>
                  </a:lnTo>
                  <a:lnTo>
                    <a:pt x="652" y="442"/>
                  </a:lnTo>
                  <a:lnTo>
                    <a:pt x="697" y="400"/>
                  </a:lnTo>
                  <a:lnTo>
                    <a:pt x="787" y="400"/>
                  </a:lnTo>
                  <a:lnTo>
                    <a:pt x="831" y="453"/>
                  </a:lnTo>
                  <a:lnTo>
                    <a:pt x="888" y="341"/>
                  </a:lnTo>
                  <a:lnTo>
                    <a:pt x="1004" y="422"/>
                  </a:lnTo>
                  <a:lnTo>
                    <a:pt x="1030" y="561"/>
                  </a:lnTo>
                  <a:lnTo>
                    <a:pt x="1060" y="385"/>
                  </a:lnTo>
                  <a:lnTo>
                    <a:pt x="1094" y="333"/>
                  </a:lnTo>
                  <a:lnTo>
                    <a:pt x="1244" y="172"/>
                  </a:lnTo>
                  <a:lnTo>
                    <a:pt x="1484" y="591"/>
                  </a:lnTo>
                  <a:lnTo>
                    <a:pt x="1528" y="292"/>
                  </a:lnTo>
                  <a:lnTo>
                    <a:pt x="1786" y="359"/>
                  </a:lnTo>
                  <a:lnTo>
                    <a:pt x="1778" y="0"/>
                  </a:lnTo>
                  <a:lnTo>
                    <a:pt x="1860" y="72"/>
                  </a:lnTo>
                  <a:lnTo>
                    <a:pt x="1985" y="157"/>
                  </a:lnTo>
                  <a:lnTo>
                    <a:pt x="2051" y="244"/>
                  </a:lnTo>
                  <a:lnTo>
                    <a:pt x="2131" y="355"/>
                  </a:lnTo>
                  <a:lnTo>
                    <a:pt x="2221" y="416"/>
                  </a:lnTo>
                  <a:lnTo>
                    <a:pt x="2281" y="469"/>
                  </a:lnTo>
                  <a:lnTo>
                    <a:pt x="2237" y="602"/>
                  </a:lnTo>
                  <a:lnTo>
                    <a:pt x="2136" y="694"/>
                  </a:lnTo>
                  <a:lnTo>
                    <a:pt x="2055" y="867"/>
                  </a:lnTo>
                  <a:lnTo>
                    <a:pt x="1922" y="1045"/>
                  </a:lnTo>
                  <a:lnTo>
                    <a:pt x="1778" y="1179"/>
                  </a:lnTo>
                  <a:lnTo>
                    <a:pt x="1778" y="819"/>
                  </a:lnTo>
                  <a:lnTo>
                    <a:pt x="1675" y="771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32" name="Freeform 63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064375" y="4737100"/>
              <a:ext cx="981075" cy="473075"/>
            </a:xfrm>
            <a:custGeom>
              <a:avLst/>
              <a:gdLst>
                <a:gd name="T0" fmla="*/ 454 w 2281"/>
                <a:gd name="T1" fmla="*/ 193 h 1190"/>
                <a:gd name="T2" fmla="*/ 415 w 2281"/>
                <a:gd name="T3" fmla="*/ 257 h 1190"/>
                <a:gd name="T4" fmla="*/ 377 w 2281"/>
                <a:gd name="T5" fmla="*/ 188 h 1190"/>
                <a:gd name="T6" fmla="*/ 368 w 2281"/>
                <a:gd name="T7" fmla="*/ 221 h 1190"/>
                <a:gd name="T8" fmla="*/ 358 w 2281"/>
                <a:gd name="T9" fmla="*/ 177 h 1190"/>
                <a:gd name="T10" fmla="*/ 349 w 2281"/>
                <a:gd name="T11" fmla="*/ 213 h 1190"/>
                <a:gd name="T12" fmla="*/ 321 w 2281"/>
                <a:gd name="T13" fmla="*/ 184 h 1190"/>
                <a:gd name="T14" fmla="*/ 339 w 2281"/>
                <a:gd name="T15" fmla="*/ 227 h 1190"/>
                <a:gd name="T16" fmla="*/ 317 w 2281"/>
                <a:gd name="T17" fmla="*/ 274 h 1190"/>
                <a:gd name="T18" fmla="*/ 305 w 2281"/>
                <a:gd name="T19" fmla="*/ 229 h 1190"/>
                <a:gd name="T20" fmla="*/ 259 w 2281"/>
                <a:gd name="T21" fmla="*/ 259 h 1190"/>
                <a:gd name="T22" fmla="*/ 208 w 2281"/>
                <a:gd name="T23" fmla="*/ 247 h 1190"/>
                <a:gd name="T24" fmla="*/ 169 w 2281"/>
                <a:gd name="T25" fmla="*/ 283 h 1190"/>
                <a:gd name="T26" fmla="*/ 93 w 2281"/>
                <a:gd name="T27" fmla="*/ 298 h 1190"/>
                <a:gd name="T28" fmla="*/ 0 w 2281"/>
                <a:gd name="T29" fmla="*/ 281 h 1190"/>
                <a:gd name="T30" fmla="*/ 42 w 2281"/>
                <a:gd name="T31" fmla="*/ 243 h 1190"/>
                <a:gd name="T32" fmla="*/ 106 w 2281"/>
                <a:gd name="T33" fmla="*/ 203 h 1190"/>
                <a:gd name="T34" fmla="*/ 112 w 2281"/>
                <a:gd name="T35" fmla="*/ 184 h 1190"/>
                <a:gd name="T36" fmla="*/ 79 w 2281"/>
                <a:gd name="T37" fmla="*/ 151 h 1190"/>
                <a:gd name="T38" fmla="*/ 58 w 2281"/>
                <a:gd name="T39" fmla="*/ 124 h 1190"/>
                <a:gd name="T40" fmla="*/ 28 w 2281"/>
                <a:gd name="T41" fmla="*/ 107 h 1190"/>
                <a:gd name="T42" fmla="*/ 107 w 2281"/>
                <a:gd name="T43" fmla="*/ 111 h 1190"/>
                <a:gd name="T44" fmla="*/ 138 w 2281"/>
                <a:gd name="T45" fmla="*/ 100 h 1190"/>
                <a:gd name="T46" fmla="*/ 150 w 2281"/>
                <a:gd name="T47" fmla="*/ 107 h 1190"/>
                <a:gd name="T48" fmla="*/ 177 w 2281"/>
                <a:gd name="T49" fmla="*/ 111 h 1190"/>
                <a:gd name="T50" fmla="*/ 189 w 2281"/>
                <a:gd name="T51" fmla="*/ 100 h 1190"/>
                <a:gd name="T52" fmla="*/ 213 w 2281"/>
                <a:gd name="T53" fmla="*/ 100 h 1190"/>
                <a:gd name="T54" fmla="*/ 225 w 2281"/>
                <a:gd name="T55" fmla="*/ 113 h 1190"/>
                <a:gd name="T56" fmla="*/ 241 w 2281"/>
                <a:gd name="T57" fmla="*/ 85 h 1190"/>
                <a:gd name="T58" fmla="*/ 272 w 2281"/>
                <a:gd name="T59" fmla="*/ 106 h 1190"/>
                <a:gd name="T60" fmla="*/ 279 w 2281"/>
                <a:gd name="T61" fmla="*/ 140 h 1190"/>
                <a:gd name="T62" fmla="*/ 287 w 2281"/>
                <a:gd name="T63" fmla="*/ 96 h 1190"/>
                <a:gd name="T64" fmla="*/ 296 w 2281"/>
                <a:gd name="T65" fmla="*/ 83 h 1190"/>
                <a:gd name="T66" fmla="*/ 337 w 2281"/>
                <a:gd name="T67" fmla="*/ 43 h 1190"/>
                <a:gd name="T68" fmla="*/ 402 w 2281"/>
                <a:gd name="T69" fmla="*/ 148 h 1190"/>
                <a:gd name="T70" fmla="*/ 414 w 2281"/>
                <a:gd name="T71" fmla="*/ 73 h 1190"/>
                <a:gd name="T72" fmla="*/ 484 w 2281"/>
                <a:gd name="T73" fmla="*/ 90 h 1190"/>
                <a:gd name="T74" fmla="*/ 482 w 2281"/>
                <a:gd name="T75" fmla="*/ 0 h 1190"/>
                <a:gd name="T76" fmla="*/ 504 w 2281"/>
                <a:gd name="T77" fmla="*/ 18 h 1190"/>
                <a:gd name="T78" fmla="*/ 538 w 2281"/>
                <a:gd name="T79" fmla="*/ 39 h 1190"/>
                <a:gd name="T80" fmla="*/ 556 w 2281"/>
                <a:gd name="T81" fmla="*/ 61 h 1190"/>
                <a:gd name="T82" fmla="*/ 577 w 2281"/>
                <a:gd name="T83" fmla="*/ 89 h 1190"/>
                <a:gd name="T84" fmla="*/ 602 w 2281"/>
                <a:gd name="T85" fmla="*/ 104 h 1190"/>
                <a:gd name="T86" fmla="*/ 618 w 2281"/>
                <a:gd name="T87" fmla="*/ 117 h 1190"/>
                <a:gd name="T88" fmla="*/ 606 w 2281"/>
                <a:gd name="T89" fmla="*/ 151 h 1190"/>
                <a:gd name="T90" fmla="*/ 579 w 2281"/>
                <a:gd name="T91" fmla="*/ 174 h 1190"/>
                <a:gd name="T92" fmla="*/ 557 w 2281"/>
                <a:gd name="T93" fmla="*/ 217 h 1190"/>
                <a:gd name="T94" fmla="*/ 521 w 2281"/>
                <a:gd name="T95" fmla="*/ 262 h 1190"/>
                <a:gd name="T96" fmla="*/ 482 w 2281"/>
                <a:gd name="T97" fmla="*/ 295 h 1190"/>
                <a:gd name="T98" fmla="*/ 482 w 2281"/>
                <a:gd name="T99" fmla="*/ 205 h 1190"/>
                <a:gd name="T100" fmla="*/ 454 w 2281"/>
                <a:gd name="T101" fmla="*/ 193 h 1190"/>
                <a:gd name="T102" fmla="*/ 454 w 2281"/>
                <a:gd name="T103" fmla="*/ 193 h 1190"/>
                <a:gd name="T104" fmla="*/ 454 w 2281"/>
                <a:gd name="T105" fmla="*/ 193 h 119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81"/>
                <a:gd name="T160" fmla="*/ 0 h 1190"/>
                <a:gd name="T161" fmla="*/ 2281 w 2281"/>
                <a:gd name="T162" fmla="*/ 1190 h 119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81" h="1190">
                  <a:moveTo>
                    <a:pt x="1675" y="771"/>
                  </a:moveTo>
                  <a:lnTo>
                    <a:pt x="1532" y="1026"/>
                  </a:lnTo>
                  <a:lnTo>
                    <a:pt x="1390" y="752"/>
                  </a:lnTo>
                  <a:lnTo>
                    <a:pt x="1360" y="883"/>
                  </a:lnTo>
                  <a:lnTo>
                    <a:pt x="1323" y="708"/>
                  </a:lnTo>
                  <a:lnTo>
                    <a:pt x="1288" y="850"/>
                  </a:lnTo>
                  <a:lnTo>
                    <a:pt x="1184" y="734"/>
                  </a:lnTo>
                  <a:lnTo>
                    <a:pt x="1250" y="905"/>
                  </a:lnTo>
                  <a:lnTo>
                    <a:pt x="1169" y="1093"/>
                  </a:lnTo>
                  <a:lnTo>
                    <a:pt x="1124" y="913"/>
                  </a:lnTo>
                  <a:lnTo>
                    <a:pt x="955" y="1035"/>
                  </a:lnTo>
                  <a:lnTo>
                    <a:pt x="768" y="988"/>
                  </a:lnTo>
                  <a:lnTo>
                    <a:pt x="622" y="1130"/>
                  </a:lnTo>
                  <a:lnTo>
                    <a:pt x="345" y="1190"/>
                  </a:lnTo>
                  <a:lnTo>
                    <a:pt x="0" y="1122"/>
                  </a:lnTo>
                  <a:lnTo>
                    <a:pt x="154" y="972"/>
                  </a:lnTo>
                  <a:lnTo>
                    <a:pt x="390" y="809"/>
                  </a:lnTo>
                  <a:lnTo>
                    <a:pt x="412" y="734"/>
                  </a:lnTo>
                  <a:lnTo>
                    <a:pt x="293" y="603"/>
                  </a:lnTo>
                  <a:lnTo>
                    <a:pt x="214" y="497"/>
                  </a:lnTo>
                  <a:lnTo>
                    <a:pt x="102" y="427"/>
                  </a:lnTo>
                  <a:lnTo>
                    <a:pt x="394" y="442"/>
                  </a:lnTo>
                  <a:lnTo>
                    <a:pt x="510" y="400"/>
                  </a:lnTo>
                  <a:lnTo>
                    <a:pt x="555" y="427"/>
                  </a:lnTo>
                  <a:lnTo>
                    <a:pt x="652" y="442"/>
                  </a:lnTo>
                  <a:lnTo>
                    <a:pt x="697" y="400"/>
                  </a:lnTo>
                  <a:lnTo>
                    <a:pt x="787" y="400"/>
                  </a:lnTo>
                  <a:lnTo>
                    <a:pt x="831" y="453"/>
                  </a:lnTo>
                  <a:lnTo>
                    <a:pt x="888" y="341"/>
                  </a:lnTo>
                  <a:lnTo>
                    <a:pt x="1004" y="422"/>
                  </a:lnTo>
                  <a:lnTo>
                    <a:pt x="1030" y="561"/>
                  </a:lnTo>
                  <a:lnTo>
                    <a:pt x="1060" y="385"/>
                  </a:lnTo>
                  <a:lnTo>
                    <a:pt x="1094" y="333"/>
                  </a:lnTo>
                  <a:lnTo>
                    <a:pt x="1244" y="172"/>
                  </a:lnTo>
                  <a:lnTo>
                    <a:pt x="1484" y="591"/>
                  </a:lnTo>
                  <a:lnTo>
                    <a:pt x="1528" y="292"/>
                  </a:lnTo>
                  <a:lnTo>
                    <a:pt x="1786" y="359"/>
                  </a:lnTo>
                  <a:lnTo>
                    <a:pt x="1778" y="0"/>
                  </a:lnTo>
                  <a:lnTo>
                    <a:pt x="1860" y="72"/>
                  </a:lnTo>
                  <a:lnTo>
                    <a:pt x="1985" y="157"/>
                  </a:lnTo>
                  <a:lnTo>
                    <a:pt x="2051" y="244"/>
                  </a:lnTo>
                  <a:lnTo>
                    <a:pt x="2131" y="355"/>
                  </a:lnTo>
                  <a:lnTo>
                    <a:pt x="2221" y="416"/>
                  </a:lnTo>
                  <a:lnTo>
                    <a:pt x="2281" y="469"/>
                  </a:lnTo>
                  <a:lnTo>
                    <a:pt x="2237" y="602"/>
                  </a:lnTo>
                  <a:lnTo>
                    <a:pt x="2136" y="694"/>
                  </a:lnTo>
                  <a:lnTo>
                    <a:pt x="2055" y="867"/>
                  </a:lnTo>
                  <a:lnTo>
                    <a:pt x="1922" y="1045"/>
                  </a:lnTo>
                  <a:lnTo>
                    <a:pt x="1778" y="1179"/>
                  </a:lnTo>
                  <a:lnTo>
                    <a:pt x="1778" y="819"/>
                  </a:lnTo>
                  <a:lnTo>
                    <a:pt x="1675" y="771"/>
                  </a:lnTo>
                </a:path>
              </a:pathLst>
            </a:custGeom>
            <a:solidFill>
              <a:schemeClr val="accent4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33" name="Freeform 64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7029450" y="4565650"/>
              <a:ext cx="1016000" cy="406400"/>
            </a:xfrm>
            <a:custGeom>
              <a:avLst/>
              <a:gdLst>
                <a:gd name="T0" fmla="*/ 49 w 2359"/>
                <a:gd name="T1" fmla="*/ 215 h 1025"/>
                <a:gd name="T2" fmla="*/ 128 w 2359"/>
                <a:gd name="T3" fmla="*/ 219 h 1025"/>
                <a:gd name="T4" fmla="*/ 160 w 2359"/>
                <a:gd name="T5" fmla="*/ 208 h 1025"/>
                <a:gd name="T6" fmla="*/ 172 w 2359"/>
                <a:gd name="T7" fmla="*/ 215 h 1025"/>
                <a:gd name="T8" fmla="*/ 198 w 2359"/>
                <a:gd name="T9" fmla="*/ 219 h 1025"/>
                <a:gd name="T10" fmla="*/ 210 w 2359"/>
                <a:gd name="T11" fmla="*/ 208 h 1025"/>
                <a:gd name="T12" fmla="*/ 235 w 2359"/>
                <a:gd name="T13" fmla="*/ 208 h 1025"/>
                <a:gd name="T14" fmla="*/ 247 w 2359"/>
                <a:gd name="T15" fmla="*/ 222 h 1025"/>
                <a:gd name="T16" fmla="*/ 262 w 2359"/>
                <a:gd name="T17" fmla="*/ 194 h 1025"/>
                <a:gd name="T18" fmla="*/ 294 w 2359"/>
                <a:gd name="T19" fmla="*/ 214 h 1025"/>
                <a:gd name="T20" fmla="*/ 301 w 2359"/>
                <a:gd name="T21" fmla="*/ 249 h 1025"/>
                <a:gd name="T22" fmla="*/ 309 w 2359"/>
                <a:gd name="T23" fmla="*/ 205 h 1025"/>
                <a:gd name="T24" fmla="*/ 318 w 2359"/>
                <a:gd name="T25" fmla="*/ 192 h 1025"/>
                <a:gd name="T26" fmla="*/ 359 w 2359"/>
                <a:gd name="T27" fmla="*/ 151 h 1025"/>
                <a:gd name="T28" fmla="*/ 424 w 2359"/>
                <a:gd name="T29" fmla="*/ 256 h 1025"/>
                <a:gd name="T30" fmla="*/ 436 w 2359"/>
                <a:gd name="T31" fmla="*/ 181 h 1025"/>
                <a:gd name="T32" fmla="*/ 506 w 2359"/>
                <a:gd name="T33" fmla="*/ 198 h 1025"/>
                <a:gd name="T34" fmla="*/ 504 w 2359"/>
                <a:gd name="T35" fmla="*/ 108 h 1025"/>
                <a:gd name="T36" fmla="*/ 526 w 2359"/>
                <a:gd name="T37" fmla="*/ 126 h 1025"/>
                <a:gd name="T38" fmla="*/ 560 w 2359"/>
                <a:gd name="T39" fmla="*/ 148 h 1025"/>
                <a:gd name="T40" fmla="*/ 578 w 2359"/>
                <a:gd name="T41" fmla="*/ 169 h 1025"/>
                <a:gd name="T42" fmla="*/ 599 w 2359"/>
                <a:gd name="T43" fmla="*/ 197 h 1025"/>
                <a:gd name="T44" fmla="*/ 624 w 2359"/>
                <a:gd name="T45" fmla="*/ 212 h 1025"/>
                <a:gd name="T46" fmla="*/ 640 w 2359"/>
                <a:gd name="T47" fmla="*/ 226 h 1025"/>
                <a:gd name="T48" fmla="*/ 591 w 2359"/>
                <a:gd name="T49" fmla="*/ 117 h 1025"/>
                <a:gd name="T50" fmla="*/ 575 w 2359"/>
                <a:gd name="T51" fmla="*/ 104 h 1025"/>
                <a:gd name="T52" fmla="*/ 550 w 2359"/>
                <a:gd name="T53" fmla="*/ 89 h 1025"/>
                <a:gd name="T54" fmla="*/ 529 w 2359"/>
                <a:gd name="T55" fmla="*/ 61 h 1025"/>
                <a:gd name="T56" fmla="*/ 511 w 2359"/>
                <a:gd name="T57" fmla="*/ 39 h 1025"/>
                <a:gd name="T58" fmla="*/ 477 w 2359"/>
                <a:gd name="T59" fmla="*/ 18 h 1025"/>
                <a:gd name="T60" fmla="*/ 455 w 2359"/>
                <a:gd name="T61" fmla="*/ 0 h 1025"/>
                <a:gd name="T62" fmla="*/ 457 w 2359"/>
                <a:gd name="T63" fmla="*/ 90 h 1025"/>
                <a:gd name="T64" fmla="*/ 387 w 2359"/>
                <a:gd name="T65" fmla="*/ 73 h 1025"/>
                <a:gd name="T66" fmla="*/ 375 w 2359"/>
                <a:gd name="T67" fmla="*/ 148 h 1025"/>
                <a:gd name="T68" fmla="*/ 310 w 2359"/>
                <a:gd name="T69" fmla="*/ 43 h 1025"/>
                <a:gd name="T70" fmla="*/ 269 w 2359"/>
                <a:gd name="T71" fmla="*/ 83 h 1025"/>
                <a:gd name="T72" fmla="*/ 260 w 2359"/>
                <a:gd name="T73" fmla="*/ 96 h 1025"/>
                <a:gd name="T74" fmla="*/ 252 w 2359"/>
                <a:gd name="T75" fmla="*/ 140 h 1025"/>
                <a:gd name="T76" fmla="*/ 245 w 2359"/>
                <a:gd name="T77" fmla="*/ 105 h 1025"/>
                <a:gd name="T78" fmla="*/ 214 w 2359"/>
                <a:gd name="T79" fmla="*/ 85 h 1025"/>
                <a:gd name="T80" fmla="*/ 198 w 2359"/>
                <a:gd name="T81" fmla="*/ 113 h 1025"/>
                <a:gd name="T82" fmla="*/ 186 w 2359"/>
                <a:gd name="T83" fmla="*/ 100 h 1025"/>
                <a:gd name="T84" fmla="*/ 162 w 2359"/>
                <a:gd name="T85" fmla="*/ 100 h 1025"/>
                <a:gd name="T86" fmla="*/ 149 w 2359"/>
                <a:gd name="T87" fmla="*/ 110 h 1025"/>
                <a:gd name="T88" fmla="*/ 123 w 2359"/>
                <a:gd name="T89" fmla="*/ 106 h 1025"/>
                <a:gd name="T90" fmla="*/ 111 w 2359"/>
                <a:gd name="T91" fmla="*/ 100 h 1025"/>
                <a:gd name="T92" fmla="*/ 79 w 2359"/>
                <a:gd name="T93" fmla="*/ 110 h 1025"/>
                <a:gd name="T94" fmla="*/ 0 w 2359"/>
                <a:gd name="T95" fmla="*/ 106 h 1025"/>
                <a:gd name="T96" fmla="*/ 49 w 2359"/>
                <a:gd name="T97" fmla="*/ 215 h 1025"/>
                <a:gd name="T98" fmla="*/ 49 w 2359"/>
                <a:gd name="T99" fmla="*/ 215 h 102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359"/>
                <a:gd name="T151" fmla="*/ 0 h 1025"/>
                <a:gd name="T152" fmla="*/ 2359 w 2359"/>
                <a:gd name="T153" fmla="*/ 1025 h 102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359" h="1025">
                  <a:moveTo>
                    <a:pt x="180" y="861"/>
                  </a:moveTo>
                  <a:lnTo>
                    <a:pt x="472" y="876"/>
                  </a:lnTo>
                  <a:lnTo>
                    <a:pt x="588" y="834"/>
                  </a:lnTo>
                  <a:lnTo>
                    <a:pt x="633" y="861"/>
                  </a:lnTo>
                  <a:lnTo>
                    <a:pt x="730" y="876"/>
                  </a:lnTo>
                  <a:lnTo>
                    <a:pt x="775" y="834"/>
                  </a:lnTo>
                  <a:lnTo>
                    <a:pt x="865" y="834"/>
                  </a:lnTo>
                  <a:lnTo>
                    <a:pt x="909" y="887"/>
                  </a:lnTo>
                  <a:lnTo>
                    <a:pt x="966" y="775"/>
                  </a:lnTo>
                  <a:lnTo>
                    <a:pt x="1082" y="856"/>
                  </a:lnTo>
                  <a:lnTo>
                    <a:pt x="1108" y="995"/>
                  </a:lnTo>
                  <a:lnTo>
                    <a:pt x="1138" y="819"/>
                  </a:lnTo>
                  <a:lnTo>
                    <a:pt x="1172" y="767"/>
                  </a:lnTo>
                  <a:lnTo>
                    <a:pt x="1322" y="606"/>
                  </a:lnTo>
                  <a:lnTo>
                    <a:pt x="1562" y="1025"/>
                  </a:lnTo>
                  <a:lnTo>
                    <a:pt x="1606" y="726"/>
                  </a:lnTo>
                  <a:lnTo>
                    <a:pt x="1864" y="793"/>
                  </a:lnTo>
                  <a:lnTo>
                    <a:pt x="1856" y="434"/>
                  </a:lnTo>
                  <a:lnTo>
                    <a:pt x="1938" y="506"/>
                  </a:lnTo>
                  <a:lnTo>
                    <a:pt x="2063" y="591"/>
                  </a:lnTo>
                  <a:lnTo>
                    <a:pt x="2129" y="678"/>
                  </a:lnTo>
                  <a:lnTo>
                    <a:pt x="2209" y="789"/>
                  </a:lnTo>
                  <a:lnTo>
                    <a:pt x="2299" y="850"/>
                  </a:lnTo>
                  <a:lnTo>
                    <a:pt x="2359" y="903"/>
                  </a:lnTo>
                  <a:lnTo>
                    <a:pt x="2179" y="469"/>
                  </a:lnTo>
                  <a:lnTo>
                    <a:pt x="2119" y="416"/>
                  </a:lnTo>
                  <a:lnTo>
                    <a:pt x="2029" y="355"/>
                  </a:lnTo>
                  <a:lnTo>
                    <a:pt x="1950" y="244"/>
                  </a:lnTo>
                  <a:lnTo>
                    <a:pt x="1884" y="157"/>
                  </a:lnTo>
                  <a:lnTo>
                    <a:pt x="1759" y="72"/>
                  </a:lnTo>
                  <a:lnTo>
                    <a:pt x="1677" y="0"/>
                  </a:lnTo>
                  <a:lnTo>
                    <a:pt x="1685" y="359"/>
                  </a:lnTo>
                  <a:lnTo>
                    <a:pt x="1427" y="292"/>
                  </a:lnTo>
                  <a:lnTo>
                    <a:pt x="1381" y="591"/>
                  </a:lnTo>
                  <a:lnTo>
                    <a:pt x="1142" y="171"/>
                  </a:lnTo>
                  <a:lnTo>
                    <a:pt x="992" y="333"/>
                  </a:lnTo>
                  <a:lnTo>
                    <a:pt x="958" y="385"/>
                  </a:lnTo>
                  <a:lnTo>
                    <a:pt x="929" y="561"/>
                  </a:lnTo>
                  <a:lnTo>
                    <a:pt x="903" y="422"/>
                  </a:lnTo>
                  <a:lnTo>
                    <a:pt x="787" y="341"/>
                  </a:lnTo>
                  <a:lnTo>
                    <a:pt x="730" y="452"/>
                  </a:lnTo>
                  <a:lnTo>
                    <a:pt x="685" y="400"/>
                  </a:lnTo>
                  <a:lnTo>
                    <a:pt x="596" y="400"/>
                  </a:lnTo>
                  <a:lnTo>
                    <a:pt x="550" y="442"/>
                  </a:lnTo>
                  <a:lnTo>
                    <a:pt x="452" y="426"/>
                  </a:lnTo>
                  <a:lnTo>
                    <a:pt x="408" y="400"/>
                  </a:lnTo>
                  <a:lnTo>
                    <a:pt x="292" y="442"/>
                  </a:lnTo>
                  <a:lnTo>
                    <a:pt x="0" y="426"/>
                  </a:lnTo>
                  <a:lnTo>
                    <a:pt x="180" y="861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34" name="Freeform 65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7029450" y="4565650"/>
              <a:ext cx="1016000" cy="406400"/>
            </a:xfrm>
            <a:custGeom>
              <a:avLst/>
              <a:gdLst>
                <a:gd name="T0" fmla="*/ 49 w 2359"/>
                <a:gd name="T1" fmla="*/ 215 h 1025"/>
                <a:gd name="T2" fmla="*/ 128 w 2359"/>
                <a:gd name="T3" fmla="*/ 219 h 1025"/>
                <a:gd name="T4" fmla="*/ 160 w 2359"/>
                <a:gd name="T5" fmla="*/ 208 h 1025"/>
                <a:gd name="T6" fmla="*/ 172 w 2359"/>
                <a:gd name="T7" fmla="*/ 215 h 1025"/>
                <a:gd name="T8" fmla="*/ 198 w 2359"/>
                <a:gd name="T9" fmla="*/ 219 h 1025"/>
                <a:gd name="T10" fmla="*/ 210 w 2359"/>
                <a:gd name="T11" fmla="*/ 208 h 1025"/>
                <a:gd name="T12" fmla="*/ 235 w 2359"/>
                <a:gd name="T13" fmla="*/ 208 h 1025"/>
                <a:gd name="T14" fmla="*/ 247 w 2359"/>
                <a:gd name="T15" fmla="*/ 222 h 1025"/>
                <a:gd name="T16" fmla="*/ 262 w 2359"/>
                <a:gd name="T17" fmla="*/ 194 h 1025"/>
                <a:gd name="T18" fmla="*/ 294 w 2359"/>
                <a:gd name="T19" fmla="*/ 214 h 1025"/>
                <a:gd name="T20" fmla="*/ 301 w 2359"/>
                <a:gd name="T21" fmla="*/ 249 h 1025"/>
                <a:gd name="T22" fmla="*/ 309 w 2359"/>
                <a:gd name="T23" fmla="*/ 205 h 1025"/>
                <a:gd name="T24" fmla="*/ 318 w 2359"/>
                <a:gd name="T25" fmla="*/ 192 h 1025"/>
                <a:gd name="T26" fmla="*/ 359 w 2359"/>
                <a:gd name="T27" fmla="*/ 151 h 1025"/>
                <a:gd name="T28" fmla="*/ 424 w 2359"/>
                <a:gd name="T29" fmla="*/ 256 h 1025"/>
                <a:gd name="T30" fmla="*/ 436 w 2359"/>
                <a:gd name="T31" fmla="*/ 181 h 1025"/>
                <a:gd name="T32" fmla="*/ 506 w 2359"/>
                <a:gd name="T33" fmla="*/ 198 h 1025"/>
                <a:gd name="T34" fmla="*/ 504 w 2359"/>
                <a:gd name="T35" fmla="*/ 108 h 1025"/>
                <a:gd name="T36" fmla="*/ 526 w 2359"/>
                <a:gd name="T37" fmla="*/ 126 h 1025"/>
                <a:gd name="T38" fmla="*/ 560 w 2359"/>
                <a:gd name="T39" fmla="*/ 148 h 1025"/>
                <a:gd name="T40" fmla="*/ 578 w 2359"/>
                <a:gd name="T41" fmla="*/ 169 h 1025"/>
                <a:gd name="T42" fmla="*/ 599 w 2359"/>
                <a:gd name="T43" fmla="*/ 197 h 1025"/>
                <a:gd name="T44" fmla="*/ 624 w 2359"/>
                <a:gd name="T45" fmla="*/ 212 h 1025"/>
                <a:gd name="T46" fmla="*/ 640 w 2359"/>
                <a:gd name="T47" fmla="*/ 226 h 1025"/>
                <a:gd name="T48" fmla="*/ 591 w 2359"/>
                <a:gd name="T49" fmla="*/ 117 h 1025"/>
                <a:gd name="T50" fmla="*/ 575 w 2359"/>
                <a:gd name="T51" fmla="*/ 104 h 1025"/>
                <a:gd name="T52" fmla="*/ 550 w 2359"/>
                <a:gd name="T53" fmla="*/ 89 h 1025"/>
                <a:gd name="T54" fmla="*/ 529 w 2359"/>
                <a:gd name="T55" fmla="*/ 61 h 1025"/>
                <a:gd name="T56" fmla="*/ 511 w 2359"/>
                <a:gd name="T57" fmla="*/ 39 h 1025"/>
                <a:gd name="T58" fmla="*/ 477 w 2359"/>
                <a:gd name="T59" fmla="*/ 18 h 1025"/>
                <a:gd name="T60" fmla="*/ 455 w 2359"/>
                <a:gd name="T61" fmla="*/ 0 h 1025"/>
                <a:gd name="T62" fmla="*/ 457 w 2359"/>
                <a:gd name="T63" fmla="*/ 90 h 1025"/>
                <a:gd name="T64" fmla="*/ 387 w 2359"/>
                <a:gd name="T65" fmla="*/ 73 h 1025"/>
                <a:gd name="T66" fmla="*/ 375 w 2359"/>
                <a:gd name="T67" fmla="*/ 148 h 1025"/>
                <a:gd name="T68" fmla="*/ 310 w 2359"/>
                <a:gd name="T69" fmla="*/ 43 h 1025"/>
                <a:gd name="T70" fmla="*/ 269 w 2359"/>
                <a:gd name="T71" fmla="*/ 83 h 1025"/>
                <a:gd name="T72" fmla="*/ 260 w 2359"/>
                <a:gd name="T73" fmla="*/ 96 h 1025"/>
                <a:gd name="T74" fmla="*/ 252 w 2359"/>
                <a:gd name="T75" fmla="*/ 140 h 1025"/>
                <a:gd name="T76" fmla="*/ 245 w 2359"/>
                <a:gd name="T77" fmla="*/ 105 h 1025"/>
                <a:gd name="T78" fmla="*/ 214 w 2359"/>
                <a:gd name="T79" fmla="*/ 85 h 1025"/>
                <a:gd name="T80" fmla="*/ 198 w 2359"/>
                <a:gd name="T81" fmla="*/ 113 h 1025"/>
                <a:gd name="T82" fmla="*/ 186 w 2359"/>
                <a:gd name="T83" fmla="*/ 100 h 1025"/>
                <a:gd name="T84" fmla="*/ 162 w 2359"/>
                <a:gd name="T85" fmla="*/ 100 h 1025"/>
                <a:gd name="T86" fmla="*/ 149 w 2359"/>
                <a:gd name="T87" fmla="*/ 110 h 1025"/>
                <a:gd name="T88" fmla="*/ 123 w 2359"/>
                <a:gd name="T89" fmla="*/ 106 h 1025"/>
                <a:gd name="T90" fmla="*/ 111 w 2359"/>
                <a:gd name="T91" fmla="*/ 100 h 1025"/>
                <a:gd name="T92" fmla="*/ 79 w 2359"/>
                <a:gd name="T93" fmla="*/ 110 h 1025"/>
                <a:gd name="T94" fmla="*/ 0 w 2359"/>
                <a:gd name="T95" fmla="*/ 106 h 1025"/>
                <a:gd name="T96" fmla="*/ 49 w 2359"/>
                <a:gd name="T97" fmla="*/ 215 h 1025"/>
                <a:gd name="T98" fmla="*/ 49 w 2359"/>
                <a:gd name="T99" fmla="*/ 215 h 1025"/>
                <a:gd name="T100" fmla="*/ 49 w 2359"/>
                <a:gd name="T101" fmla="*/ 215 h 102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359"/>
                <a:gd name="T154" fmla="*/ 0 h 1025"/>
                <a:gd name="T155" fmla="*/ 2359 w 2359"/>
                <a:gd name="T156" fmla="*/ 1025 h 102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359" h="1025">
                  <a:moveTo>
                    <a:pt x="180" y="861"/>
                  </a:moveTo>
                  <a:lnTo>
                    <a:pt x="472" y="876"/>
                  </a:lnTo>
                  <a:lnTo>
                    <a:pt x="588" y="834"/>
                  </a:lnTo>
                  <a:lnTo>
                    <a:pt x="633" y="861"/>
                  </a:lnTo>
                  <a:lnTo>
                    <a:pt x="730" y="876"/>
                  </a:lnTo>
                  <a:lnTo>
                    <a:pt x="775" y="834"/>
                  </a:lnTo>
                  <a:lnTo>
                    <a:pt x="865" y="834"/>
                  </a:lnTo>
                  <a:lnTo>
                    <a:pt x="909" y="887"/>
                  </a:lnTo>
                  <a:lnTo>
                    <a:pt x="966" y="775"/>
                  </a:lnTo>
                  <a:lnTo>
                    <a:pt x="1082" y="856"/>
                  </a:lnTo>
                  <a:lnTo>
                    <a:pt x="1108" y="995"/>
                  </a:lnTo>
                  <a:lnTo>
                    <a:pt x="1138" y="819"/>
                  </a:lnTo>
                  <a:lnTo>
                    <a:pt x="1172" y="767"/>
                  </a:lnTo>
                  <a:lnTo>
                    <a:pt x="1322" y="606"/>
                  </a:lnTo>
                  <a:lnTo>
                    <a:pt x="1562" y="1025"/>
                  </a:lnTo>
                  <a:lnTo>
                    <a:pt x="1606" y="726"/>
                  </a:lnTo>
                  <a:lnTo>
                    <a:pt x="1864" y="793"/>
                  </a:lnTo>
                  <a:lnTo>
                    <a:pt x="1856" y="434"/>
                  </a:lnTo>
                  <a:lnTo>
                    <a:pt x="1938" y="506"/>
                  </a:lnTo>
                  <a:lnTo>
                    <a:pt x="2063" y="591"/>
                  </a:lnTo>
                  <a:lnTo>
                    <a:pt x="2129" y="678"/>
                  </a:lnTo>
                  <a:lnTo>
                    <a:pt x="2209" y="789"/>
                  </a:lnTo>
                  <a:lnTo>
                    <a:pt x="2299" y="850"/>
                  </a:lnTo>
                  <a:lnTo>
                    <a:pt x="2359" y="903"/>
                  </a:lnTo>
                  <a:lnTo>
                    <a:pt x="2179" y="469"/>
                  </a:lnTo>
                  <a:lnTo>
                    <a:pt x="2119" y="416"/>
                  </a:lnTo>
                  <a:lnTo>
                    <a:pt x="2029" y="355"/>
                  </a:lnTo>
                  <a:lnTo>
                    <a:pt x="1950" y="244"/>
                  </a:lnTo>
                  <a:lnTo>
                    <a:pt x="1884" y="157"/>
                  </a:lnTo>
                  <a:lnTo>
                    <a:pt x="1759" y="72"/>
                  </a:lnTo>
                  <a:lnTo>
                    <a:pt x="1677" y="0"/>
                  </a:lnTo>
                  <a:lnTo>
                    <a:pt x="1685" y="359"/>
                  </a:lnTo>
                  <a:lnTo>
                    <a:pt x="1427" y="292"/>
                  </a:lnTo>
                  <a:lnTo>
                    <a:pt x="1381" y="591"/>
                  </a:lnTo>
                  <a:lnTo>
                    <a:pt x="1142" y="171"/>
                  </a:lnTo>
                  <a:lnTo>
                    <a:pt x="992" y="333"/>
                  </a:lnTo>
                  <a:lnTo>
                    <a:pt x="958" y="385"/>
                  </a:lnTo>
                  <a:lnTo>
                    <a:pt x="929" y="561"/>
                  </a:lnTo>
                  <a:lnTo>
                    <a:pt x="903" y="422"/>
                  </a:lnTo>
                  <a:lnTo>
                    <a:pt x="787" y="341"/>
                  </a:lnTo>
                  <a:lnTo>
                    <a:pt x="730" y="452"/>
                  </a:lnTo>
                  <a:lnTo>
                    <a:pt x="685" y="400"/>
                  </a:lnTo>
                  <a:lnTo>
                    <a:pt x="596" y="400"/>
                  </a:lnTo>
                  <a:lnTo>
                    <a:pt x="550" y="442"/>
                  </a:lnTo>
                  <a:lnTo>
                    <a:pt x="452" y="426"/>
                  </a:lnTo>
                  <a:lnTo>
                    <a:pt x="408" y="400"/>
                  </a:lnTo>
                  <a:lnTo>
                    <a:pt x="292" y="442"/>
                  </a:lnTo>
                  <a:lnTo>
                    <a:pt x="0" y="426"/>
                  </a:lnTo>
                  <a:lnTo>
                    <a:pt x="180" y="861"/>
                  </a:lnTo>
                </a:path>
              </a:pathLst>
            </a:custGeom>
            <a:solidFill>
              <a:schemeClr val="accent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35" name="Line 66"/>
            <p:cNvSpPr>
              <a:spLocks noChangeShapeType="1"/>
            </p:cNvSpPr>
            <p:nvPr>
              <p:custDataLst>
                <p:tags r:id="rId57"/>
              </p:custDataLst>
            </p:nvPr>
          </p:nvSpPr>
          <p:spPr bwMode="auto">
            <a:xfrm>
              <a:off x="7751763" y="4572000"/>
              <a:ext cx="76200" cy="169863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36" name="Line 67"/>
            <p:cNvSpPr>
              <a:spLocks noChangeShapeType="1"/>
            </p:cNvSpPr>
            <p:nvPr>
              <p:custDataLst>
                <p:tags r:id="rId58"/>
              </p:custDataLst>
            </p:nvPr>
          </p:nvSpPr>
          <p:spPr bwMode="auto">
            <a:xfrm>
              <a:off x="7751763" y="4572000"/>
              <a:ext cx="76200" cy="16986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37" name="Line 68"/>
            <p:cNvSpPr>
              <a:spLocks noChangeShapeType="1"/>
            </p:cNvSpPr>
            <p:nvPr>
              <p:custDataLst>
                <p:tags r:id="rId59"/>
              </p:custDataLst>
            </p:nvPr>
          </p:nvSpPr>
          <p:spPr bwMode="auto">
            <a:xfrm>
              <a:off x="7648575" y="4689475"/>
              <a:ext cx="76200" cy="169863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38" name="Line 69"/>
            <p:cNvSpPr>
              <a:spLocks noChangeShapeType="1"/>
            </p:cNvSpPr>
            <p:nvPr>
              <p:custDataLst>
                <p:tags r:id="rId60"/>
              </p:custDataLst>
            </p:nvPr>
          </p:nvSpPr>
          <p:spPr bwMode="auto">
            <a:xfrm>
              <a:off x="7648575" y="4689475"/>
              <a:ext cx="76200" cy="16986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39" name="Line 70"/>
            <p:cNvSpPr>
              <a:spLocks noChangeShapeType="1"/>
            </p:cNvSpPr>
            <p:nvPr>
              <p:custDataLst>
                <p:tags r:id="rId61"/>
              </p:custDataLst>
            </p:nvPr>
          </p:nvSpPr>
          <p:spPr bwMode="auto">
            <a:xfrm>
              <a:off x="7626350" y="4805363"/>
              <a:ext cx="76200" cy="169863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40" name="Line 71"/>
            <p:cNvSpPr>
              <a:spLocks noChangeShapeType="1"/>
            </p:cNvSpPr>
            <p:nvPr>
              <p:custDataLst>
                <p:tags r:id="rId62"/>
              </p:custDataLst>
            </p:nvPr>
          </p:nvSpPr>
          <p:spPr bwMode="auto">
            <a:xfrm>
              <a:off x="7626350" y="4805363"/>
              <a:ext cx="76200" cy="16986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41" name="Line 72"/>
            <p:cNvSpPr>
              <a:spLocks noChangeShapeType="1"/>
            </p:cNvSpPr>
            <p:nvPr>
              <p:custDataLst>
                <p:tags r:id="rId63"/>
              </p:custDataLst>
            </p:nvPr>
          </p:nvSpPr>
          <p:spPr bwMode="auto">
            <a:xfrm>
              <a:off x="7521575" y="4640263"/>
              <a:ext cx="74612" cy="168275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42" name="Line 73"/>
            <p:cNvSpPr>
              <a:spLocks noChangeShapeType="1"/>
            </p:cNvSpPr>
            <p:nvPr>
              <p:custDataLst>
                <p:tags r:id="rId64"/>
              </p:custDataLst>
            </p:nvPr>
          </p:nvSpPr>
          <p:spPr bwMode="auto">
            <a:xfrm>
              <a:off x="7521575" y="4640263"/>
              <a:ext cx="74612" cy="16827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43" name="Line 74"/>
            <p:cNvSpPr>
              <a:spLocks noChangeShapeType="1"/>
            </p:cNvSpPr>
            <p:nvPr>
              <p:custDataLst>
                <p:tags r:id="rId65"/>
              </p:custDataLst>
            </p:nvPr>
          </p:nvSpPr>
          <p:spPr bwMode="auto">
            <a:xfrm>
              <a:off x="7429500" y="4787900"/>
              <a:ext cx="76200" cy="161925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44" name="Line 75"/>
            <p:cNvSpPr>
              <a:spLocks noChangeShapeType="1"/>
            </p:cNvSpPr>
            <p:nvPr>
              <p:custDataLst>
                <p:tags r:id="rId66"/>
              </p:custDataLst>
            </p:nvPr>
          </p:nvSpPr>
          <p:spPr bwMode="auto">
            <a:xfrm>
              <a:off x="7429500" y="4787900"/>
              <a:ext cx="76200" cy="16192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45" name="Line 76"/>
            <p:cNvSpPr>
              <a:spLocks noChangeShapeType="1"/>
            </p:cNvSpPr>
            <p:nvPr>
              <p:custDataLst>
                <p:tags r:id="rId67"/>
              </p:custDataLst>
            </p:nvPr>
          </p:nvSpPr>
          <p:spPr bwMode="auto">
            <a:xfrm>
              <a:off x="7346950" y="4748213"/>
              <a:ext cx="74612" cy="169863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46" name="Line 77"/>
            <p:cNvSpPr>
              <a:spLocks noChangeShapeType="1"/>
            </p:cNvSpPr>
            <p:nvPr>
              <p:custDataLst>
                <p:tags r:id="rId68"/>
              </p:custDataLst>
            </p:nvPr>
          </p:nvSpPr>
          <p:spPr bwMode="auto">
            <a:xfrm>
              <a:off x="7346950" y="4748213"/>
              <a:ext cx="74612" cy="16986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47" name="Line 78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265988" y="4745038"/>
              <a:ext cx="74612" cy="169863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48" name="Line 79"/>
            <p:cNvSpPr>
              <a:spLocks noChangeShapeType="1"/>
            </p:cNvSpPr>
            <p:nvPr>
              <p:custDataLst>
                <p:tags r:id="rId70"/>
              </p:custDataLst>
            </p:nvPr>
          </p:nvSpPr>
          <p:spPr bwMode="auto">
            <a:xfrm>
              <a:off x="7265988" y="4745038"/>
              <a:ext cx="74612" cy="16986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49" name="Line 80"/>
            <p:cNvSpPr>
              <a:spLocks noChangeShapeType="1"/>
            </p:cNvSpPr>
            <p:nvPr>
              <p:custDataLst>
                <p:tags r:id="rId71"/>
              </p:custDataLst>
            </p:nvPr>
          </p:nvSpPr>
          <p:spPr bwMode="auto">
            <a:xfrm>
              <a:off x="7197725" y="4725988"/>
              <a:ext cx="76200" cy="168275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50" name="Line 81"/>
            <p:cNvSpPr>
              <a:spLocks noChangeShapeType="1"/>
            </p:cNvSpPr>
            <p:nvPr>
              <p:custDataLst>
                <p:tags r:id="rId72"/>
              </p:custDataLst>
            </p:nvPr>
          </p:nvSpPr>
          <p:spPr bwMode="auto">
            <a:xfrm>
              <a:off x="7197725" y="4725988"/>
              <a:ext cx="76200" cy="16827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51" name="Freeform 82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6986588" y="4935538"/>
              <a:ext cx="252412" cy="247650"/>
            </a:xfrm>
            <a:custGeom>
              <a:avLst/>
              <a:gdLst>
                <a:gd name="T0" fmla="*/ 159 w 591"/>
                <a:gd name="T1" fmla="*/ 58 h 624"/>
                <a:gd name="T2" fmla="*/ 154 w 591"/>
                <a:gd name="T3" fmla="*/ 80 h 624"/>
                <a:gd name="T4" fmla="*/ 90 w 591"/>
                <a:gd name="T5" fmla="*/ 119 h 624"/>
                <a:gd name="T6" fmla="*/ 48 w 591"/>
                <a:gd name="T7" fmla="*/ 156 h 624"/>
                <a:gd name="T8" fmla="*/ 0 w 591"/>
                <a:gd name="T9" fmla="*/ 47 h 624"/>
                <a:gd name="T10" fmla="*/ 41 w 591"/>
                <a:gd name="T11" fmla="*/ 9 h 624"/>
                <a:gd name="T12" fmla="*/ 106 w 591"/>
                <a:gd name="T13" fmla="*/ 0 h 624"/>
                <a:gd name="T14" fmla="*/ 129 w 591"/>
                <a:gd name="T15" fmla="*/ 27 h 624"/>
                <a:gd name="T16" fmla="*/ 159 w 591"/>
                <a:gd name="T17" fmla="*/ 58 h 624"/>
                <a:gd name="T18" fmla="*/ 159 w 591"/>
                <a:gd name="T19" fmla="*/ 58 h 6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1"/>
                <a:gd name="T31" fmla="*/ 0 h 624"/>
                <a:gd name="T32" fmla="*/ 591 w 591"/>
                <a:gd name="T33" fmla="*/ 624 h 6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1" h="624">
                  <a:moveTo>
                    <a:pt x="591" y="233"/>
                  </a:moveTo>
                  <a:lnTo>
                    <a:pt x="572" y="321"/>
                  </a:lnTo>
                  <a:lnTo>
                    <a:pt x="336" y="476"/>
                  </a:lnTo>
                  <a:lnTo>
                    <a:pt x="178" y="624"/>
                  </a:lnTo>
                  <a:lnTo>
                    <a:pt x="0" y="187"/>
                  </a:lnTo>
                  <a:lnTo>
                    <a:pt x="153" y="37"/>
                  </a:lnTo>
                  <a:lnTo>
                    <a:pt x="393" y="0"/>
                  </a:lnTo>
                  <a:lnTo>
                    <a:pt x="480" y="109"/>
                  </a:lnTo>
                  <a:lnTo>
                    <a:pt x="591" y="23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52" name="Freeform 83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6986588" y="4935538"/>
              <a:ext cx="252412" cy="247650"/>
            </a:xfrm>
            <a:custGeom>
              <a:avLst/>
              <a:gdLst>
                <a:gd name="T0" fmla="*/ 159 w 591"/>
                <a:gd name="T1" fmla="*/ 58 h 624"/>
                <a:gd name="T2" fmla="*/ 154 w 591"/>
                <a:gd name="T3" fmla="*/ 80 h 624"/>
                <a:gd name="T4" fmla="*/ 90 w 591"/>
                <a:gd name="T5" fmla="*/ 119 h 624"/>
                <a:gd name="T6" fmla="*/ 48 w 591"/>
                <a:gd name="T7" fmla="*/ 156 h 624"/>
                <a:gd name="T8" fmla="*/ 0 w 591"/>
                <a:gd name="T9" fmla="*/ 47 h 624"/>
                <a:gd name="T10" fmla="*/ 41 w 591"/>
                <a:gd name="T11" fmla="*/ 9 h 624"/>
                <a:gd name="T12" fmla="*/ 106 w 591"/>
                <a:gd name="T13" fmla="*/ 0 h 624"/>
                <a:gd name="T14" fmla="*/ 129 w 591"/>
                <a:gd name="T15" fmla="*/ 27 h 624"/>
                <a:gd name="T16" fmla="*/ 159 w 591"/>
                <a:gd name="T17" fmla="*/ 58 h 624"/>
                <a:gd name="T18" fmla="*/ 159 w 591"/>
                <a:gd name="T19" fmla="*/ 58 h 624"/>
                <a:gd name="T20" fmla="*/ 159 w 591"/>
                <a:gd name="T21" fmla="*/ 58 h 6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1"/>
                <a:gd name="T34" fmla="*/ 0 h 624"/>
                <a:gd name="T35" fmla="*/ 591 w 591"/>
                <a:gd name="T36" fmla="*/ 624 h 6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1" h="624">
                  <a:moveTo>
                    <a:pt x="591" y="233"/>
                  </a:moveTo>
                  <a:lnTo>
                    <a:pt x="572" y="321"/>
                  </a:lnTo>
                  <a:lnTo>
                    <a:pt x="336" y="476"/>
                  </a:lnTo>
                  <a:lnTo>
                    <a:pt x="178" y="624"/>
                  </a:lnTo>
                  <a:lnTo>
                    <a:pt x="0" y="187"/>
                  </a:lnTo>
                  <a:lnTo>
                    <a:pt x="153" y="37"/>
                  </a:lnTo>
                  <a:lnTo>
                    <a:pt x="393" y="0"/>
                  </a:lnTo>
                  <a:lnTo>
                    <a:pt x="480" y="109"/>
                  </a:lnTo>
                  <a:lnTo>
                    <a:pt x="591" y="233"/>
                  </a:lnTo>
                </a:path>
              </a:pathLst>
            </a:custGeom>
            <a:solidFill>
              <a:schemeClr val="accent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</p:grpSp>
      <p:grpSp>
        <p:nvGrpSpPr>
          <p:cNvPr id="53" name="Group 87"/>
          <p:cNvGrpSpPr/>
          <p:nvPr>
            <p:custDataLst>
              <p:tags r:id="rId18"/>
            </p:custDataLst>
          </p:nvPr>
        </p:nvGrpSpPr>
        <p:grpSpPr>
          <a:xfrm>
            <a:off x="3748984" y="4706922"/>
            <a:ext cx="958104" cy="635190"/>
            <a:chOff x="6986588" y="4565650"/>
            <a:chExt cx="1512887" cy="752476"/>
          </a:xfrm>
        </p:grpSpPr>
        <p:sp>
          <p:nvSpPr>
            <p:cNvPr id="54" name="Freeform 56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4627563"/>
              <a:ext cx="161925" cy="690563"/>
            </a:xfrm>
            <a:custGeom>
              <a:avLst/>
              <a:gdLst>
                <a:gd name="T0" fmla="*/ 1 w 375"/>
                <a:gd name="T1" fmla="*/ 0 h 1740"/>
                <a:gd name="T2" fmla="*/ 0 w 375"/>
                <a:gd name="T3" fmla="*/ 329 h 1740"/>
                <a:gd name="T4" fmla="*/ 102 w 375"/>
                <a:gd name="T5" fmla="*/ 435 h 1740"/>
                <a:gd name="T6" fmla="*/ 102 w 375"/>
                <a:gd name="T7" fmla="*/ 102 h 1740"/>
                <a:gd name="T8" fmla="*/ 1 w 375"/>
                <a:gd name="T9" fmla="*/ 0 h 1740"/>
                <a:gd name="T10" fmla="*/ 1 w 375"/>
                <a:gd name="T11" fmla="*/ 0 h 17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5"/>
                <a:gd name="T19" fmla="*/ 0 h 1740"/>
                <a:gd name="T20" fmla="*/ 375 w 375"/>
                <a:gd name="T21" fmla="*/ 1740 h 174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5" h="1740">
                  <a:moveTo>
                    <a:pt x="2" y="0"/>
                  </a:moveTo>
                  <a:lnTo>
                    <a:pt x="0" y="1317"/>
                  </a:lnTo>
                  <a:lnTo>
                    <a:pt x="375" y="1740"/>
                  </a:lnTo>
                  <a:lnTo>
                    <a:pt x="375" y="40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55" name="Freeform 57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7951788" y="4627563"/>
              <a:ext cx="161925" cy="690563"/>
            </a:xfrm>
            <a:custGeom>
              <a:avLst/>
              <a:gdLst>
                <a:gd name="T0" fmla="*/ 1 w 375"/>
                <a:gd name="T1" fmla="*/ 0 h 1740"/>
                <a:gd name="T2" fmla="*/ 0 w 375"/>
                <a:gd name="T3" fmla="*/ 329 h 1740"/>
                <a:gd name="T4" fmla="*/ 102 w 375"/>
                <a:gd name="T5" fmla="*/ 435 h 1740"/>
                <a:gd name="T6" fmla="*/ 102 w 375"/>
                <a:gd name="T7" fmla="*/ 102 h 1740"/>
                <a:gd name="T8" fmla="*/ 1 w 375"/>
                <a:gd name="T9" fmla="*/ 0 h 1740"/>
                <a:gd name="T10" fmla="*/ 1 w 375"/>
                <a:gd name="T11" fmla="*/ 0 h 1740"/>
                <a:gd name="T12" fmla="*/ 1 w 375"/>
                <a:gd name="T13" fmla="*/ 0 h 17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5"/>
                <a:gd name="T22" fmla="*/ 0 h 1740"/>
                <a:gd name="T23" fmla="*/ 375 w 375"/>
                <a:gd name="T24" fmla="*/ 1740 h 17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5" h="1740">
                  <a:moveTo>
                    <a:pt x="2" y="0"/>
                  </a:moveTo>
                  <a:lnTo>
                    <a:pt x="0" y="1317"/>
                  </a:lnTo>
                  <a:lnTo>
                    <a:pt x="375" y="1740"/>
                  </a:lnTo>
                  <a:lnTo>
                    <a:pt x="375" y="407"/>
                  </a:lnTo>
                  <a:lnTo>
                    <a:pt x="2" y="0"/>
                  </a:lnTo>
                </a:path>
              </a:pathLst>
            </a:custGeom>
            <a:solidFill>
              <a:schemeClr val="accent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56" name="Freeform 58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7953375" y="4627563"/>
              <a:ext cx="382587" cy="161925"/>
            </a:xfrm>
            <a:custGeom>
              <a:avLst/>
              <a:gdLst>
                <a:gd name="T0" fmla="*/ 0 w 888"/>
                <a:gd name="T1" fmla="*/ 0 h 407"/>
                <a:gd name="T2" fmla="*/ 141 w 888"/>
                <a:gd name="T3" fmla="*/ 0 h 407"/>
                <a:gd name="T4" fmla="*/ 241 w 888"/>
                <a:gd name="T5" fmla="*/ 102 h 407"/>
                <a:gd name="T6" fmla="*/ 101 w 888"/>
                <a:gd name="T7" fmla="*/ 102 h 407"/>
                <a:gd name="T8" fmla="*/ 0 w 888"/>
                <a:gd name="T9" fmla="*/ 0 h 407"/>
                <a:gd name="T10" fmla="*/ 0 w 888"/>
                <a:gd name="T11" fmla="*/ 0 h 40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88"/>
                <a:gd name="T19" fmla="*/ 0 h 407"/>
                <a:gd name="T20" fmla="*/ 888 w 888"/>
                <a:gd name="T21" fmla="*/ 407 h 40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88" h="407">
                  <a:moveTo>
                    <a:pt x="0" y="0"/>
                  </a:moveTo>
                  <a:lnTo>
                    <a:pt x="519" y="0"/>
                  </a:lnTo>
                  <a:lnTo>
                    <a:pt x="888" y="407"/>
                  </a:lnTo>
                  <a:lnTo>
                    <a:pt x="373" y="4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hlink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57" name="Freeform 59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7953375" y="4627563"/>
              <a:ext cx="382587" cy="161925"/>
            </a:xfrm>
            <a:custGeom>
              <a:avLst/>
              <a:gdLst>
                <a:gd name="T0" fmla="*/ 0 w 888"/>
                <a:gd name="T1" fmla="*/ 0 h 407"/>
                <a:gd name="T2" fmla="*/ 141 w 888"/>
                <a:gd name="T3" fmla="*/ 0 h 407"/>
                <a:gd name="T4" fmla="*/ 241 w 888"/>
                <a:gd name="T5" fmla="*/ 102 h 407"/>
                <a:gd name="T6" fmla="*/ 101 w 888"/>
                <a:gd name="T7" fmla="*/ 102 h 407"/>
                <a:gd name="T8" fmla="*/ 0 w 888"/>
                <a:gd name="T9" fmla="*/ 0 h 407"/>
                <a:gd name="T10" fmla="*/ 0 w 888"/>
                <a:gd name="T11" fmla="*/ 0 h 407"/>
                <a:gd name="T12" fmla="*/ 0 w 888"/>
                <a:gd name="T13" fmla="*/ 0 h 40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88"/>
                <a:gd name="T22" fmla="*/ 0 h 407"/>
                <a:gd name="T23" fmla="*/ 888 w 888"/>
                <a:gd name="T24" fmla="*/ 407 h 40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88" h="407">
                  <a:moveTo>
                    <a:pt x="0" y="0"/>
                  </a:moveTo>
                  <a:lnTo>
                    <a:pt x="519" y="0"/>
                  </a:lnTo>
                  <a:lnTo>
                    <a:pt x="888" y="407"/>
                  </a:lnTo>
                  <a:lnTo>
                    <a:pt x="373" y="407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58" name="Freeform 60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113713" y="4789488"/>
              <a:ext cx="385762" cy="528638"/>
            </a:xfrm>
            <a:custGeom>
              <a:avLst/>
              <a:gdLst>
                <a:gd name="T0" fmla="*/ 243 w 895"/>
                <a:gd name="T1" fmla="*/ 333 h 1333"/>
                <a:gd name="T2" fmla="*/ 0 w 895"/>
                <a:gd name="T3" fmla="*/ 333 h 1333"/>
                <a:gd name="T4" fmla="*/ 0 w 895"/>
                <a:gd name="T5" fmla="*/ 0 h 1333"/>
                <a:gd name="T6" fmla="*/ 140 w 895"/>
                <a:gd name="T7" fmla="*/ 0 h 1333"/>
                <a:gd name="T8" fmla="*/ 243 w 895"/>
                <a:gd name="T9" fmla="*/ 333 h 1333"/>
                <a:gd name="T10" fmla="*/ 243 w 895"/>
                <a:gd name="T11" fmla="*/ 333 h 13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95"/>
                <a:gd name="T19" fmla="*/ 0 h 1333"/>
                <a:gd name="T20" fmla="*/ 895 w 895"/>
                <a:gd name="T21" fmla="*/ 1333 h 13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95" h="1333">
                  <a:moveTo>
                    <a:pt x="895" y="1333"/>
                  </a:moveTo>
                  <a:lnTo>
                    <a:pt x="0" y="1333"/>
                  </a:lnTo>
                  <a:lnTo>
                    <a:pt x="0" y="0"/>
                  </a:lnTo>
                  <a:lnTo>
                    <a:pt x="515" y="0"/>
                  </a:lnTo>
                  <a:lnTo>
                    <a:pt x="895" y="133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59" name="Freeform 61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8113713" y="4789488"/>
              <a:ext cx="385762" cy="528638"/>
            </a:xfrm>
            <a:custGeom>
              <a:avLst/>
              <a:gdLst>
                <a:gd name="T0" fmla="*/ 243 w 895"/>
                <a:gd name="T1" fmla="*/ 333 h 1333"/>
                <a:gd name="T2" fmla="*/ 0 w 895"/>
                <a:gd name="T3" fmla="*/ 333 h 1333"/>
                <a:gd name="T4" fmla="*/ 0 w 895"/>
                <a:gd name="T5" fmla="*/ 0 h 1333"/>
                <a:gd name="T6" fmla="*/ 140 w 895"/>
                <a:gd name="T7" fmla="*/ 0 h 1333"/>
                <a:gd name="T8" fmla="*/ 243 w 895"/>
                <a:gd name="T9" fmla="*/ 333 h 1333"/>
                <a:gd name="T10" fmla="*/ 243 w 895"/>
                <a:gd name="T11" fmla="*/ 333 h 1333"/>
                <a:gd name="T12" fmla="*/ 243 w 895"/>
                <a:gd name="T13" fmla="*/ 333 h 13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95"/>
                <a:gd name="T22" fmla="*/ 0 h 1333"/>
                <a:gd name="T23" fmla="*/ 895 w 895"/>
                <a:gd name="T24" fmla="*/ 1333 h 13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95" h="1333">
                  <a:moveTo>
                    <a:pt x="895" y="1333"/>
                  </a:moveTo>
                  <a:lnTo>
                    <a:pt x="0" y="1333"/>
                  </a:lnTo>
                  <a:lnTo>
                    <a:pt x="0" y="0"/>
                  </a:lnTo>
                  <a:lnTo>
                    <a:pt x="515" y="0"/>
                  </a:lnTo>
                  <a:lnTo>
                    <a:pt x="895" y="1333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60" name="Freeform 62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7064375" y="4737100"/>
              <a:ext cx="981075" cy="473075"/>
            </a:xfrm>
            <a:custGeom>
              <a:avLst/>
              <a:gdLst>
                <a:gd name="T0" fmla="*/ 454 w 2281"/>
                <a:gd name="T1" fmla="*/ 193 h 1190"/>
                <a:gd name="T2" fmla="*/ 415 w 2281"/>
                <a:gd name="T3" fmla="*/ 257 h 1190"/>
                <a:gd name="T4" fmla="*/ 377 w 2281"/>
                <a:gd name="T5" fmla="*/ 188 h 1190"/>
                <a:gd name="T6" fmla="*/ 368 w 2281"/>
                <a:gd name="T7" fmla="*/ 221 h 1190"/>
                <a:gd name="T8" fmla="*/ 358 w 2281"/>
                <a:gd name="T9" fmla="*/ 177 h 1190"/>
                <a:gd name="T10" fmla="*/ 349 w 2281"/>
                <a:gd name="T11" fmla="*/ 213 h 1190"/>
                <a:gd name="T12" fmla="*/ 321 w 2281"/>
                <a:gd name="T13" fmla="*/ 184 h 1190"/>
                <a:gd name="T14" fmla="*/ 339 w 2281"/>
                <a:gd name="T15" fmla="*/ 227 h 1190"/>
                <a:gd name="T16" fmla="*/ 317 w 2281"/>
                <a:gd name="T17" fmla="*/ 274 h 1190"/>
                <a:gd name="T18" fmla="*/ 305 w 2281"/>
                <a:gd name="T19" fmla="*/ 229 h 1190"/>
                <a:gd name="T20" fmla="*/ 259 w 2281"/>
                <a:gd name="T21" fmla="*/ 259 h 1190"/>
                <a:gd name="T22" fmla="*/ 208 w 2281"/>
                <a:gd name="T23" fmla="*/ 247 h 1190"/>
                <a:gd name="T24" fmla="*/ 169 w 2281"/>
                <a:gd name="T25" fmla="*/ 283 h 1190"/>
                <a:gd name="T26" fmla="*/ 93 w 2281"/>
                <a:gd name="T27" fmla="*/ 298 h 1190"/>
                <a:gd name="T28" fmla="*/ 0 w 2281"/>
                <a:gd name="T29" fmla="*/ 281 h 1190"/>
                <a:gd name="T30" fmla="*/ 42 w 2281"/>
                <a:gd name="T31" fmla="*/ 243 h 1190"/>
                <a:gd name="T32" fmla="*/ 106 w 2281"/>
                <a:gd name="T33" fmla="*/ 203 h 1190"/>
                <a:gd name="T34" fmla="*/ 112 w 2281"/>
                <a:gd name="T35" fmla="*/ 184 h 1190"/>
                <a:gd name="T36" fmla="*/ 79 w 2281"/>
                <a:gd name="T37" fmla="*/ 151 h 1190"/>
                <a:gd name="T38" fmla="*/ 58 w 2281"/>
                <a:gd name="T39" fmla="*/ 124 h 1190"/>
                <a:gd name="T40" fmla="*/ 28 w 2281"/>
                <a:gd name="T41" fmla="*/ 107 h 1190"/>
                <a:gd name="T42" fmla="*/ 107 w 2281"/>
                <a:gd name="T43" fmla="*/ 111 h 1190"/>
                <a:gd name="T44" fmla="*/ 138 w 2281"/>
                <a:gd name="T45" fmla="*/ 100 h 1190"/>
                <a:gd name="T46" fmla="*/ 150 w 2281"/>
                <a:gd name="T47" fmla="*/ 107 h 1190"/>
                <a:gd name="T48" fmla="*/ 177 w 2281"/>
                <a:gd name="T49" fmla="*/ 111 h 1190"/>
                <a:gd name="T50" fmla="*/ 189 w 2281"/>
                <a:gd name="T51" fmla="*/ 100 h 1190"/>
                <a:gd name="T52" fmla="*/ 213 w 2281"/>
                <a:gd name="T53" fmla="*/ 100 h 1190"/>
                <a:gd name="T54" fmla="*/ 225 w 2281"/>
                <a:gd name="T55" fmla="*/ 113 h 1190"/>
                <a:gd name="T56" fmla="*/ 241 w 2281"/>
                <a:gd name="T57" fmla="*/ 85 h 1190"/>
                <a:gd name="T58" fmla="*/ 272 w 2281"/>
                <a:gd name="T59" fmla="*/ 106 h 1190"/>
                <a:gd name="T60" fmla="*/ 279 w 2281"/>
                <a:gd name="T61" fmla="*/ 140 h 1190"/>
                <a:gd name="T62" fmla="*/ 287 w 2281"/>
                <a:gd name="T63" fmla="*/ 96 h 1190"/>
                <a:gd name="T64" fmla="*/ 296 w 2281"/>
                <a:gd name="T65" fmla="*/ 83 h 1190"/>
                <a:gd name="T66" fmla="*/ 337 w 2281"/>
                <a:gd name="T67" fmla="*/ 43 h 1190"/>
                <a:gd name="T68" fmla="*/ 402 w 2281"/>
                <a:gd name="T69" fmla="*/ 148 h 1190"/>
                <a:gd name="T70" fmla="*/ 414 w 2281"/>
                <a:gd name="T71" fmla="*/ 73 h 1190"/>
                <a:gd name="T72" fmla="*/ 484 w 2281"/>
                <a:gd name="T73" fmla="*/ 90 h 1190"/>
                <a:gd name="T74" fmla="*/ 482 w 2281"/>
                <a:gd name="T75" fmla="*/ 0 h 1190"/>
                <a:gd name="T76" fmla="*/ 504 w 2281"/>
                <a:gd name="T77" fmla="*/ 18 h 1190"/>
                <a:gd name="T78" fmla="*/ 538 w 2281"/>
                <a:gd name="T79" fmla="*/ 39 h 1190"/>
                <a:gd name="T80" fmla="*/ 556 w 2281"/>
                <a:gd name="T81" fmla="*/ 61 h 1190"/>
                <a:gd name="T82" fmla="*/ 577 w 2281"/>
                <a:gd name="T83" fmla="*/ 89 h 1190"/>
                <a:gd name="T84" fmla="*/ 602 w 2281"/>
                <a:gd name="T85" fmla="*/ 104 h 1190"/>
                <a:gd name="T86" fmla="*/ 618 w 2281"/>
                <a:gd name="T87" fmla="*/ 117 h 1190"/>
                <a:gd name="T88" fmla="*/ 606 w 2281"/>
                <a:gd name="T89" fmla="*/ 151 h 1190"/>
                <a:gd name="T90" fmla="*/ 579 w 2281"/>
                <a:gd name="T91" fmla="*/ 174 h 1190"/>
                <a:gd name="T92" fmla="*/ 557 w 2281"/>
                <a:gd name="T93" fmla="*/ 217 h 1190"/>
                <a:gd name="T94" fmla="*/ 521 w 2281"/>
                <a:gd name="T95" fmla="*/ 262 h 1190"/>
                <a:gd name="T96" fmla="*/ 482 w 2281"/>
                <a:gd name="T97" fmla="*/ 295 h 1190"/>
                <a:gd name="T98" fmla="*/ 482 w 2281"/>
                <a:gd name="T99" fmla="*/ 205 h 1190"/>
                <a:gd name="T100" fmla="*/ 454 w 2281"/>
                <a:gd name="T101" fmla="*/ 193 h 1190"/>
                <a:gd name="T102" fmla="*/ 454 w 2281"/>
                <a:gd name="T103" fmla="*/ 193 h 119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281"/>
                <a:gd name="T157" fmla="*/ 0 h 1190"/>
                <a:gd name="T158" fmla="*/ 2281 w 2281"/>
                <a:gd name="T159" fmla="*/ 1190 h 119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281" h="1190">
                  <a:moveTo>
                    <a:pt x="1675" y="771"/>
                  </a:moveTo>
                  <a:lnTo>
                    <a:pt x="1532" y="1026"/>
                  </a:lnTo>
                  <a:lnTo>
                    <a:pt x="1390" y="752"/>
                  </a:lnTo>
                  <a:lnTo>
                    <a:pt x="1360" y="883"/>
                  </a:lnTo>
                  <a:lnTo>
                    <a:pt x="1323" y="708"/>
                  </a:lnTo>
                  <a:lnTo>
                    <a:pt x="1288" y="850"/>
                  </a:lnTo>
                  <a:lnTo>
                    <a:pt x="1184" y="734"/>
                  </a:lnTo>
                  <a:lnTo>
                    <a:pt x="1250" y="905"/>
                  </a:lnTo>
                  <a:lnTo>
                    <a:pt x="1169" y="1093"/>
                  </a:lnTo>
                  <a:lnTo>
                    <a:pt x="1124" y="913"/>
                  </a:lnTo>
                  <a:lnTo>
                    <a:pt x="955" y="1035"/>
                  </a:lnTo>
                  <a:lnTo>
                    <a:pt x="768" y="988"/>
                  </a:lnTo>
                  <a:lnTo>
                    <a:pt x="622" y="1130"/>
                  </a:lnTo>
                  <a:lnTo>
                    <a:pt x="345" y="1190"/>
                  </a:lnTo>
                  <a:lnTo>
                    <a:pt x="0" y="1122"/>
                  </a:lnTo>
                  <a:lnTo>
                    <a:pt x="154" y="972"/>
                  </a:lnTo>
                  <a:lnTo>
                    <a:pt x="390" y="809"/>
                  </a:lnTo>
                  <a:lnTo>
                    <a:pt x="412" y="734"/>
                  </a:lnTo>
                  <a:lnTo>
                    <a:pt x="293" y="603"/>
                  </a:lnTo>
                  <a:lnTo>
                    <a:pt x="214" y="497"/>
                  </a:lnTo>
                  <a:lnTo>
                    <a:pt x="102" y="427"/>
                  </a:lnTo>
                  <a:lnTo>
                    <a:pt x="394" y="442"/>
                  </a:lnTo>
                  <a:lnTo>
                    <a:pt x="510" y="400"/>
                  </a:lnTo>
                  <a:lnTo>
                    <a:pt x="555" y="427"/>
                  </a:lnTo>
                  <a:lnTo>
                    <a:pt x="652" y="442"/>
                  </a:lnTo>
                  <a:lnTo>
                    <a:pt x="697" y="400"/>
                  </a:lnTo>
                  <a:lnTo>
                    <a:pt x="787" y="400"/>
                  </a:lnTo>
                  <a:lnTo>
                    <a:pt x="831" y="453"/>
                  </a:lnTo>
                  <a:lnTo>
                    <a:pt x="888" y="341"/>
                  </a:lnTo>
                  <a:lnTo>
                    <a:pt x="1004" y="422"/>
                  </a:lnTo>
                  <a:lnTo>
                    <a:pt x="1030" y="561"/>
                  </a:lnTo>
                  <a:lnTo>
                    <a:pt x="1060" y="385"/>
                  </a:lnTo>
                  <a:lnTo>
                    <a:pt x="1094" y="333"/>
                  </a:lnTo>
                  <a:lnTo>
                    <a:pt x="1244" y="172"/>
                  </a:lnTo>
                  <a:lnTo>
                    <a:pt x="1484" y="591"/>
                  </a:lnTo>
                  <a:lnTo>
                    <a:pt x="1528" y="292"/>
                  </a:lnTo>
                  <a:lnTo>
                    <a:pt x="1786" y="359"/>
                  </a:lnTo>
                  <a:lnTo>
                    <a:pt x="1778" y="0"/>
                  </a:lnTo>
                  <a:lnTo>
                    <a:pt x="1860" y="72"/>
                  </a:lnTo>
                  <a:lnTo>
                    <a:pt x="1985" y="157"/>
                  </a:lnTo>
                  <a:lnTo>
                    <a:pt x="2051" y="244"/>
                  </a:lnTo>
                  <a:lnTo>
                    <a:pt x="2131" y="355"/>
                  </a:lnTo>
                  <a:lnTo>
                    <a:pt x="2221" y="416"/>
                  </a:lnTo>
                  <a:lnTo>
                    <a:pt x="2281" y="469"/>
                  </a:lnTo>
                  <a:lnTo>
                    <a:pt x="2237" y="602"/>
                  </a:lnTo>
                  <a:lnTo>
                    <a:pt x="2136" y="694"/>
                  </a:lnTo>
                  <a:lnTo>
                    <a:pt x="2055" y="867"/>
                  </a:lnTo>
                  <a:lnTo>
                    <a:pt x="1922" y="1045"/>
                  </a:lnTo>
                  <a:lnTo>
                    <a:pt x="1778" y="1179"/>
                  </a:lnTo>
                  <a:lnTo>
                    <a:pt x="1778" y="819"/>
                  </a:lnTo>
                  <a:lnTo>
                    <a:pt x="1675" y="771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61" name="Freeform 63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7064375" y="4737100"/>
              <a:ext cx="981075" cy="473075"/>
            </a:xfrm>
            <a:custGeom>
              <a:avLst/>
              <a:gdLst>
                <a:gd name="T0" fmla="*/ 454 w 2281"/>
                <a:gd name="T1" fmla="*/ 193 h 1190"/>
                <a:gd name="T2" fmla="*/ 415 w 2281"/>
                <a:gd name="T3" fmla="*/ 257 h 1190"/>
                <a:gd name="T4" fmla="*/ 377 w 2281"/>
                <a:gd name="T5" fmla="*/ 188 h 1190"/>
                <a:gd name="T6" fmla="*/ 368 w 2281"/>
                <a:gd name="T7" fmla="*/ 221 h 1190"/>
                <a:gd name="T8" fmla="*/ 358 w 2281"/>
                <a:gd name="T9" fmla="*/ 177 h 1190"/>
                <a:gd name="T10" fmla="*/ 349 w 2281"/>
                <a:gd name="T11" fmla="*/ 213 h 1190"/>
                <a:gd name="T12" fmla="*/ 321 w 2281"/>
                <a:gd name="T13" fmla="*/ 184 h 1190"/>
                <a:gd name="T14" fmla="*/ 339 w 2281"/>
                <a:gd name="T15" fmla="*/ 227 h 1190"/>
                <a:gd name="T16" fmla="*/ 317 w 2281"/>
                <a:gd name="T17" fmla="*/ 274 h 1190"/>
                <a:gd name="T18" fmla="*/ 305 w 2281"/>
                <a:gd name="T19" fmla="*/ 229 h 1190"/>
                <a:gd name="T20" fmla="*/ 259 w 2281"/>
                <a:gd name="T21" fmla="*/ 259 h 1190"/>
                <a:gd name="T22" fmla="*/ 208 w 2281"/>
                <a:gd name="T23" fmla="*/ 247 h 1190"/>
                <a:gd name="T24" fmla="*/ 169 w 2281"/>
                <a:gd name="T25" fmla="*/ 283 h 1190"/>
                <a:gd name="T26" fmla="*/ 93 w 2281"/>
                <a:gd name="T27" fmla="*/ 298 h 1190"/>
                <a:gd name="T28" fmla="*/ 0 w 2281"/>
                <a:gd name="T29" fmla="*/ 281 h 1190"/>
                <a:gd name="T30" fmla="*/ 42 w 2281"/>
                <a:gd name="T31" fmla="*/ 243 h 1190"/>
                <a:gd name="T32" fmla="*/ 106 w 2281"/>
                <a:gd name="T33" fmla="*/ 203 h 1190"/>
                <a:gd name="T34" fmla="*/ 112 w 2281"/>
                <a:gd name="T35" fmla="*/ 184 h 1190"/>
                <a:gd name="T36" fmla="*/ 79 w 2281"/>
                <a:gd name="T37" fmla="*/ 151 h 1190"/>
                <a:gd name="T38" fmla="*/ 58 w 2281"/>
                <a:gd name="T39" fmla="*/ 124 h 1190"/>
                <a:gd name="T40" fmla="*/ 28 w 2281"/>
                <a:gd name="T41" fmla="*/ 107 h 1190"/>
                <a:gd name="T42" fmla="*/ 107 w 2281"/>
                <a:gd name="T43" fmla="*/ 111 h 1190"/>
                <a:gd name="T44" fmla="*/ 138 w 2281"/>
                <a:gd name="T45" fmla="*/ 100 h 1190"/>
                <a:gd name="T46" fmla="*/ 150 w 2281"/>
                <a:gd name="T47" fmla="*/ 107 h 1190"/>
                <a:gd name="T48" fmla="*/ 177 w 2281"/>
                <a:gd name="T49" fmla="*/ 111 h 1190"/>
                <a:gd name="T50" fmla="*/ 189 w 2281"/>
                <a:gd name="T51" fmla="*/ 100 h 1190"/>
                <a:gd name="T52" fmla="*/ 213 w 2281"/>
                <a:gd name="T53" fmla="*/ 100 h 1190"/>
                <a:gd name="T54" fmla="*/ 225 w 2281"/>
                <a:gd name="T55" fmla="*/ 113 h 1190"/>
                <a:gd name="T56" fmla="*/ 241 w 2281"/>
                <a:gd name="T57" fmla="*/ 85 h 1190"/>
                <a:gd name="T58" fmla="*/ 272 w 2281"/>
                <a:gd name="T59" fmla="*/ 106 h 1190"/>
                <a:gd name="T60" fmla="*/ 279 w 2281"/>
                <a:gd name="T61" fmla="*/ 140 h 1190"/>
                <a:gd name="T62" fmla="*/ 287 w 2281"/>
                <a:gd name="T63" fmla="*/ 96 h 1190"/>
                <a:gd name="T64" fmla="*/ 296 w 2281"/>
                <a:gd name="T65" fmla="*/ 83 h 1190"/>
                <a:gd name="T66" fmla="*/ 337 w 2281"/>
                <a:gd name="T67" fmla="*/ 43 h 1190"/>
                <a:gd name="T68" fmla="*/ 402 w 2281"/>
                <a:gd name="T69" fmla="*/ 148 h 1190"/>
                <a:gd name="T70" fmla="*/ 414 w 2281"/>
                <a:gd name="T71" fmla="*/ 73 h 1190"/>
                <a:gd name="T72" fmla="*/ 484 w 2281"/>
                <a:gd name="T73" fmla="*/ 90 h 1190"/>
                <a:gd name="T74" fmla="*/ 482 w 2281"/>
                <a:gd name="T75" fmla="*/ 0 h 1190"/>
                <a:gd name="T76" fmla="*/ 504 w 2281"/>
                <a:gd name="T77" fmla="*/ 18 h 1190"/>
                <a:gd name="T78" fmla="*/ 538 w 2281"/>
                <a:gd name="T79" fmla="*/ 39 h 1190"/>
                <a:gd name="T80" fmla="*/ 556 w 2281"/>
                <a:gd name="T81" fmla="*/ 61 h 1190"/>
                <a:gd name="T82" fmla="*/ 577 w 2281"/>
                <a:gd name="T83" fmla="*/ 89 h 1190"/>
                <a:gd name="T84" fmla="*/ 602 w 2281"/>
                <a:gd name="T85" fmla="*/ 104 h 1190"/>
                <a:gd name="T86" fmla="*/ 618 w 2281"/>
                <a:gd name="T87" fmla="*/ 117 h 1190"/>
                <a:gd name="T88" fmla="*/ 606 w 2281"/>
                <a:gd name="T89" fmla="*/ 151 h 1190"/>
                <a:gd name="T90" fmla="*/ 579 w 2281"/>
                <a:gd name="T91" fmla="*/ 174 h 1190"/>
                <a:gd name="T92" fmla="*/ 557 w 2281"/>
                <a:gd name="T93" fmla="*/ 217 h 1190"/>
                <a:gd name="T94" fmla="*/ 521 w 2281"/>
                <a:gd name="T95" fmla="*/ 262 h 1190"/>
                <a:gd name="T96" fmla="*/ 482 w 2281"/>
                <a:gd name="T97" fmla="*/ 295 h 1190"/>
                <a:gd name="T98" fmla="*/ 482 w 2281"/>
                <a:gd name="T99" fmla="*/ 205 h 1190"/>
                <a:gd name="T100" fmla="*/ 454 w 2281"/>
                <a:gd name="T101" fmla="*/ 193 h 1190"/>
                <a:gd name="T102" fmla="*/ 454 w 2281"/>
                <a:gd name="T103" fmla="*/ 193 h 1190"/>
                <a:gd name="T104" fmla="*/ 454 w 2281"/>
                <a:gd name="T105" fmla="*/ 193 h 119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81"/>
                <a:gd name="T160" fmla="*/ 0 h 1190"/>
                <a:gd name="T161" fmla="*/ 2281 w 2281"/>
                <a:gd name="T162" fmla="*/ 1190 h 119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81" h="1190">
                  <a:moveTo>
                    <a:pt x="1675" y="771"/>
                  </a:moveTo>
                  <a:lnTo>
                    <a:pt x="1532" y="1026"/>
                  </a:lnTo>
                  <a:lnTo>
                    <a:pt x="1390" y="752"/>
                  </a:lnTo>
                  <a:lnTo>
                    <a:pt x="1360" y="883"/>
                  </a:lnTo>
                  <a:lnTo>
                    <a:pt x="1323" y="708"/>
                  </a:lnTo>
                  <a:lnTo>
                    <a:pt x="1288" y="850"/>
                  </a:lnTo>
                  <a:lnTo>
                    <a:pt x="1184" y="734"/>
                  </a:lnTo>
                  <a:lnTo>
                    <a:pt x="1250" y="905"/>
                  </a:lnTo>
                  <a:lnTo>
                    <a:pt x="1169" y="1093"/>
                  </a:lnTo>
                  <a:lnTo>
                    <a:pt x="1124" y="913"/>
                  </a:lnTo>
                  <a:lnTo>
                    <a:pt x="955" y="1035"/>
                  </a:lnTo>
                  <a:lnTo>
                    <a:pt x="768" y="988"/>
                  </a:lnTo>
                  <a:lnTo>
                    <a:pt x="622" y="1130"/>
                  </a:lnTo>
                  <a:lnTo>
                    <a:pt x="345" y="1190"/>
                  </a:lnTo>
                  <a:lnTo>
                    <a:pt x="0" y="1122"/>
                  </a:lnTo>
                  <a:lnTo>
                    <a:pt x="154" y="972"/>
                  </a:lnTo>
                  <a:lnTo>
                    <a:pt x="390" y="809"/>
                  </a:lnTo>
                  <a:lnTo>
                    <a:pt x="412" y="734"/>
                  </a:lnTo>
                  <a:lnTo>
                    <a:pt x="293" y="603"/>
                  </a:lnTo>
                  <a:lnTo>
                    <a:pt x="214" y="497"/>
                  </a:lnTo>
                  <a:lnTo>
                    <a:pt x="102" y="427"/>
                  </a:lnTo>
                  <a:lnTo>
                    <a:pt x="394" y="442"/>
                  </a:lnTo>
                  <a:lnTo>
                    <a:pt x="510" y="400"/>
                  </a:lnTo>
                  <a:lnTo>
                    <a:pt x="555" y="427"/>
                  </a:lnTo>
                  <a:lnTo>
                    <a:pt x="652" y="442"/>
                  </a:lnTo>
                  <a:lnTo>
                    <a:pt x="697" y="400"/>
                  </a:lnTo>
                  <a:lnTo>
                    <a:pt x="787" y="400"/>
                  </a:lnTo>
                  <a:lnTo>
                    <a:pt x="831" y="453"/>
                  </a:lnTo>
                  <a:lnTo>
                    <a:pt x="888" y="341"/>
                  </a:lnTo>
                  <a:lnTo>
                    <a:pt x="1004" y="422"/>
                  </a:lnTo>
                  <a:lnTo>
                    <a:pt x="1030" y="561"/>
                  </a:lnTo>
                  <a:lnTo>
                    <a:pt x="1060" y="385"/>
                  </a:lnTo>
                  <a:lnTo>
                    <a:pt x="1094" y="333"/>
                  </a:lnTo>
                  <a:lnTo>
                    <a:pt x="1244" y="172"/>
                  </a:lnTo>
                  <a:lnTo>
                    <a:pt x="1484" y="591"/>
                  </a:lnTo>
                  <a:lnTo>
                    <a:pt x="1528" y="292"/>
                  </a:lnTo>
                  <a:lnTo>
                    <a:pt x="1786" y="359"/>
                  </a:lnTo>
                  <a:lnTo>
                    <a:pt x="1778" y="0"/>
                  </a:lnTo>
                  <a:lnTo>
                    <a:pt x="1860" y="72"/>
                  </a:lnTo>
                  <a:lnTo>
                    <a:pt x="1985" y="157"/>
                  </a:lnTo>
                  <a:lnTo>
                    <a:pt x="2051" y="244"/>
                  </a:lnTo>
                  <a:lnTo>
                    <a:pt x="2131" y="355"/>
                  </a:lnTo>
                  <a:lnTo>
                    <a:pt x="2221" y="416"/>
                  </a:lnTo>
                  <a:lnTo>
                    <a:pt x="2281" y="469"/>
                  </a:lnTo>
                  <a:lnTo>
                    <a:pt x="2237" y="602"/>
                  </a:lnTo>
                  <a:lnTo>
                    <a:pt x="2136" y="694"/>
                  </a:lnTo>
                  <a:lnTo>
                    <a:pt x="2055" y="867"/>
                  </a:lnTo>
                  <a:lnTo>
                    <a:pt x="1922" y="1045"/>
                  </a:lnTo>
                  <a:lnTo>
                    <a:pt x="1778" y="1179"/>
                  </a:lnTo>
                  <a:lnTo>
                    <a:pt x="1778" y="819"/>
                  </a:lnTo>
                  <a:lnTo>
                    <a:pt x="1675" y="771"/>
                  </a:lnTo>
                </a:path>
              </a:pathLst>
            </a:custGeom>
            <a:solidFill>
              <a:schemeClr val="accent4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62" name="Freeform 64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7029450" y="4565650"/>
              <a:ext cx="1016000" cy="406400"/>
            </a:xfrm>
            <a:custGeom>
              <a:avLst/>
              <a:gdLst>
                <a:gd name="T0" fmla="*/ 49 w 2359"/>
                <a:gd name="T1" fmla="*/ 215 h 1025"/>
                <a:gd name="T2" fmla="*/ 128 w 2359"/>
                <a:gd name="T3" fmla="*/ 219 h 1025"/>
                <a:gd name="T4" fmla="*/ 160 w 2359"/>
                <a:gd name="T5" fmla="*/ 208 h 1025"/>
                <a:gd name="T6" fmla="*/ 172 w 2359"/>
                <a:gd name="T7" fmla="*/ 215 h 1025"/>
                <a:gd name="T8" fmla="*/ 198 w 2359"/>
                <a:gd name="T9" fmla="*/ 219 h 1025"/>
                <a:gd name="T10" fmla="*/ 210 w 2359"/>
                <a:gd name="T11" fmla="*/ 208 h 1025"/>
                <a:gd name="T12" fmla="*/ 235 w 2359"/>
                <a:gd name="T13" fmla="*/ 208 h 1025"/>
                <a:gd name="T14" fmla="*/ 247 w 2359"/>
                <a:gd name="T15" fmla="*/ 222 h 1025"/>
                <a:gd name="T16" fmla="*/ 262 w 2359"/>
                <a:gd name="T17" fmla="*/ 194 h 1025"/>
                <a:gd name="T18" fmla="*/ 294 w 2359"/>
                <a:gd name="T19" fmla="*/ 214 h 1025"/>
                <a:gd name="T20" fmla="*/ 301 w 2359"/>
                <a:gd name="T21" fmla="*/ 249 h 1025"/>
                <a:gd name="T22" fmla="*/ 309 w 2359"/>
                <a:gd name="T23" fmla="*/ 205 h 1025"/>
                <a:gd name="T24" fmla="*/ 318 w 2359"/>
                <a:gd name="T25" fmla="*/ 192 h 1025"/>
                <a:gd name="T26" fmla="*/ 359 w 2359"/>
                <a:gd name="T27" fmla="*/ 151 h 1025"/>
                <a:gd name="T28" fmla="*/ 424 w 2359"/>
                <a:gd name="T29" fmla="*/ 256 h 1025"/>
                <a:gd name="T30" fmla="*/ 436 w 2359"/>
                <a:gd name="T31" fmla="*/ 181 h 1025"/>
                <a:gd name="T32" fmla="*/ 506 w 2359"/>
                <a:gd name="T33" fmla="*/ 198 h 1025"/>
                <a:gd name="T34" fmla="*/ 504 w 2359"/>
                <a:gd name="T35" fmla="*/ 108 h 1025"/>
                <a:gd name="T36" fmla="*/ 526 w 2359"/>
                <a:gd name="T37" fmla="*/ 126 h 1025"/>
                <a:gd name="T38" fmla="*/ 560 w 2359"/>
                <a:gd name="T39" fmla="*/ 148 h 1025"/>
                <a:gd name="T40" fmla="*/ 578 w 2359"/>
                <a:gd name="T41" fmla="*/ 169 h 1025"/>
                <a:gd name="T42" fmla="*/ 599 w 2359"/>
                <a:gd name="T43" fmla="*/ 197 h 1025"/>
                <a:gd name="T44" fmla="*/ 624 w 2359"/>
                <a:gd name="T45" fmla="*/ 212 h 1025"/>
                <a:gd name="T46" fmla="*/ 640 w 2359"/>
                <a:gd name="T47" fmla="*/ 226 h 1025"/>
                <a:gd name="T48" fmla="*/ 591 w 2359"/>
                <a:gd name="T49" fmla="*/ 117 h 1025"/>
                <a:gd name="T50" fmla="*/ 575 w 2359"/>
                <a:gd name="T51" fmla="*/ 104 h 1025"/>
                <a:gd name="T52" fmla="*/ 550 w 2359"/>
                <a:gd name="T53" fmla="*/ 89 h 1025"/>
                <a:gd name="T54" fmla="*/ 529 w 2359"/>
                <a:gd name="T55" fmla="*/ 61 h 1025"/>
                <a:gd name="T56" fmla="*/ 511 w 2359"/>
                <a:gd name="T57" fmla="*/ 39 h 1025"/>
                <a:gd name="T58" fmla="*/ 477 w 2359"/>
                <a:gd name="T59" fmla="*/ 18 h 1025"/>
                <a:gd name="T60" fmla="*/ 455 w 2359"/>
                <a:gd name="T61" fmla="*/ 0 h 1025"/>
                <a:gd name="T62" fmla="*/ 457 w 2359"/>
                <a:gd name="T63" fmla="*/ 90 h 1025"/>
                <a:gd name="T64" fmla="*/ 387 w 2359"/>
                <a:gd name="T65" fmla="*/ 73 h 1025"/>
                <a:gd name="T66" fmla="*/ 375 w 2359"/>
                <a:gd name="T67" fmla="*/ 148 h 1025"/>
                <a:gd name="T68" fmla="*/ 310 w 2359"/>
                <a:gd name="T69" fmla="*/ 43 h 1025"/>
                <a:gd name="T70" fmla="*/ 269 w 2359"/>
                <a:gd name="T71" fmla="*/ 83 h 1025"/>
                <a:gd name="T72" fmla="*/ 260 w 2359"/>
                <a:gd name="T73" fmla="*/ 96 h 1025"/>
                <a:gd name="T74" fmla="*/ 252 w 2359"/>
                <a:gd name="T75" fmla="*/ 140 h 1025"/>
                <a:gd name="T76" fmla="*/ 245 w 2359"/>
                <a:gd name="T77" fmla="*/ 105 h 1025"/>
                <a:gd name="T78" fmla="*/ 214 w 2359"/>
                <a:gd name="T79" fmla="*/ 85 h 1025"/>
                <a:gd name="T80" fmla="*/ 198 w 2359"/>
                <a:gd name="T81" fmla="*/ 113 h 1025"/>
                <a:gd name="T82" fmla="*/ 186 w 2359"/>
                <a:gd name="T83" fmla="*/ 100 h 1025"/>
                <a:gd name="T84" fmla="*/ 162 w 2359"/>
                <a:gd name="T85" fmla="*/ 100 h 1025"/>
                <a:gd name="T86" fmla="*/ 149 w 2359"/>
                <a:gd name="T87" fmla="*/ 110 h 1025"/>
                <a:gd name="T88" fmla="*/ 123 w 2359"/>
                <a:gd name="T89" fmla="*/ 106 h 1025"/>
                <a:gd name="T90" fmla="*/ 111 w 2359"/>
                <a:gd name="T91" fmla="*/ 100 h 1025"/>
                <a:gd name="T92" fmla="*/ 79 w 2359"/>
                <a:gd name="T93" fmla="*/ 110 h 1025"/>
                <a:gd name="T94" fmla="*/ 0 w 2359"/>
                <a:gd name="T95" fmla="*/ 106 h 1025"/>
                <a:gd name="T96" fmla="*/ 49 w 2359"/>
                <a:gd name="T97" fmla="*/ 215 h 1025"/>
                <a:gd name="T98" fmla="*/ 49 w 2359"/>
                <a:gd name="T99" fmla="*/ 215 h 102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359"/>
                <a:gd name="T151" fmla="*/ 0 h 1025"/>
                <a:gd name="T152" fmla="*/ 2359 w 2359"/>
                <a:gd name="T153" fmla="*/ 1025 h 102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359" h="1025">
                  <a:moveTo>
                    <a:pt x="180" y="861"/>
                  </a:moveTo>
                  <a:lnTo>
                    <a:pt x="472" y="876"/>
                  </a:lnTo>
                  <a:lnTo>
                    <a:pt x="588" y="834"/>
                  </a:lnTo>
                  <a:lnTo>
                    <a:pt x="633" y="861"/>
                  </a:lnTo>
                  <a:lnTo>
                    <a:pt x="730" y="876"/>
                  </a:lnTo>
                  <a:lnTo>
                    <a:pt x="775" y="834"/>
                  </a:lnTo>
                  <a:lnTo>
                    <a:pt x="865" y="834"/>
                  </a:lnTo>
                  <a:lnTo>
                    <a:pt x="909" y="887"/>
                  </a:lnTo>
                  <a:lnTo>
                    <a:pt x="966" y="775"/>
                  </a:lnTo>
                  <a:lnTo>
                    <a:pt x="1082" y="856"/>
                  </a:lnTo>
                  <a:lnTo>
                    <a:pt x="1108" y="995"/>
                  </a:lnTo>
                  <a:lnTo>
                    <a:pt x="1138" y="819"/>
                  </a:lnTo>
                  <a:lnTo>
                    <a:pt x="1172" y="767"/>
                  </a:lnTo>
                  <a:lnTo>
                    <a:pt x="1322" y="606"/>
                  </a:lnTo>
                  <a:lnTo>
                    <a:pt x="1562" y="1025"/>
                  </a:lnTo>
                  <a:lnTo>
                    <a:pt x="1606" y="726"/>
                  </a:lnTo>
                  <a:lnTo>
                    <a:pt x="1864" y="793"/>
                  </a:lnTo>
                  <a:lnTo>
                    <a:pt x="1856" y="434"/>
                  </a:lnTo>
                  <a:lnTo>
                    <a:pt x="1938" y="506"/>
                  </a:lnTo>
                  <a:lnTo>
                    <a:pt x="2063" y="591"/>
                  </a:lnTo>
                  <a:lnTo>
                    <a:pt x="2129" y="678"/>
                  </a:lnTo>
                  <a:lnTo>
                    <a:pt x="2209" y="789"/>
                  </a:lnTo>
                  <a:lnTo>
                    <a:pt x="2299" y="850"/>
                  </a:lnTo>
                  <a:lnTo>
                    <a:pt x="2359" y="903"/>
                  </a:lnTo>
                  <a:lnTo>
                    <a:pt x="2179" y="469"/>
                  </a:lnTo>
                  <a:lnTo>
                    <a:pt x="2119" y="416"/>
                  </a:lnTo>
                  <a:lnTo>
                    <a:pt x="2029" y="355"/>
                  </a:lnTo>
                  <a:lnTo>
                    <a:pt x="1950" y="244"/>
                  </a:lnTo>
                  <a:lnTo>
                    <a:pt x="1884" y="157"/>
                  </a:lnTo>
                  <a:lnTo>
                    <a:pt x="1759" y="72"/>
                  </a:lnTo>
                  <a:lnTo>
                    <a:pt x="1677" y="0"/>
                  </a:lnTo>
                  <a:lnTo>
                    <a:pt x="1685" y="359"/>
                  </a:lnTo>
                  <a:lnTo>
                    <a:pt x="1427" y="292"/>
                  </a:lnTo>
                  <a:lnTo>
                    <a:pt x="1381" y="591"/>
                  </a:lnTo>
                  <a:lnTo>
                    <a:pt x="1142" y="171"/>
                  </a:lnTo>
                  <a:lnTo>
                    <a:pt x="992" y="333"/>
                  </a:lnTo>
                  <a:lnTo>
                    <a:pt x="958" y="385"/>
                  </a:lnTo>
                  <a:lnTo>
                    <a:pt x="929" y="561"/>
                  </a:lnTo>
                  <a:lnTo>
                    <a:pt x="903" y="422"/>
                  </a:lnTo>
                  <a:lnTo>
                    <a:pt x="787" y="341"/>
                  </a:lnTo>
                  <a:lnTo>
                    <a:pt x="730" y="452"/>
                  </a:lnTo>
                  <a:lnTo>
                    <a:pt x="685" y="400"/>
                  </a:lnTo>
                  <a:lnTo>
                    <a:pt x="596" y="400"/>
                  </a:lnTo>
                  <a:lnTo>
                    <a:pt x="550" y="442"/>
                  </a:lnTo>
                  <a:lnTo>
                    <a:pt x="452" y="426"/>
                  </a:lnTo>
                  <a:lnTo>
                    <a:pt x="408" y="400"/>
                  </a:lnTo>
                  <a:lnTo>
                    <a:pt x="292" y="442"/>
                  </a:lnTo>
                  <a:lnTo>
                    <a:pt x="0" y="426"/>
                  </a:lnTo>
                  <a:lnTo>
                    <a:pt x="180" y="861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63" name="Freeform 65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7029450" y="4565650"/>
              <a:ext cx="1016000" cy="406400"/>
            </a:xfrm>
            <a:custGeom>
              <a:avLst/>
              <a:gdLst>
                <a:gd name="T0" fmla="*/ 49 w 2359"/>
                <a:gd name="T1" fmla="*/ 215 h 1025"/>
                <a:gd name="T2" fmla="*/ 128 w 2359"/>
                <a:gd name="T3" fmla="*/ 219 h 1025"/>
                <a:gd name="T4" fmla="*/ 160 w 2359"/>
                <a:gd name="T5" fmla="*/ 208 h 1025"/>
                <a:gd name="T6" fmla="*/ 172 w 2359"/>
                <a:gd name="T7" fmla="*/ 215 h 1025"/>
                <a:gd name="T8" fmla="*/ 198 w 2359"/>
                <a:gd name="T9" fmla="*/ 219 h 1025"/>
                <a:gd name="T10" fmla="*/ 210 w 2359"/>
                <a:gd name="T11" fmla="*/ 208 h 1025"/>
                <a:gd name="T12" fmla="*/ 235 w 2359"/>
                <a:gd name="T13" fmla="*/ 208 h 1025"/>
                <a:gd name="T14" fmla="*/ 247 w 2359"/>
                <a:gd name="T15" fmla="*/ 222 h 1025"/>
                <a:gd name="T16" fmla="*/ 262 w 2359"/>
                <a:gd name="T17" fmla="*/ 194 h 1025"/>
                <a:gd name="T18" fmla="*/ 294 w 2359"/>
                <a:gd name="T19" fmla="*/ 214 h 1025"/>
                <a:gd name="T20" fmla="*/ 301 w 2359"/>
                <a:gd name="T21" fmla="*/ 249 h 1025"/>
                <a:gd name="T22" fmla="*/ 309 w 2359"/>
                <a:gd name="T23" fmla="*/ 205 h 1025"/>
                <a:gd name="T24" fmla="*/ 318 w 2359"/>
                <a:gd name="T25" fmla="*/ 192 h 1025"/>
                <a:gd name="T26" fmla="*/ 359 w 2359"/>
                <a:gd name="T27" fmla="*/ 151 h 1025"/>
                <a:gd name="T28" fmla="*/ 424 w 2359"/>
                <a:gd name="T29" fmla="*/ 256 h 1025"/>
                <a:gd name="T30" fmla="*/ 436 w 2359"/>
                <a:gd name="T31" fmla="*/ 181 h 1025"/>
                <a:gd name="T32" fmla="*/ 506 w 2359"/>
                <a:gd name="T33" fmla="*/ 198 h 1025"/>
                <a:gd name="T34" fmla="*/ 504 w 2359"/>
                <a:gd name="T35" fmla="*/ 108 h 1025"/>
                <a:gd name="T36" fmla="*/ 526 w 2359"/>
                <a:gd name="T37" fmla="*/ 126 h 1025"/>
                <a:gd name="T38" fmla="*/ 560 w 2359"/>
                <a:gd name="T39" fmla="*/ 148 h 1025"/>
                <a:gd name="T40" fmla="*/ 578 w 2359"/>
                <a:gd name="T41" fmla="*/ 169 h 1025"/>
                <a:gd name="T42" fmla="*/ 599 w 2359"/>
                <a:gd name="T43" fmla="*/ 197 h 1025"/>
                <a:gd name="T44" fmla="*/ 624 w 2359"/>
                <a:gd name="T45" fmla="*/ 212 h 1025"/>
                <a:gd name="T46" fmla="*/ 640 w 2359"/>
                <a:gd name="T47" fmla="*/ 226 h 1025"/>
                <a:gd name="T48" fmla="*/ 591 w 2359"/>
                <a:gd name="T49" fmla="*/ 117 h 1025"/>
                <a:gd name="T50" fmla="*/ 575 w 2359"/>
                <a:gd name="T51" fmla="*/ 104 h 1025"/>
                <a:gd name="T52" fmla="*/ 550 w 2359"/>
                <a:gd name="T53" fmla="*/ 89 h 1025"/>
                <a:gd name="T54" fmla="*/ 529 w 2359"/>
                <a:gd name="T55" fmla="*/ 61 h 1025"/>
                <a:gd name="T56" fmla="*/ 511 w 2359"/>
                <a:gd name="T57" fmla="*/ 39 h 1025"/>
                <a:gd name="T58" fmla="*/ 477 w 2359"/>
                <a:gd name="T59" fmla="*/ 18 h 1025"/>
                <a:gd name="T60" fmla="*/ 455 w 2359"/>
                <a:gd name="T61" fmla="*/ 0 h 1025"/>
                <a:gd name="T62" fmla="*/ 457 w 2359"/>
                <a:gd name="T63" fmla="*/ 90 h 1025"/>
                <a:gd name="T64" fmla="*/ 387 w 2359"/>
                <a:gd name="T65" fmla="*/ 73 h 1025"/>
                <a:gd name="T66" fmla="*/ 375 w 2359"/>
                <a:gd name="T67" fmla="*/ 148 h 1025"/>
                <a:gd name="T68" fmla="*/ 310 w 2359"/>
                <a:gd name="T69" fmla="*/ 43 h 1025"/>
                <a:gd name="T70" fmla="*/ 269 w 2359"/>
                <a:gd name="T71" fmla="*/ 83 h 1025"/>
                <a:gd name="T72" fmla="*/ 260 w 2359"/>
                <a:gd name="T73" fmla="*/ 96 h 1025"/>
                <a:gd name="T74" fmla="*/ 252 w 2359"/>
                <a:gd name="T75" fmla="*/ 140 h 1025"/>
                <a:gd name="T76" fmla="*/ 245 w 2359"/>
                <a:gd name="T77" fmla="*/ 105 h 1025"/>
                <a:gd name="T78" fmla="*/ 214 w 2359"/>
                <a:gd name="T79" fmla="*/ 85 h 1025"/>
                <a:gd name="T80" fmla="*/ 198 w 2359"/>
                <a:gd name="T81" fmla="*/ 113 h 1025"/>
                <a:gd name="T82" fmla="*/ 186 w 2359"/>
                <a:gd name="T83" fmla="*/ 100 h 1025"/>
                <a:gd name="T84" fmla="*/ 162 w 2359"/>
                <a:gd name="T85" fmla="*/ 100 h 1025"/>
                <a:gd name="T86" fmla="*/ 149 w 2359"/>
                <a:gd name="T87" fmla="*/ 110 h 1025"/>
                <a:gd name="T88" fmla="*/ 123 w 2359"/>
                <a:gd name="T89" fmla="*/ 106 h 1025"/>
                <a:gd name="T90" fmla="*/ 111 w 2359"/>
                <a:gd name="T91" fmla="*/ 100 h 1025"/>
                <a:gd name="T92" fmla="*/ 79 w 2359"/>
                <a:gd name="T93" fmla="*/ 110 h 1025"/>
                <a:gd name="T94" fmla="*/ 0 w 2359"/>
                <a:gd name="T95" fmla="*/ 106 h 1025"/>
                <a:gd name="T96" fmla="*/ 49 w 2359"/>
                <a:gd name="T97" fmla="*/ 215 h 1025"/>
                <a:gd name="T98" fmla="*/ 49 w 2359"/>
                <a:gd name="T99" fmla="*/ 215 h 1025"/>
                <a:gd name="T100" fmla="*/ 49 w 2359"/>
                <a:gd name="T101" fmla="*/ 215 h 102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359"/>
                <a:gd name="T154" fmla="*/ 0 h 1025"/>
                <a:gd name="T155" fmla="*/ 2359 w 2359"/>
                <a:gd name="T156" fmla="*/ 1025 h 102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359" h="1025">
                  <a:moveTo>
                    <a:pt x="180" y="861"/>
                  </a:moveTo>
                  <a:lnTo>
                    <a:pt x="472" y="876"/>
                  </a:lnTo>
                  <a:lnTo>
                    <a:pt x="588" y="834"/>
                  </a:lnTo>
                  <a:lnTo>
                    <a:pt x="633" y="861"/>
                  </a:lnTo>
                  <a:lnTo>
                    <a:pt x="730" y="876"/>
                  </a:lnTo>
                  <a:lnTo>
                    <a:pt x="775" y="834"/>
                  </a:lnTo>
                  <a:lnTo>
                    <a:pt x="865" y="834"/>
                  </a:lnTo>
                  <a:lnTo>
                    <a:pt x="909" y="887"/>
                  </a:lnTo>
                  <a:lnTo>
                    <a:pt x="966" y="775"/>
                  </a:lnTo>
                  <a:lnTo>
                    <a:pt x="1082" y="856"/>
                  </a:lnTo>
                  <a:lnTo>
                    <a:pt x="1108" y="995"/>
                  </a:lnTo>
                  <a:lnTo>
                    <a:pt x="1138" y="819"/>
                  </a:lnTo>
                  <a:lnTo>
                    <a:pt x="1172" y="767"/>
                  </a:lnTo>
                  <a:lnTo>
                    <a:pt x="1322" y="606"/>
                  </a:lnTo>
                  <a:lnTo>
                    <a:pt x="1562" y="1025"/>
                  </a:lnTo>
                  <a:lnTo>
                    <a:pt x="1606" y="726"/>
                  </a:lnTo>
                  <a:lnTo>
                    <a:pt x="1864" y="793"/>
                  </a:lnTo>
                  <a:lnTo>
                    <a:pt x="1856" y="434"/>
                  </a:lnTo>
                  <a:lnTo>
                    <a:pt x="1938" y="506"/>
                  </a:lnTo>
                  <a:lnTo>
                    <a:pt x="2063" y="591"/>
                  </a:lnTo>
                  <a:lnTo>
                    <a:pt x="2129" y="678"/>
                  </a:lnTo>
                  <a:lnTo>
                    <a:pt x="2209" y="789"/>
                  </a:lnTo>
                  <a:lnTo>
                    <a:pt x="2299" y="850"/>
                  </a:lnTo>
                  <a:lnTo>
                    <a:pt x="2359" y="903"/>
                  </a:lnTo>
                  <a:lnTo>
                    <a:pt x="2179" y="469"/>
                  </a:lnTo>
                  <a:lnTo>
                    <a:pt x="2119" y="416"/>
                  </a:lnTo>
                  <a:lnTo>
                    <a:pt x="2029" y="355"/>
                  </a:lnTo>
                  <a:lnTo>
                    <a:pt x="1950" y="244"/>
                  </a:lnTo>
                  <a:lnTo>
                    <a:pt x="1884" y="157"/>
                  </a:lnTo>
                  <a:lnTo>
                    <a:pt x="1759" y="72"/>
                  </a:lnTo>
                  <a:lnTo>
                    <a:pt x="1677" y="0"/>
                  </a:lnTo>
                  <a:lnTo>
                    <a:pt x="1685" y="359"/>
                  </a:lnTo>
                  <a:lnTo>
                    <a:pt x="1427" y="292"/>
                  </a:lnTo>
                  <a:lnTo>
                    <a:pt x="1381" y="591"/>
                  </a:lnTo>
                  <a:lnTo>
                    <a:pt x="1142" y="171"/>
                  </a:lnTo>
                  <a:lnTo>
                    <a:pt x="992" y="333"/>
                  </a:lnTo>
                  <a:lnTo>
                    <a:pt x="958" y="385"/>
                  </a:lnTo>
                  <a:lnTo>
                    <a:pt x="929" y="561"/>
                  </a:lnTo>
                  <a:lnTo>
                    <a:pt x="903" y="422"/>
                  </a:lnTo>
                  <a:lnTo>
                    <a:pt x="787" y="341"/>
                  </a:lnTo>
                  <a:lnTo>
                    <a:pt x="730" y="452"/>
                  </a:lnTo>
                  <a:lnTo>
                    <a:pt x="685" y="400"/>
                  </a:lnTo>
                  <a:lnTo>
                    <a:pt x="596" y="400"/>
                  </a:lnTo>
                  <a:lnTo>
                    <a:pt x="550" y="442"/>
                  </a:lnTo>
                  <a:lnTo>
                    <a:pt x="452" y="426"/>
                  </a:lnTo>
                  <a:lnTo>
                    <a:pt x="408" y="400"/>
                  </a:lnTo>
                  <a:lnTo>
                    <a:pt x="292" y="442"/>
                  </a:lnTo>
                  <a:lnTo>
                    <a:pt x="0" y="426"/>
                  </a:lnTo>
                  <a:lnTo>
                    <a:pt x="180" y="861"/>
                  </a:lnTo>
                </a:path>
              </a:pathLst>
            </a:custGeom>
            <a:solidFill>
              <a:schemeClr val="accent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64" name="Line 66"/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auto">
            <a:xfrm>
              <a:off x="7751763" y="4572000"/>
              <a:ext cx="76200" cy="169863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65" name="Line 67"/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auto">
            <a:xfrm>
              <a:off x="7751763" y="4572000"/>
              <a:ext cx="76200" cy="16986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66" name="Line 68"/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auto">
            <a:xfrm>
              <a:off x="7648575" y="4689475"/>
              <a:ext cx="76200" cy="169863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67" name="Line 69"/>
            <p:cNvSpPr>
              <a:spLocks noChangeShapeType="1"/>
            </p:cNvSpPr>
            <p:nvPr>
              <p:custDataLst>
                <p:tags r:id="rId32"/>
              </p:custDataLst>
            </p:nvPr>
          </p:nvSpPr>
          <p:spPr bwMode="auto">
            <a:xfrm>
              <a:off x="7648575" y="4689475"/>
              <a:ext cx="76200" cy="16986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68" name="Line 70"/>
            <p:cNvSpPr>
              <a:spLocks noChangeShapeType="1"/>
            </p:cNvSpPr>
            <p:nvPr>
              <p:custDataLst>
                <p:tags r:id="rId33"/>
              </p:custDataLst>
            </p:nvPr>
          </p:nvSpPr>
          <p:spPr bwMode="auto">
            <a:xfrm>
              <a:off x="7626350" y="4805363"/>
              <a:ext cx="76200" cy="169863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69" name="Line 71"/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auto">
            <a:xfrm>
              <a:off x="7626350" y="4805363"/>
              <a:ext cx="76200" cy="16986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70" name="Line 72"/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auto">
            <a:xfrm>
              <a:off x="7521575" y="4640263"/>
              <a:ext cx="74612" cy="168275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71" name="Line 73"/>
            <p:cNvSpPr>
              <a:spLocks noChangeShapeType="1"/>
            </p:cNvSpPr>
            <p:nvPr>
              <p:custDataLst>
                <p:tags r:id="rId36"/>
              </p:custDataLst>
            </p:nvPr>
          </p:nvSpPr>
          <p:spPr bwMode="auto">
            <a:xfrm>
              <a:off x="7521575" y="4640263"/>
              <a:ext cx="74612" cy="16827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72" name="Line 74"/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auto">
            <a:xfrm>
              <a:off x="7429500" y="4787900"/>
              <a:ext cx="76200" cy="161925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73" name="Line 75"/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auto">
            <a:xfrm>
              <a:off x="7429500" y="4787900"/>
              <a:ext cx="76200" cy="16192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74" name="Line 76"/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auto">
            <a:xfrm>
              <a:off x="7346950" y="4748213"/>
              <a:ext cx="74612" cy="169863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75" name="Line 7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>
              <a:off x="7346950" y="4748213"/>
              <a:ext cx="74612" cy="16986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76" name="Line 7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>
              <a:off x="7265988" y="4745038"/>
              <a:ext cx="74612" cy="169863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77" name="Line 79"/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auto">
            <a:xfrm>
              <a:off x="7265988" y="4745038"/>
              <a:ext cx="74612" cy="16986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78" name="Line 80"/>
            <p:cNvSpPr>
              <a:spLocks noChangeShapeType="1"/>
            </p:cNvSpPr>
            <p:nvPr>
              <p:custDataLst>
                <p:tags r:id="rId43"/>
              </p:custDataLst>
            </p:nvPr>
          </p:nvSpPr>
          <p:spPr bwMode="auto">
            <a:xfrm>
              <a:off x="7197725" y="4725988"/>
              <a:ext cx="76200" cy="168275"/>
            </a:xfrm>
            <a:prstGeom prst="line">
              <a:avLst/>
            </a:prstGeom>
            <a:noFill/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79" name="Line 81"/>
            <p:cNvSpPr>
              <a:spLocks noChangeShapeType="1"/>
            </p:cNvSpPr>
            <p:nvPr>
              <p:custDataLst>
                <p:tags r:id="rId44"/>
              </p:custDataLst>
            </p:nvPr>
          </p:nvSpPr>
          <p:spPr bwMode="auto">
            <a:xfrm>
              <a:off x="7197725" y="4725988"/>
              <a:ext cx="76200" cy="16827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de-DE" sz="1400"/>
            </a:p>
          </p:txBody>
        </p:sp>
        <p:sp>
          <p:nvSpPr>
            <p:cNvPr id="80" name="Freeform 8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6986588" y="4935538"/>
              <a:ext cx="252412" cy="247650"/>
            </a:xfrm>
            <a:custGeom>
              <a:avLst/>
              <a:gdLst>
                <a:gd name="T0" fmla="*/ 159 w 591"/>
                <a:gd name="T1" fmla="*/ 58 h 624"/>
                <a:gd name="T2" fmla="*/ 154 w 591"/>
                <a:gd name="T3" fmla="*/ 80 h 624"/>
                <a:gd name="T4" fmla="*/ 90 w 591"/>
                <a:gd name="T5" fmla="*/ 119 h 624"/>
                <a:gd name="T6" fmla="*/ 48 w 591"/>
                <a:gd name="T7" fmla="*/ 156 h 624"/>
                <a:gd name="T8" fmla="*/ 0 w 591"/>
                <a:gd name="T9" fmla="*/ 47 h 624"/>
                <a:gd name="T10" fmla="*/ 41 w 591"/>
                <a:gd name="T11" fmla="*/ 9 h 624"/>
                <a:gd name="T12" fmla="*/ 106 w 591"/>
                <a:gd name="T13" fmla="*/ 0 h 624"/>
                <a:gd name="T14" fmla="*/ 129 w 591"/>
                <a:gd name="T15" fmla="*/ 27 h 624"/>
                <a:gd name="T16" fmla="*/ 159 w 591"/>
                <a:gd name="T17" fmla="*/ 58 h 624"/>
                <a:gd name="T18" fmla="*/ 159 w 591"/>
                <a:gd name="T19" fmla="*/ 58 h 6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1"/>
                <a:gd name="T31" fmla="*/ 0 h 624"/>
                <a:gd name="T32" fmla="*/ 591 w 591"/>
                <a:gd name="T33" fmla="*/ 624 h 6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1" h="624">
                  <a:moveTo>
                    <a:pt x="591" y="233"/>
                  </a:moveTo>
                  <a:lnTo>
                    <a:pt x="572" y="321"/>
                  </a:lnTo>
                  <a:lnTo>
                    <a:pt x="336" y="476"/>
                  </a:lnTo>
                  <a:lnTo>
                    <a:pt x="178" y="624"/>
                  </a:lnTo>
                  <a:lnTo>
                    <a:pt x="0" y="187"/>
                  </a:lnTo>
                  <a:lnTo>
                    <a:pt x="153" y="37"/>
                  </a:lnTo>
                  <a:lnTo>
                    <a:pt x="393" y="0"/>
                  </a:lnTo>
                  <a:lnTo>
                    <a:pt x="480" y="109"/>
                  </a:lnTo>
                  <a:lnTo>
                    <a:pt x="591" y="23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  <p:sp>
          <p:nvSpPr>
            <p:cNvPr id="81" name="Freeform 8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6986588" y="4935538"/>
              <a:ext cx="252412" cy="247650"/>
            </a:xfrm>
            <a:custGeom>
              <a:avLst/>
              <a:gdLst>
                <a:gd name="T0" fmla="*/ 159 w 591"/>
                <a:gd name="T1" fmla="*/ 58 h 624"/>
                <a:gd name="T2" fmla="*/ 154 w 591"/>
                <a:gd name="T3" fmla="*/ 80 h 624"/>
                <a:gd name="T4" fmla="*/ 90 w 591"/>
                <a:gd name="T5" fmla="*/ 119 h 624"/>
                <a:gd name="T6" fmla="*/ 48 w 591"/>
                <a:gd name="T7" fmla="*/ 156 h 624"/>
                <a:gd name="T8" fmla="*/ 0 w 591"/>
                <a:gd name="T9" fmla="*/ 47 h 624"/>
                <a:gd name="T10" fmla="*/ 41 w 591"/>
                <a:gd name="T11" fmla="*/ 9 h 624"/>
                <a:gd name="T12" fmla="*/ 106 w 591"/>
                <a:gd name="T13" fmla="*/ 0 h 624"/>
                <a:gd name="T14" fmla="*/ 129 w 591"/>
                <a:gd name="T15" fmla="*/ 27 h 624"/>
                <a:gd name="T16" fmla="*/ 159 w 591"/>
                <a:gd name="T17" fmla="*/ 58 h 624"/>
                <a:gd name="T18" fmla="*/ 159 w 591"/>
                <a:gd name="T19" fmla="*/ 58 h 624"/>
                <a:gd name="T20" fmla="*/ 159 w 591"/>
                <a:gd name="T21" fmla="*/ 58 h 6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1"/>
                <a:gd name="T34" fmla="*/ 0 h 624"/>
                <a:gd name="T35" fmla="*/ 591 w 591"/>
                <a:gd name="T36" fmla="*/ 624 h 6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1" h="624">
                  <a:moveTo>
                    <a:pt x="591" y="233"/>
                  </a:moveTo>
                  <a:lnTo>
                    <a:pt x="572" y="321"/>
                  </a:lnTo>
                  <a:lnTo>
                    <a:pt x="336" y="476"/>
                  </a:lnTo>
                  <a:lnTo>
                    <a:pt x="178" y="624"/>
                  </a:lnTo>
                  <a:lnTo>
                    <a:pt x="0" y="187"/>
                  </a:lnTo>
                  <a:lnTo>
                    <a:pt x="153" y="37"/>
                  </a:lnTo>
                  <a:lnTo>
                    <a:pt x="393" y="0"/>
                  </a:lnTo>
                  <a:lnTo>
                    <a:pt x="480" y="109"/>
                  </a:lnTo>
                  <a:lnTo>
                    <a:pt x="591" y="233"/>
                  </a:lnTo>
                </a:path>
              </a:pathLst>
            </a:custGeom>
            <a:solidFill>
              <a:schemeClr val="accent3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</a:pPr>
              <a:endParaRPr lang="fr-FR" sz="1400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58754" name="think-cell Slide" r:id="rId51" imgW="0" imgH="0" progId="">
              <p:embed/>
            </p:oleObj>
          </a:graphicData>
        </a:graphic>
      </p:graphicFrame>
      <p:sp>
        <p:nvSpPr>
          <p:cNvPr id="13" name="Rectangle 1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7" name="Rectangle 76"/>
          <p:cNvSpPr/>
          <p:nvPr>
            <p:custDataLst>
              <p:tags r:id="rId3"/>
            </p:custDataLst>
          </p:nvPr>
        </p:nvSpPr>
        <p:spPr>
          <a:xfrm>
            <a:off x="250825" y="2097089"/>
            <a:ext cx="8643906" cy="3698069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t"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600" b="1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Consumer mainly perceive the EES offerings as to complex and to expensive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>
            <p:custDataLst>
              <p:tags r:id="rId6"/>
            </p:custDataLst>
          </p:nvPr>
        </p:nvSpPr>
        <p:spPr>
          <a:xfrm>
            <a:off x="244799" y="1616400"/>
            <a:ext cx="7794796" cy="249299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indent="266700">
              <a:lnSpc>
                <a:spcPct val="90000"/>
              </a:lnSpc>
              <a:spcBef>
                <a:spcPts val="0"/>
              </a:spcBef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Consumer p</a:t>
            </a:r>
            <a:r>
              <a:rPr lang="en-US" b="1" dirty="0" smtClean="0">
                <a:cs typeface="Arial" pitchFamily="34" charset="0"/>
              </a:rPr>
              <a:t>erspective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on </a:t>
            </a:r>
            <a:r>
              <a:rPr lang="en-US" b="1" dirty="0" smtClean="0"/>
              <a:t>Embedded Electronic Systems </a:t>
            </a:r>
            <a:endParaRPr lang="en-US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>
            <p:custDataLst>
              <p:tags r:id="rId7"/>
            </p:custDataLst>
          </p:nvPr>
        </p:nvSpPr>
        <p:spPr>
          <a:xfrm>
            <a:off x="84828" y="2197100"/>
            <a:ext cx="4553692" cy="44319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Willingness to pay an </a:t>
            </a:r>
            <a:br>
              <a:rPr lang="en-US" sz="1600" b="1" dirty="0" smtClean="0">
                <a:latin typeface="Arial "/>
              </a:rPr>
            </a:br>
            <a:r>
              <a:rPr lang="en-US" sz="1600" b="1" dirty="0" smtClean="0">
                <a:latin typeface="Arial "/>
              </a:rPr>
              <a:t>extra fee per service?</a:t>
            </a:r>
          </a:p>
        </p:txBody>
      </p:sp>
      <p:sp>
        <p:nvSpPr>
          <p:cNvPr id="51" name="TextBox 50"/>
          <p:cNvSpPr txBox="1"/>
          <p:nvPr>
            <p:custDataLst>
              <p:tags r:id="rId8"/>
            </p:custDataLst>
          </p:nvPr>
        </p:nvSpPr>
        <p:spPr>
          <a:xfrm>
            <a:off x="4571999" y="2197100"/>
            <a:ext cx="4310063" cy="44319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How could consumer oriented </a:t>
            </a:r>
            <a:br>
              <a:rPr lang="en-US" sz="1600" b="1" dirty="0" smtClean="0">
                <a:latin typeface="Arial "/>
              </a:rPr>
            </a:br>
            <a:r>
              <a:rPr lang="en-US" sz="1600" b="1" dirty="0" smtClean="0">
                <a:latin typeface="Arial "/>
              </a:rPr>
              <a:t>services be improved?</a:t>
            </a:r>
          </a:p>
        </p:txBody>
      </p:sp>
      <p:sp>
        <p:nvSpPr>
          <p:cNvPr id="78" name="TextBox 77"/>
          <p:cNvSpPr txBox="1"/>
          <p:nvPr>
            <p:custDataLst>
              <p:tags r:id="rId9"/>
            </p:custDataLst>
          </p:nvPr>
        </p:nvSpPr>
        <p:spPr>
          <a:xfrm>
            <a:off x="248920" y="5997507"/>
            <a:ext cx="8648700" cy="403187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  <a:cs typeface="Arial"/>
              </a:rPr>
              <a:t>There is a lack of consumer awareness on what’s possible </a:t>
            </a:r>
          </a:p>
        </p:txBody>
      </p:sp>
      <p:sp>
        <p:nvSpPr>
          <p:cNvPr id="80" name="Oval 79"/>
          <p:cNvSpPr/>
          <p:nvPr>
            <p:custDataLst>
              <p:tags r:id="rId10"/>
            </p:custDataLst>
          </p:nvPr>
        </p:nvSpPr>
        <p:spPr>
          <a:xfrm>
            <a:off x="143540" y="1592796"/>
            <a:ext cx="288000" cy="288000"/>
          </a:xfrm>
          <a:prstGeom prst="ellipse">
            <a:avLst/>
          </a:prstGeom>
          <a:solidFill>
            <a:schemeClr val="bg2"/>
          </a:solidFill>
          <a:ln w="381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</a:p>
        </p:txBody>
      </p:sp>
      <p:graphicFrame>
        <p:nvGraphicFramePr>
          <p:cNvPr id="86" name="Object 85"/>
          <p:cNvGraphicFramePr>
            <a:graphicFrameLocks noChangeAspect="1"/>
          </p:cNvGraphicFramePr>
          <p:nvPr/>
        </p:nvGraphicFramePr>
        <p:xfrm>
          <a:off x="5418137" y="2693987"/>
          <a:ext cx="2952784" cy="2819400"/>
        </p:xfrm>
        <a:graphic>
          <a:graphicData uri="http://schemas.openxmlformats.org/presentationml/2006/ole">
            <p:oleObj spid="_x0000_s458758" name="Chart" r:id="rId52" imgW="2952784" imgH="2819400" progId="MSGraph.Chart.8">
              <p:embed followColorScheme="full"/>
            </p:oleObj>
          </a:graphicData>
        </a:graphic>
      </p:graphicFrame>
      <p:cxnSp>
        <p:nvCxnSpPr>
          <p:cNvPr id="89" name="Straight Connector 88"/>
          <p:cNvCxnSpPr/>
          <p:nvPr>
            <p:custDataLst>
              <p:tags r:id="rId11"/>
            </p:custDataLst>
          </p:nvPr>
        </p:nvCxnSpPr>
        <p:spPr bwMode="auto">
          <a:xfrm>
            <a:off x="7389812" y="5218112"/>
            <a:ext cx="857250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>
            <p:custDataLst>
              <p:tags r:id="rId12"/>
            </p:custDataLst>
          </p:nvPr>
        </p:nvCxnSpPr>
        <p:spPr bwMode="auto">
          <a:xfrm>
            <a:off x="7389812" y="4941887"/>
            <a:ext cx="857250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>
            <p:custDataLst>
              <p:tags r:id="rId13"/>
            </p:custDataLst>
          </p:nvPr>
        </p:nvCxnSpPr>
        <p:spPr bwMode="auto">
          <a:xfrm>
            <a:off x="8247062" y="4941887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>
            <p:custDataLst>
              <p:tags r:id="rId14"/>
            </p:custDataLst>
          </p:nvPr>
        </p:nvCxnSpPr>
        <p:spPr bwMode="auto">
          <a:xfrm>
            <a:off x="6570662" y="4427536"/>
            <a:ext cx="0" cy="285750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>
            <p:custDataLst>
              <p:tags r:id="rId15"/>
            </p:custDataLst>
          </p:nvPr>
        </p:nvCxnSpPr>
        <p:spPr bwMode="auto">
          <a:xfrm>
            <a:off x="6570662" y="4713287"/>
            <a:ext cx="1676400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>
            <p:custDataLst>
              <p:tags r:id="rId16"/>
            </p:custDataLst>
          </p:nvPr>
        </p:nvCxnSpPr>
        <p:spPr bwMode="auto">
          <a:xfrm>
            <a:off x="6570662" y="4427537"/>
            <a:ext cx="1676400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17"/>
            </p:custDataLst>
          </p:nvPr>
        </p:nvCxnSpPr>
        <p:spPr bwMode="auto">
          <a:xfrm>
            <a:off x="8247062" y="4427536"/>
            <a:ext cx="0" cy="28575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>
            <p:custDataLst>
              <p:tags r:id="rId18"/>
            </p:custDataLst>
          </p:nvPr>
        </p:nvCxnSpPr>
        <p:spPr bwMode="auto">
          <a:xfrm>
            <a:off x="6275387" y="3922712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>
            <p:custDataLst>
              <p:tags r:id="rId19"/>
            </p:custDataLst>
          </p:nvPr>
        </p:nvCxnSpPr>
        <p:spPr bwMode="auto">
          <a:xfrm>
            <a:off x="6275387" y="4198937"/>
            <a:ext cx="1971675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20"/>
            </p:custDataLst>
          </p:nvPr>
        </p:nvCxnSpPr>
        <p:spPr bwMode="auto">
          <a:xfrm>
            <a:off x="6275387" y="3922712"/>
            <a:ext cx="1971675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>
            <p:custDataLst>
              <p:tags r:id="rId21"/>
            </p:custDataLst>
          </p:nvPr>
        </p:nvCxnSpPr>
        <p:spPr bwMode="auto">
          <a:xfrm>
            <a:off x="8247062" y="3922712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>
            <p:custDataLst>
              <p:tags r:id="rId22"/>
            </p:custDataLst>
          </p:nvPr>
        </p:nvCxnSpPr>
        <p:spPr bwMode="auto">
          <a:xfrm>
            <a:off x="6484937" y="3408361"/>
            <a:ext cx="0" cy="285750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>
            <p:custDataLst>
              <p:tags r:id="rId23"/>
            </p:custDataLst>
          </p:nvPr>
        </p:nvCxnSpPr>
        <p:spPr bwMode="auto">
          <a:xfrm>
            <a:off x="6484937" y="3694112"/>
            <a:ext cx="1762125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>
            <p:custDataLst>
              <p:tags r:id="rId24"/>
            </p:custDataLst>
          </p:nvPr>
        </p:nvCxnSpPr>
        <p:spPr bwMode="auto">
          <a:xfrm>
            <a:off x="6484937" y="3408362"/>
            <a:ext cx="1762125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>
            <p:custDataLst>
              <p:tags r:id="rId25"/>
            </p:custDataLst>
          </p:nvPr>
        </p:nvCxnSpPr>
        <p:spPr bwMode="auto">
          <a:xfrm>
            <a:off x="8247062" y="3408361"/>
            <a:ext cx="0" cy="28575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>
            <p:custDataLst>
              <p:tags r:id="rId26"/>
            </p:custDataLst>
          </p:nvPr>
        </p:nvCxnSpPr>
        <p:spPr bwMode="auto">
          <a:xfrm>
            <a:off x="6951662" y="2903537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>
            <p:custDataLst>
              <p:tags r:id="rId27"/>
            </p:custDataLst>
          </p:nvPr>
        </p:nvCxnSpPr>
        <p:spPr bwMode="auto">
          <a:xfrm>
            <a:off x="6951662" y="3179762"/>
            <a:ext cx="1295400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28"/>
            </p:custDataLst>
          </p:nvPr>
        </p:nvCxnSpPr>
        <p:spPr bwMode="auto">
          <a:xfrm>
            <a:off x="6951662" y="2903537"/>
            <a:ext cx="1295400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>
            <p:custDataLst>
              <p:tags r:id="rId29"/>
            </p:custDataLst>
          </p:nvPr>
        </p:nvCxnSpPr>
        <p:spPr bwMode="auto">
          <a:xfrm>
            <a:off x="8247062" y="2903537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>
            <p:custDataLst>
              <p:tags r:id="rId30"/>
            </p:custDataLst>
          </p:nvPr>
        </p:nvCxnSpPr>
        <p:spPr bwMode="auto">
          <a:xfrm>
            <a:off x="7389812" y="4941887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/>
          <p:cNvSpPr/>
          <p:nvPr>
            <p:custDataLst>
              <p:tags r:id="rId31"/>
            </p:custDataLst>
          </p:nvPr>
        </p:nvSpPr>
        <p:spPr bwMode="gray">
          <a:xfrm>
            <a:off x="5797550" y="3468687"/>
            <a:ext cx="430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83AFCFF-1AA9-4B06-9847-A563C17D5670}" type="datetime'3''''''5''''''.''''''''''''''''''''''0%''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5.0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7" name="Rectangle 106"/>
          <p:cNvSpPr/>
          <p:nvPr>
            <p:custDataLst>
              <p:tags r:id="rId32"/>
            </p:custDataLst>
          </p:nvPr>
        </p:nvSpPr>
        <p:spPr bwMode="auto">
          <a:xfrm>
            <a:off x="4098925" y="2959100"/>
            <a:ext cx="731837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24BA107A-2EB4-4C0E-A8E7-46F9A390C6A8}" type="datetime'''''U''''''''''s''''eab''il''''''''it''''''''''''y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Useability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8" name="Rectangle 107"/>
          <p:cNvSpPr/>
          <p:nvPr>
            <p:custDataLst>
              <p:tags r:id="rId33"/>
            </p:custDataLst>
          </p:nvPr>
        </p:nvSpPr>
        <p:spPr bwMode="gray">
          <a:xfrm>
            <a:off x="6030912" y="2959100"/>
            <a:ext cx="430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6B2E4A8C-598B-4DBD-8825-8FFD9943A198}" type="datetime'5''''2''.''''''''''0%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52.0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5" name="Rectangle 114"/>
          <p:cNvSpPr/>
          <p:nvPr>
            <p:custDataLst>
              <p:tags r:id="rId34"/>
            </p:custDataLst>
          </p:nvPr>
        </p:nvSpPr>
        <p:spPr bwMode="gray">
          <a:xfrm>
            <a:off x="5692775" y="3978275"/>
            <a:ext cx="430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E6BA02FA-741A-4B4D-B6BB-B7E7ADED4D09}" type="datetime'''''''''27''''''''''''.0''''%''''''''''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7.0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0" name="Rectangle 109"/>
          <p:cNvSpPr/>
          <p:nvPr>
            <p:custDataLst>
              <p:tags r:id="rId35"/>
            </p:custDataLst>
          </p:nvPr>
        </p:nvSpPr>
        <p:spPr bwMode="auto">
          <a:xfrm>
            <a:off x="7418387" y="5472112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57888A01-22F4-4CFC-9F7C-93323A8F937E}" type="datetime'''''''''''''''''''''''''''''''''''''''''''''7''''5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5</a:t>
            </a:fld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1" name="Rectangle 110"/>
          <p:cNvSpPr/>
          <p:nvPr>
            <p:custDataLst>
              <p:tags r:id="rId36"/>
            </p:custDataLst>
          </p:nvPr>
        </p:nvSpPr>
        <p:spPr bwMode="auto">
          <a:xfrm>
            <a:off x="6742112" y="5472112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E510990-D710-4F2E-8A84-145F273AF911}" type="datetime'''''''''''''''''''''''''''''''''''''''5''''''''''''0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50</a:t>
            </a:fld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9" name="Rectangle 108"/>
          <p:cNvSpPr/>
          <p:nvPr>
            <p:custDataLst>
              <p:tags r:id="rId37"/>
            </p:custDataLst>
          </p:nvPr>
        </p:nvSpPr>
        <p:spPr bwMode="auto">
          <a:xfrm>
            <a:off x="6065837" y="5472112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F7707A1-0F41-4E95-80AD-2494CE15A23C}" type="datetime'''''''''''''''''''2''''''''''''''''''''''''''5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5</a:t>
            </a:fld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2" name="Rectangle 111"/>
          <p:cNvSpPr/>
          <p:nvPr>
            <p:custDataLst>
              <p:tags r:id="rId38"/>
            </p:custDataLst>
          </p:nvPr>
        </p:nvSpPr>
        <p:spPr bwMode="auto">
          <a:xfrm>
            <a:off x="8053387" y="5472112"/>
            <a:ext cx="3873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ED695201-5DA6-490B-92EB-E272B9C0B5FF}" type="datetime'''''''''''''''''1''''0''''''''''''''''''0''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00</a:t>
            </a:fld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4" name="Rectangle 113"/>
          <p:cNvSpPr/>
          <p:nvPr>
            <p:custDataLst>
              <p:tags r:id="rId39"/>
            </p:custDataLst>
          </p:nvPr>
        </p:nvSpPr>
        <p:spPr bwMode="auto">
          <a:xfrm>
            <a:off x="5432425" y="5472112"/>
            <a:ext cx="219075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EFF1D55B-C771-47D9-9856-6A4D6C388265}" type="datetime'0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0</a:t>
            </a:fld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1" name="Rectangle 120"/>
          <p:cNvSpPr/>
          <p:nvPr>
            <p:custDataLst>
              <p:tags r:id="rId40"/>
            </p:custDataLst>
          </p:nvPr>
        </p:nvSpPr>
        <p:spPr bwMode="auto">
          <a:xfrm>
            <a:off x="4086225" y="4997450"/>
            <a:ext cx="758825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03C82F48-2F91-44A8-888F-7DC9D1FD97FE}" type="datetime'''H''''''i''''''''''gh'''''''''' ''''''p''ri''''''''''ce''''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High price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3" name="Rectangle 112"/>
          <p:cNvSpPr/>
          <p:nvPr>
            <p:custDataLst>
              <p:tags r:id="rId41"/>
            </p:custDataLst>
          </p:nvPr>
        </p:nvSpPr>
        <p:spPr bwMode="auto">
          <a:xfrm>
            <a:off x="3767137" y="3468687"/>
            <a:ext cx="139700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AD33DDF-B088-4032-97B1-FFC3E8DE3EB3}" type="datetime'Better s''e''''''''''''rvic''e'' ''o''''''''ff''''er''''''''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Better service offer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" name="Rectangle 118"/>
          <p:cNvSpPr/>
          <p:nvPr>
            <p:custDataLst>
              <p:tags r:id="rId42"/>
            </p:custDataLst>
          </p:nvPr>
        </p:nvSpPr>
        <p:spPr bwMode="gray">
          <a:xfrm>
            <a:off x="5840412" y="4487862"/>
            <a:ext cx="430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CCE601AD-6436-43A5-B400-5CA4B63D00BB}" type="datetime'''''3''''''''''''''''''8''''''''.''''''''''''''''0''%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8.0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6" name="Rectangle 115"/>
          <p:cNvSpPr/>
          <p:nvPr>
            <p:custDataLst>
              <p:tags r:id="rId43"/>
            </p:custDataLst>
          </p:nvPr>
        </p:nvSpPr>
        <p:spPr bwMode="gray">
          <a:xfrm>
            <a:off x="6249987" y="4997450"/>
            <a:ext cx="430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5906DCD4-0410-4F69-B880-D3843658337F}" type="datetime'''''''''''''6''''''''''''''''''''''8.''''''''''2''%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68.2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7" name="Rectangle 116"/>
          <p:cNvSpPr/>
          <p:nvPr>
            <p:custDataLst>
              <p:tags r:id="rId44"/>
            </p:custDataLst>
          </p:nvPr>
        </p:nvSpPr>
        <p:spPr bwMode="auto">
          <a:xfrm>
            <a:off x="3981450" y="3978275"/>
            <a:ext cx="966787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388C15F-D217-47BE-83CD-A144B1BDAC40}" type="datetime'D''''a''t''a'''''''' se''''c''''''''''''ur''i''t''''y''''''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Data security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0" name="Rectangle 119"/>
          <p:cNvSpPr/>
          <p:nvPr>
            <p:custDataLst>
              <p:tags r:id="rId45"/>
            </p:custDataLst>
          </p:nvPr>
        </p:nvSpPr>
        <p:spPr bwMode="auto">
          <a:xfrm>
            <a:off x="3489325" y="4487862"/>
            <a:ext cx="1951037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199BA61-0B8B-4947-AB62-45F0DF27CD22}" type="datetime'''Pers''''onal'''''''' ''''dev''ic''e'' ''integr''ate''''d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Personal device integrated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0" name="Rectangle 6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1239168" y="5081269"/>
            <a:ext cx="205184" cy="1569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de-DE" sz="1200" b="1" dirty="0" err="1" smtClean="0">
                <a:solidFill>
                  <a:srgbClr val="000000"/>
                </a:solidFill>
              </a:rPr>
              <a:t>No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91" name="Rectangle 8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2935082" y="2987174"/>
            <a:ext cx="264047" cy="1569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1200" b="1" dirty="0" smtClean="0">
                <a:solidFill>
                  <a:srgbClr val="000000"/>
                </a:solidFill>
              </a:rPr>
              <a:t>Ye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92" name="Rectangle 8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600892" y="3121340"/>
            <a:ext cx="1031966" cy="1569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1200" b="1" dirty="0" smtClean="0">
                <a:solidFill>
                  <a:srgbClr val="000000"/>
                </a:solidFill>
              </a:rPr>
              <a:t>Indifferent</a:t>
            </a:r>
            <a:endParaRPr lang="en-US" sz="1200" b="1" dirty="0">
              <a:solidFill>
                <a:srgbClr val="000000"/>
              </a:solidFill>
            </a:endParaRPr>
          </a:p>
        </p:txBody>
      </p:sp>
      <p:graphicFrame>
        <p:nvGraphicFramePr>
          <p:cNvPr id="193" name="Object 5"/>
          <p:cNvGraphicFramePr>
            <a:graphicFrameLocks noChangeAspect="1"/>
          </p:cNvGraphicFramePr>
          <p:nvPr/>
        </p:nvGraphicFramePr>
        <p:xfrm>
          <a:off x="1219201" y="2981325"/>
          <a:ext cx="2419249" cy="2419485"/>
        </p:xfrm>
        <a:graphic>
          <a:graphicData uri="http://schemas.openxmlformats.org/presentationml/2006/ole">
            <p:oleObj spid="_x0000_s458760" name="Chart" r:id="rId53" imgW="2419249" imgH="2419485" progId="MSGraph.Chart.8">
              <p:embed followColorScheme="full"/>
            </p:oleObj>
          </a:graphicData>
        </a:graphic>
      </p:graphicFrame>
      <p:sp>
        <p:nvSpPr>
          <p:cNvPr id="195" name="Rectangle 194"/>
          <p:cNvSpPr/>
          <p:nvPr>
            <p:custDataLst>
              <p:tags r:id="rId49"/>
            </p:custDataLst>
          </p:nvPr>
        </p:nvSpPr>
        <p:spPr bwMode="gray">
          <a:xfrm>
            <a:off x="3160712" y="3860800"/>
            <a:ext cx="303213" cy="182563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buClr>
                <a:schemeClr val="bg2"/>
              </a:buClr>
              <a:defRPr/>
            </a:pPr>
            <a:fld id="{C760D948-709F-4AF6-8D27-ADED3C7937A5}" type="datetime'4''2''%'''''''''''">
              <a:rPr lang="en-US" sz="1200" smtClean="0">
                <a:solidFill>
                  <a:schemeClr val="bg1"/>
                </a:solidFill>
                <a:cs typeface="Arial"/>
                <a:sym typeface="Arial"/>
              </a:rPr>
              <a:pPr algn="ctr">
                <a:buClr>
                  <a:schemeClr val="bg2"/>
                </a:buClr>
                <a:defRPr/>
              </a:pPr>
              <a:t>42%</a:t>
            </a:fld>
            <a:endParaRPr lang="en-US" sz="1200" dirty="0" err="1">
              <a:solidFill>
                <a:schemeClr val="bg1"/>
              </a:solidFill>
              <a:cs typeface="Arial"/>
              <a:sym typeface="Arial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62850" name="think-cell Slide" r:id="rId53" imgW="0" imgH="0" progId="">
              <p:embed/>
            </p:oleObj>
          </a:graphicData>
        </a:graphic>
      </p:graphicFrame>
      <p:sp>
        <p:nvSpPr>
          <p:cNvPr id="13" name="Rectangle 1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7" name="Rectangle 76"/>
          <p:cNvSpPr/>
          <p:nvPr>
            <p:custDataLst>
              <p:tags r:id="rId3"/>
            </p:custDataLst>
          </p:nvPr>
        </p:nvSpPr>
        <p:spPr>
          <a:xfrm>
            <a:off x="250825" y="2097089"/>
            <a:ext cx="8643906" cy="3698069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t"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600" b="1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Embedded systems are on the CXO agenda, however R&amp;D priorities are still not under the Top 3</a:t>
            </a: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>
            <p:custDataLst>
              <p:tags r:id="rId6"/>
            </p:custDataLst>
          </p:nvPr>
        </p:nvSpPr>
        <p:spPr>
          <a:xfrm>
            <a:off x="244799" y="1616400"/>
            <a:ext cx="7794796" cy="249299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indent="266700">
              <a:lnSpc>
                <a:spcPct val="90000"/>
              </a:lnSpc>
              <a:spcBef>
                <a:spcPts val="0"/>
              </a:spcBef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Company p</a:t>
            </a:r>
            <a:r>
              <a:rPr lang="en-US" b="1" dirty="0" smtClean="0">
                <a:cs typeface="Arial" pitchFamily="34" charset="0"/>
              </a:rPr>
              <a:t>erspective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on </a:t>
            </a:r>
            <a:r>
              <a:rPr lang="en-US" b="1" dirty="0" smtClean="0"/>
              <a:t>Embedded Electronic Systems </a:t>
            </a:r>
            <a:endParaRPr lang="en-US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7"/>
            </p:custDataLst>
          </p:nvPr>
        </p:nvSpPr>
        <p:spPr>
          <a:xfrm>
            <a:off x="248920" y="5997507"/>
            <a:ext cx="8648700" cy="403187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  <a:cs typeface="Arial"/>
              </a:rPr>
              <a:t>There is still a lack of awareness, as the business case is not clear</a:t>
            </a:r>
          </a:p>
        </p:txBody>
      </p:sp>
      <p:sp>
        <p:nvSpPr>
          <p:cNvPr id="80" name="Oval 79"/>
          <p:cNvSpPr/>
          <p:nvPr>
            <p:custDataLst>
              <p:tags r:id="rId8"/>
            </p:custDataLst>
          </p:nvPr>
        </p:nvSpPr>
        <p:spPr>
          <a:xfrm>
            <a:off x="143540" y="1592796"/>
            <a:ext cx="288000" cy="288000"/>
          </a:xfrm>
          <a:prstGeom prst="ellipse">
            <a:avLst/>
          </a:prstGeom>
          <a:solidFill>
            <a:schemeClr val="bg2"/>
          </a:solidFill>
          <a:ln w="381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</a:t>
            </a:r>
            <a:endParaRPr lang="en-US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73786" y="2196737"/>
            <a:ext cx="3965575" cy="4431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en-US" sz="1600" b="1" dirty="0">
                <a:solidFill>
                  <a:srgbClr val="000000"/>
                </a:solidFill>
              </a:rPr>
              <a:t>How do you rank the </a:t>
            </a:r>
            <a:r>
              <a:rPr lang="en-US" sz="1600" b="1" dirty="0" smtClean="0">
                <a:solidFill>
                  <a:srgbClr val="000000"/>
                </a:solidFill>
              </a:rPr>
              <a:t>Embedded Systems’ </a:t>
            </a:r>
            <a:r>
              <a:rPr lang="en-US" sz="1600" b="1" dirty="0">
                <a:solidFill>
                  <a:srgbClr val="000000"/>
                </a:solidFill>
              </a:rPr>
              <a:t>role </a:t>
            </a:r>
            <a:r>
              <a:rPr lang="en-US" sz="1600" b="1" dirty="0" smtClean="0">
                <a:solidFill>
                  <a:srgbClr val="000000"/>
                </a:solidFill>
              </a:rPr>
              <a:t>in your </a:t>
            </a:r>
            <a:r>
              <a:rPr lang="en-US" sz="1600" b="1" dirty="0">
                <a:solidFill>
                  <a:srgbClr val="000000"/>
                </a:solidFill>
              </a:rPr>
              <a:t>strategy?</a:t>
            </a:r>
          </a:p>
        </p:txBody>
      </p:sp>
      <p:sp>
        <p:nvSpPr>
          <p:cNvPr id="59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1584" y="4754698"/>
            <a:ext cx="987450" cy="3139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de-DE" sz="1200" b="1" dirty="0" smtClean="0">
                <a:solidFill>
                  <a:srgbClr val="000000"/>
                </a:solidFill>
              </a:rPr>
              <a:t>Relevant, </a:t>
            </a:r>
            <a:br>
              <a:rPr lang="de-DE" sz="1200" b="1" dirty="0" smtClean="0">
                <a:solidFill>
                  <a:srgbClr val="000000"/>
                </a:solidFill>
              </a:rPr>
            </a:br>
            <a:r>
              <a:rPr lang="de-DE" sz="1200" b="1" dirty="0" smtClean="0">
                <a:solidFill>
                  <a:srgbClr val="000000"/>
                </a:solidFill>
              </a:rPr>
              <a:t>but not </a:t>
            </a:r>
            <a:r>
              <a:rPr lang="de-DE" sz="1200" b="1" dirty="0" err="1" smtClean="0">
                <a:solidFill>
                  <a:srgbClr val="000000"/>
                </a:solidFill>
              </a:rPr>
              <a:t>prio</a:t>
            </a:r>
            <a:r>
              <a:rPr lang="de-DE" sz="1200" b="1" dirty="0" smtClean="0">
                <a:solidFill>
                  <a:srgbClr val="000000"/>
                </a:solidFill>
              </a:rPr>
              <a:t> 1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60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340187" y="5355140"/>
            <a:ext cx="1212912" cy="3139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de-DE" sz="1200" b="1" dirty="0" smtClean="0">
                <a:solidFill>
                  <a:srgbClr val="000000"/>
                </a:solidFill>
              </a:rPr>
              <a:t>Managing </a:t>
            </a:r>
          </a:p>
          <a:p>
            <a:pPr eaLnBrk="0" hangingPunct="0">
              <a:lnSpc>
                <a:spcPct val="85000"/>
              </a:lnSpc>
            </a:pPr>
            <a:r>
              <a:rPr lang="de-DE" sz="1200" b="1" dirty="0" err="1" smtClean="0">
                <a:solidFill>
                  <a:srgbClr val="000000"/>
                </a:solidFill>
              </a:rPr>
              <a:t>the</a:t>
            </a:r>
            <a:r>
              <a:rPr lang="de-DE" sz="1200" b="1" dirty="0" smtClean="0">
                <a:solidFill>
                  <a:srgbClr val="000000"/>
                </a:solidFill>
              </a:rPr>
              <a:t> </a:t>
            </a:r>
            <a:r>
              <a:rPr lang="de-DE" sz="1200" b="1" dirty="0" err="1" smtClean="0">
                <a:solidFill>
                  <a:srgbClr val="000000"/>
                </a:solidFill>
              </a:rPr>
              <a:t>complexity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61" name="Rectangle 8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676751" y="2791231"/>
            <a:ext cx="1124540" cy="3139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1200" b="1" dirty="0" smtClean="0">
                <a:solidFill>
                  <a:srgbClr val="000000"/>
                </a:solidFill>
              </a:rPr>
              <a:t>Integrated part </a:t>
            </a:r>
            <a:r>
              <a:rPr lang="en-US" sz="1200" b="1" dirty="0">
                <a:solidFill>
                  <a:srgbClr val="000000"/>
                </a:solidFill>
              </a:rPr>
              <a:t>of the </a:t>
            </a:r>
            <a:r>
              <a:rPr lang="en-US" sz="1200" b="1" dirty="0" smtClean="0">
                <a:solidFill>
                  <a:srgbClr val="000000"/>
                </a:solidFill>
              </a:rPr>
              <a:t>strategy</a:t>
            </a:r>
            <a:endParaRPr lang="en-US" sz="1200" b="1" dirty="0">
              <a:solidFill>
                <a:srgbClr val="000000"/>
              </a:solidFill>
            </a:endParaRPr>
          </a:p>
        </p:txBody>
      </p:sp>
      <p:graphicFrame>
        <p:nvGraphicFramePr>
          <p:cNvPr id="62" name="Object 5"/>
          <p:cNvGraphicFramePr>
            <a:graphicFrameLocks noChangeAspect="1"/>
          </p:cNvGraphicFramePr>
          <p:nvPr/>
        </p:nvGraphicFramePr>
        <p:xfrm>
          <a:off x="1219200" y="2981325"/>
          <a:ext cx="2419350" cy="2419350"/>
        </p:xfrm>
        <a:graphic>
          <a:graphicData uri="http://schemas.openxmlformats.org/presentationml/2006/ole">
            <p:oleObj spid="_x0000_s462853" name="Chart" r:id="rId54" imgW="2419249" imgH="2419485" progId="MSGraph.Chart.8">
              <p:embed followColorScheme="full"/>
            </p:oleObj>
          </a:graphicData>
        </a:graphic>
      </p:graphicFrame>
      <p:sp>
        <p:nvSpPr>
          <p:cNvPr id="65" name="Rectangle 64"/>
          <p:cNvSpPr/>
          <p:nvPr>
            <p:custDataLst>
              <p:tags r:id="rId13"/>
            </p:custDataLst>
          </p:nvPr>
        </p:nvSpPr>
        <p:spPr bwMode="gray">
          <a:xfrm>
            <a:off x="2243137" y="3103562"/>
            <a:ext cx="219075" cy="165100"/>
          </a:xfrm>
          <a:prstGeom prst="rect">
            <a:avLst/>
          </a:prstGeom>
          <a:solidFill>
            <a:srgbClr val="FFFFFF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172ABBBE-BC2B-4C73-B4F9-5F1A3BA0807F}" type="datetime'''''''''''''''''''''''''''2''''%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%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3" name="Rectangle 62"/>
          <p:cNvSpPr/>
          <p:nvPr>
            <p:custDataLst>
              <p:tags r:id="rId14"/>
            </p:custDataLst>
          </p:nvPr>
        </p:nvSpPr>
        <p:spPr bwMode="gray">
          <a:xfrm>
            <a:off x="2574925" y="3190875"/>
            <a:ext cx="303213" cy="182563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buClr>
                <a:schemeClr val="bg2"/>
              </a:buClr>
              <a:defRPr/>
            </a:pPr>
            <a:fld id="{D5BF6C41-096E-4B47-9298-0D18433DCBD2}" type="datetime'''''''1''''''''''0%'''''''''''''''''''''''''''''''''''">
              <a:rPr lang="en-US" sz="1200" smtClean="0">
                <a:solidFill>
                  <a:schemeClr val="bg1"/>
                </a:solidFill>
                <a:cs typeface="Arial"/>
                <a:sym typeface="Arial"/>
              </a:rPr>
              <a:pPr algn="ctr">
                <a:buClr>
                  <a:schemeClr val="bg2"/>
                </a:buClr>
                <a:defRPr/>
              </a:pPr>
              <a:t>10%</a:t>
            </a:fld>
            <a:endParaRPr lang="en-US" sz="1200" dirty="0" err="1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64" name="Rectangle 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30626" y="2820894"/>
            <a:ext cx="2220686" cy="1569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eaLnBrk="0" hangingPunct="0">
              <a:lnSpc>
                <a:spcPct val="85000"/>
              </a:lnSpc>
            </a:pPr>
            <a:r>
              <a:rPr lang="en-US" sz="1200" b="1" dirty="0" smtClean="0">
                <a:solidFill>
                  <a:srgbClr val="000000"/>
                </a:solidFill>
              </a:rPr>
              <a:t>Marketing purposes only</a:t>
            </a:r>
            <a:endParaRPr lang="en-US" sz="1200" b="1" dirty="0">
              <a:solidFill>
                <a:srgbClr val="000000"/>
              </a:solidFill>
            </a:endParaRPr>
          </a:p>
        </p:txBody>
      </p:sp>
      <p:graphicFrame>
        <p:nvGraphicFramePr>
          <p:cNvPr id="66" name="Object 65"/>
          <p:cNvGraphicFramePr>
            <a:graphicFrameLocks noChangeAspect="1"/>
          </p:cNvGraphicFramePr>
          <p:nvPr/>
        </p:nvGraphicFramePr>
        <p:xfrm>
          <a:off x="5418137" y="2693987"/>
          <a:ext cx="2952784" cy="2819400"/>
        </p:xfrm>
        <a:graphic>
          <a:graphicData uri="http://schemas.openxmlformats.org/presentationml/2006/ole">
            <p:oleObj spid="_x0000_s462854" name="Chart" r:id="rId55" imgW="2952784" imgH="2819400" progId="MSGraph.Chart.8">
              <p:embed followColorScheme="full"/>
            </p:oleObj>
          </a:graphicData>
        </a:graphic>
      </p:graphicFrame>
      <p:cxnSp>
        <p:nvCxnSpPr>
          <p:cNvPr id="71" name="Straight Connector 70"/>
          <p:cNvCxnSpPr/>
          <p:nvPr>
            <p:custDataLst>
              <p:tags r:id="rId16"/>
            </p:custDataLst>
          </p:nvPr>
        </p:nvCxnSpPr>
        <p:spPr bwMode="auto">
          <a:xfrm>
            <a:off x="7161211" y="4713287"/>
            <a:ext cx="1085850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>
            <p:custDataLst>
              <p:tags r:id="rId17"/>
            </p:custDataLst>
          </p:nvPr>
        </p:nvCxnSpPr>
        <p:spPr bwMode="auto">
          <a:xfrm>
            <a:off x="7161211" y="4427537"/>
            <a:ext cx="1085850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>
            <p:custDataLst>
              <p:tags r:id="rId18"/>
            </p:custDataLst>
          </p:nvPr>
        </p:nvCxnSpPr>
        <p:spPr bwMode="auto">
          <a:xfrm>
            <a:off x="7837487" y="4941887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19"/>
            </p:custDataLst>
          </p:nvPr>
        </p:nvCxnSpPr>
        <p:spPr bwMode="auto">
          <a:xfrm>
            <a:off x="7837487" y="5218112"/>
            <a:ext cx="409575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20"/>
            </p:custDataLst>
          </p:nvPr>
        </p:nvCxnSpPr>
        <p:spPr bwMode="auto">
          <a:xfrm>
            <a:off x="8247062" y="4941887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21"/>
            </p:custDataLst>
          </p:nvPr>
        </p:nvCxnSpPr>
        <p:spPr bwMode="auto">
          <a:xfrm>
            <a:off x="7837487" y="4941887"/>
            <a:ext cx="409575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22"/>
            </p:custDataLst>
          </p:nvPr>
        </p:nvCxnSpPr>
        <p:spPr bwMode="auto">
          <a:xfrm>
            <a:off x="7161212" y="4427536"/>
            <a:ext cx="0" cy="285750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>
            <p:custDataLst>
              <p:tags r:id="rId23"/>
            </p:custDataLst>
          </p:nvPr>
        </p:nvCxnSpPr>
        <p:spPr bwMode="auto">
          <a:xfrm>
            <a:off x="6484937" y="3408362"/>
            <a:ext cx="1762125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>
            <p:custDataLst>
              <p:tags r:id="rId24"/>
            </p:custDataLst>
          </p:nvPr>
        </p:nvCxnSpPr>
        <p:spPr bwMode="auto">
          <a:xfrm>
            <a:off x="6484937" y="3694112"/>
            <a:ext cx="1762125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>
            <p:custDataLst>
              <p:tags r:id="rId25"/>
            </p:custDataLst>
          </p:nvPr>
        </p:nvCxnSpPr>
        <p:spPr bwMode="auto">
          <a:xfrm>
            <a:off x="6484937" y="3408361"/>
            <a:ext cx="0" cy="285750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26"/>
            </p:custDataLst>
          </p:nvPr>
        </p:nvCxnSpPr>
        <p:spPr bwMode="auto">
          <a:xfrm>
            <a:off x="8247062" y="3922712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>
            <p:custDataLst>
              <p:tags r:id="rId27"/>
            </p:custDataLst>
          </p:nvPr>
        </p:nvCxnSpPr>
        <p:spPr bwMode="auto">
          <a:xfrm>
            <a:off x="8247062" y="3408361"/>
            <a:ext cx="0" cy="28575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28"/>
            </p:custDataLst>
          </p:nvPr>
        </p:nvCxnSpPr>
        <p:spPr bwMode="auto">
          <a:xfrm>
            <a:off x="6351587" y="3922712"/>
            <a:ext cx="1895475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>
            <p:custDataLst>
              <p:tags r:id="rId29"/>
            </p:custDataLst>
          </p:nvPr>
        </p:nvCxnSpPr>
        <p:spPr bwMode="auto">
          <a:xfrm>
            <a:off x="7027862" y="2903537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30"/>
            </p:custDataLst>
          </p:nvPr>
        </p:nvCxnSpPr>
        <p:spPr bwMode="auto">
          <a:xfrm>
            <a:off x="6351587" y="4198937"/>
            <a:ext cx="1895475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>
            <p:custDataLst>
              <p:tags r:id="rId31"/>
            </p:custDataLst>
          </p:nvPr>
        </p:nvCxnSpPr>
        <p:spPr bwMode="auto">
          <a:xfrm>
            <a:off x="7027861" y="3179762"/>
            <a:ext cx="1219200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>
            <p:custDataLst>
              <p:tags r:id="rId32"/>
            </p:custDataLst>
          </p:nvPr>
        </p:nvCxnSpPr>
        <p:spPr bwMode="auto">
          <a:xfrm>
            <a:off x="7027861" y="2903537"/>
            <a:ext cx="1219200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33"/>
            </p:custDataLst>
          </p:nvPr>
        </p:nvCxnSpPr>
        <p:spPr bwMode="auto">
          <a:xfrm>
            <a:off x="8247062" y="2903537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>
            <p:custDataLst>
              <p:tags r:id="rId34"/>
            </p:custDataLst>
          </p:nvPr>
        </p:nvCxnSpPr>
        <p:spPr bwMode="auto">
          <a:xfrm>
            <a:off x="8247062" y="4427536"/>
            <a:ext cx="0" cy="28575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35"/>
            </p:custDataLst>
          </p:nvPr>
        </p:nvCxnSpPr>
        <p:spPr bwMode="auto">
          <a:xfrm>
            <a:off x="6351587" y="3922712"/>
            <a:ext cx="0" cy="276225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tangle 140"/>
          <p:cNvSpPr/>
          <p:nvPr>
            <p:custDataLst>
              <p:tags r:id="rId36"/>
            </p:custDataLst>
          </p:nvPr>
        </p:nvSpPr>
        <p:spPr bwMode="auto">
          <a:xfrm>
            <a:off x="6742112" y="5472112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604D451E-9CE4-401F-A3C3-94A8DB07FA7F}" type="datetime'''''5''''''''''''''''''''''''''''''''''''''''''0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50</a:t>
            </a:fld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4" name="Rectangle 143"/>
          <p:cNvSpPr/>
          <p:nvPr>
            <p:custDataLst>
              <p:tags r:id="rId37"/>
            </p:custDataLst>
          </p:nvPr>
        </p:nvSpPr>
        <p:spPr bwMode="auto">
          <a:xfrm>
            <a:off x="5432425" y="5472112"/>
            <a:ext cx="219075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7B7B979-63EB-43B7-BED4-DA0CC778F241}" type="datetime'''''''0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0</a:t>
            </a:fld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5" name="Rectangle 144"/>
          <p:cNvSpPr/>
          <p:nvPr>
            <p:custDataLst>
              <p:tags r:id="rId38"/>
            </p:custDataLst>
          </p:nvPr>
        </p:nvSpPr>
        <p:spPr bwMode="auto">
          <a:xfrm>
            <a:off x="3697287" y="4914900"/>
            <a:ext cx="1660525" cy="3302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B6F552C5-09C8-4F54-B966-D5E11EA9146F}" type="datetime'Other ''R&amp;D Pri''oritie''s&#10;''''(i.e. power''tain in A''''uto)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Other R&amp;D Priorities
(i.e. powertain in Auto)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0" name="Rectangle 149"/>
          <p:cNvSpPr/>
          <p:nvPr>
            <p:custDataLst>
              <p:tags r:id="rId39"/>
            </p:custDataLst>
          </p:nvPr>
        </p:nvSpPr>
        <p:spPr bwMode="auto">
          <a:xfrm>
            <a:off x="3614737" y="4487862"/>
            <a:ext cx="1825625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B25CD64E-0964-4B37-B99B-D58B031C6070}" type="datetime'''''Lack of b''''u''sine''ss m''o''''''''del''''''''''s''''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Lack of business models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8" name="Rectangle 147"/>
          <p:cNvSpPr/>
          <p:nvPr>
            <p:custDataLst>
              <p:tags r:id="rId40"/>
            </p:custDataLst>
          </p:nvPr>
        </p:nvSpPr>
        <p:spPr bwMode="gray">
          <a:xfrm>
            <a:off x="6473825" y="4997450"/>
            <a:ext cx="430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AAADF193-2DCB-4AEB-AD5C-E9FF21617D8F}" type="datetime'''8''''''''''''''''''''''5''.''0''''%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85.0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0" name="Rectangle 139"/>
          <p:cNvSpPr/>
          <p:nvPr>
            <p:custDataLst>
              <p:tags r:id="rId41"/>
            </p:custDataLst>
          </p:nvPr>
        </p:nvSpPr>
        <p:spPr bwMode="auto">
          <a:xfrm>
            <a:off x="7418387" y="5472112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3681FE86-EC67-40BE-BD4B-4AB260AE9789}" type="datetime'''''''''''''7''''''''''''''''5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5</a:t>
            </a:fld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3" name="Rectangle 142"/>
          <p:cNvSpPr/>
          <p:nvPr>
            <p:custDataLst>
              <p:tags r:id="rId42"/>
            </p:custDataLst>
          </p:nvPr>
        </p:nvSpPr>
        <p:spPr bwMode="auto">
          <a:xfrm>
            <a:off x="8053387" y="5472112"/>
            <a:ext cx="3873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A4AD6796-2EB8-45D7-98BE-018CCCE5ACBE}" type="datetime'''''''1''''''''0''''''''''''''''''0''''''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00</a:t>
            </a:fld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2" name="Rectangle 141"/>
          <p:cNvSpPr/>
          <p:nvPr>
            <p:custDataLst>
              <p:tags r:id="rId43"/>
            </p:custDataLst>
          </p:nvPr>
        </p:nvSpPr>
        <p:spPr bwMode="auto">
          <a:xfrm>
            <a:off x="6065837" y="5472112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2FC30B9-D51C-4A9F-B152-A9A6483DAC08}" type="datetime'''''''2''''5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5</a:t>
            </a:fld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9" name="Rectangle 138"/>
          <p:cNvSpPr/>
          <p:nvPr>
            <p:custDataLst>
              <p:tags r:id="rId44"/>
            </p:custDataLst>
          </p:nvPr>
        </p:nvSpPr>
        <p:spPr bwMode="gray">
          <a:xfrm>
            <a:off x="5730875" y="3978275"/>
            <a:ext cx="430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A8A9B25F-D340-4FE5-8330-F4426040E865}" type="datetime'''''''''''3''0''''''''''''''.''''0''''''''''''%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0.0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2" name="Rectangle 131"/>
          <p:cNvSpPr/>
          <p:nvPr>
            <p:custDataLst>
              <p:tags r:id="rId45"/>
            </p:custDataLst>
          </p:nvPr>
        </p:nvSpPr>
        <p:spPr bwMode="gray">
          <a:xfrm>
            <a:off x="6069012" y="2959100"/>
            <a:ext cx="430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44ECADB-84B7-46EB-A717-73728DC192F9}" type="datetime'''''''''''55''''''''.''''''''''0''''''''''%''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55.0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6" name="Rectangle 145"/>
          <p:cNvSpPr/>
          <p:nvPr>
            <p:custDataLst>
              <p:tags r:id="rId46"/>
            </p:custDataLst>
          </p:nvPr>
        </p:nvSpPr>
        <p:spPr bwMode="auto">
          <a:xfrm>
            <a:off x="3902075" y="3468687"/>
            <a:ext cx="12509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DA540C5B-09E2-46B2-8A7C-308BA6923936}" type="datetime'''''Mi''ss''i''''''n''g'''''' m''o''''d''''u''''''les''''''''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Missing modules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7" name="Rectangle 146"/>
          <p:cNvSpPr/>
          <p:nvPr>
            <p:custDataLst>
              <p:tags r:id="rId47"/>
            </p:custDataLst>
          </p:nvPr>
        </p:nvSpPr>
        <p:spPr bwMode="gray">
          <a:xfrm>
            <a:off x="6135687" y="4487862"/>
            <a:ext cx="430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775AE200-A488-47D5-9858-4885CA727805}" type="datetime'''6''''''''''''''''''''''''0''''''.''''0''''''''''%''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60.0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0" name="Rectangle 129"/>
          <p:cNvSpPr/>
          <p:nvPr>
            <p:custDataLst>
              <p:tags r:id="rId48"/>
            </p:custDataLst>
          </p:nvPr>
        </p:nvSpPr>
        <p:spPr bwMode="gray">
          <a:xfrm>
            <a:off x="5797550" y="3468687"/>
            <a:ext cx="430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D92B166-8EC6-4BA9-9B88-5C45889F6FC0}" type="datetime'3''''''''''''''''5''''.0%''''''''''''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5.0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9" name="Rectangle 148"/>
          <p:cNvSpPr/>
          <p:nvPr>
            <p:custDataLst>
              <p:tags r:id="rId49"/>
            </p:custDataLst>
          </p:nvPr>
        </p:nvSpPr>
        <p:spPr bwMode="auto">
          <a:xfrm>
            <a:off x="3851275" y="3978275"/>
            <a:ext cx="135096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D940759-032D-4004-8C24-73915CEB47E2}" type="datetime'M''is''''''s''ing'''''' ''sta''nd''''''a''rds''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Missing standards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1" name="Rectangle 130"/>
          <p:cNvSpPr/>
          <p:nvPr>
            <p:custDataLst>
              <p:tags r:id="rId50"/>
            </p:custDataLst>
          </p:nvPr>
        </p:nvSpPr>
        <p:spPr bwMode="auto">
          <a:xfrm>
            <a:off x="3898900" y="2959100"/>
            <a:ext cx="12557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0372C2A3-0AB2-42FF-AF61-D259BFCCD903}" type="datetime'''L''a''''ck'' ''''o''f e''''x''pe''rt''''i''''s''''''e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Lack of expertise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1" name="TextBox 150"/>
          <p:cNvSpPr txBox="1"/>
          <p:nvPr>
            <p:custDataLst>
              <p:tags r:id="rId51"/>
            </p:custDataLst>
          </p:nvPr>
        </p:nvSpPr>
        <p:spPr>
          <a:xfrm>
            <a:off x="4571999" y="2197100"/>
            <a:ext cx="4310063" cy="44319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What prevents OEMs to invest more in Embedded systems?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0450" name="think-cell Slide" r:id="rId10" imgW="0" imgH="0" progId="">
              <p:embed/>
            </p:oleObj>
          </a:graphicData>
        </a:graphic>
      </p:graphicFrame>
      <p:pic>
        <p:nvPicPr>
          <p:cNvPr id="61446" name="Picture 6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400093" y="2471600"/>
            <a:ext cx="3132347" cy="208823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16" name="Rectangle 15"/>
          <p:cNvSpPr/>
          <p:nvPr>
            <p:custDataLst>
              <p:tags r:id="rId3"/>
            </p:custDataLst>
          </p:nvPr>
        </p:nvSpPr>
        <p:spPr>
          <a:xfrm>
            <a:off x="6175171" y="4073230"/>
            <a:ext cx="2553195" cy="197130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4800" y="597600"/>
            <a:ext cx="8899200" cy="664797"/>
          </a:xfrm>
        </p:spPr>
        <p:txBody>
          <a:bodyPr/>
          <a:lstStyle/>
          <a:p>
            <a:r>
              <a:rPr lang="en-US" dirty="0" smtClean="0"/>
              <a:t>Additionally, job growth requires the right skill set starting with a strong academic and </a:t>
            </a:r>
            <a:r>
              <a:rPr lang="en-US" u="sng" dirty="0" smtClean="0"/>
              <a:t>practical</a:t>
            </a:r>
            <a:r>
              <a:rPr lang="en-US" dirty="0" smtClean="0"/>
              <a:t> industry background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244800" y="2471600"/>
            <a:ext cx="4687563" cy="3419398"/>
          </a:xfr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dirty="0" smtClean="0"/>
              <a:t>Some graduate programs in Germany offer special courses or whole master studies for EES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with a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 limited number of place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HS Aschaffenburg</a:t>
            </a:r>
          </a:p>
          <a:p>
            <a:pPr lvl="1">
              <a:spcBef>
                <a:spcPts val="600"/>
              </a:spcBef>
            </a:pPr>
            <a:r>
              <a:rPr lang="de-DE" dirty="0" smtClean="0"/>
              <a:t>OFFIS e.V.- Oldenburger Institut für Informatik </a:t>
            </a:r>
          </a:p>
          <a:p>
            <a:pPr lvl="1">
              <a:spcBef>
                <a:spcPts val="600"/>
              </a:spcBef>
            </a:pPr>
            <a:r>
              <a:rPr lang="en-US" dirty="0" err="1" smtClean="0"/>
              <a:t>Fraunhofer</a:t>
            </a:r>
            <a:r>
              <a:rPr lang="en-US" dirty="0" smtClean="0"/>
              <a:t> FIRST – Berlin</a:t>
            </a:r>
          </a:p>
          <a:p>
            <a:pPr lvl="1">
              <a:spcBef>
                <a:spcPts val="600"/>
              </a:spcBef>
            </a:pPr>
            <a:endParaRPr lang="en-US" dirty="0" smtClean="0"/>
          </a:p>
          <a:p>
            <a:pPr>
              <a:spcBef>
                <a:spcPts val="600"/>
              </a:spcBef>
            </a:pPr>
            <a:r>
              <a:rPr lang="en-US" dirty="0" smtClean="0"/>
              <a:t>However, </a:t>
            </a:r>
            <a:r>
              <a:rPr lang="en-US" b="1" dirty="0" smtClean="0"/>
              <a:t>only a few graduate schools offer a full study program</a:t>
            </a:r>
            <a:r>
              <a:rPr lang="en-US" dirty="0" smtClean="0"/>
              <a:t> for EES, e.g. HS </a:t>
            </a:r>
            <a:r>
              <a:rPr lang="en-US" dirty="0" err="1" smtClean="0"/>
              <a:t>Mittweida</a:t>
            </a:r>
            <a:endParaRPr lang="en-US" dirty="0" smtClean="0"/>
          </a:p>
          <a:p>
            <a:pPr>
              <a:spcBef>
                <a:spcPts val="600"/>
              </a:spcBef>
            </a:pPr>
            <a:endParaRPr lang="en-US" dirty="0" smtClean="0"/>
          </a:p>
          <a:p>
            <a:pPr>
              <a:spcBef>
                <a:spcPts val="600"/>
              </a:spcBef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Besides hard- and software design the programs also focus on getting </a:t>
            </a:r>
            <a:r>
              <a:rPr lang="en-US" b="1" u="sng" dirty="0" smtClean="0"/>
              <a:t>practical</a:t>
            </a:r>
            <a:r>
              <a:rPr lang="en-US" b="1" dirty="0" smtClean="0"/>
              <a:t> industry background</a:t>
            </a:r>
            <a:endParaRPr lang="en-US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46063" y="1617663"/>
            <a:ext cx="6558185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0000"/>
                </a:solidFill>
              </a:rPr>
              <a:t>Status quo: Training the right resources</a:t>
            </a:r>
            <a:endParaRPr lang="en-US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>
            <p:custDataLst>
              <p:tags r:id="rId7"/>
            </p:custDataLst>
          </p:nvPr>
        </p:nvSpPr>
        <p:spPr>
          <a:xfrm>
            <a:off x="244800" y="6273316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5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29337" y="4236360"/>
            <a:ext cx="1971264" cy="166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597600"/>
            <a:ext cx="8648700" cy="664797"/>
          </a:xfrm>
        </p:spPr>
        <p:txBody>
          <a:bodyPr/>
          <a:lstStyle/>
          <a:p>
            <a:r>
              <a:rPr lang="en-US" dirty="0" smtClean="0"/>
              <a:t>The German industry should leverage it‘s starting position and participate from strong growth of Embedded System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44800" y="2091600"/>
            <a:ext cx="8648700" cy="3967240"/>
          </a:xfrm>
        </p:spPr>
        <p:txBody>
          <a:bodyPr/>
          <a:lstStyle/>
          <a:p>
            <a:r>
              <a:rPr lang="en-US" b="1" dirty="0" smtClean="0"/>
              <a:t>Focus</a:t>
            </a:r>
          </a:p>
          <a:p>
            <a:pPr lvl="1"/>
            <a:r>
              <a:rPr lang="en-US" dirty="0" smtClean="0"/>
              <a:t>Drive customer-centric innovation and develop new products and services in two areas</a:t>
            </a:r>
          </a:p>
          <a:p>
            <a:pPr lvl="2"/>
            <a:r>
              <a:rPr lang="en-US" dirty="0" smtClean="0"/>
              <a:t>Integration services</a:t>
            </a:r>
          </a:p>
          <a:p>
            <a:pPr lvl="2"/>
            <a:r>
              <a:rPr lang="en-US" dirty="0" smtClean="0"/>
              <a:t>New product/consumer related services</a:t>
            </a:r>
          </a:p>
          <a:p>
            <a:pPr lvl="1"/>
            <a:r>
              <a:rPr lang="en-US" dirty="0" smtClean="0"/>
              <a:t>Focus on value add of the customer</a:t>
            </a:r>
          </a:p>
          <a:p>
            <a:r>
              <a:rPr lang="en-US" b="1" dirty="0" smtClean="0"/>
              <a:t>Collaborate</a:t>
            </a:r>
          </a:p>
          <a:p>
            <a:pPr lvl="1"/>
            <a:r>
              <a:rPr lang="en-US" dirty="0" smtClean="0"/>
              <a:t>Develop innovative business models and position correctly within the value chain</a:t>
            </a:r>
          </a:p>
          <a:p>
            <a:pPr lvl="1"/>
            <a:r>
              <a:rPr lang="en-US" dirty="0" smtClean="0"/>
              <a:t>Collaboratively develop applications even outside from the industry i.e. automotive</a:t>
            </a:r>
          </a:p>
          <a:p>
            <a:r>
              <a:rPr lang="en-US" b="1" dirty="0" smtClean="0"/>
              <a:t>Education</a:t>
            </a:r>
          </a:p>
          <a:p>
            <a:pPr lvl="1"/>
            <a:r>
              <a:rPr lang="en-US" dirty="0" smtClean="0"/>
              <a:t>Industries and Universities should collaborate closer to improve the relevant academic and </a:t>
            </a:r>
            <a:r>
              <a:rPr lang="en-US" u="sng" dirty="0" smtClean="0"/>
              <a:t>practical</a:t>
            </a:r>
            <a:r>
              <a:rPr lang="en-US" dirty="0" smtClean="0"/>
              <a:t> industry background of students</a:t>
            </a:r>
          </a:p>
          <a:p>
            <a:pPr lvl="1"/>
            <a:r>
              <a:rPr lang="en-US" dirty="0" smtClean="0"/>
              <a:t>Go further and start image </a:t>
            </a:r>
            <a:r>
              <a:rPr lang="en-US" dirty="0" err="1" smtClean="0"/>
              <a:t>campains</a:t>
            </a:r>
            <a:r>
              <a:rPr lang="en-US" dirty="0" smtClean="0"/>
              <a:t> at school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latin typeface="Arial"/>
                <a:cs typeface="Arial"/>
              </a:rPr>
              <a:t>Call for action</a:t>
            </a:r>
          </a:p>
        </p:txBody>
      </p:sp>
      <p:sp>
        <p:nvSpPr>
          <p:cNvPr id="5" name="Rectangle 4"/>
          <p:cNvSpPr/>
          <p:nvPr>
            <p:custDataLst>
              <p:tags r:id="rId1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597600"/>
            <a:ext cx="8648700" cy="332399"/>
          </a:xfrm>
        </p:spPr>
        <p:txBody>
          <a:bodyPr/>
          <a:lstStyle/>
          <a:p>
            <a:r>
              <a:rPr lang="en-US" dirty="0" smtClean="0"/>
              <a:t>Backup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To tackle these issues an innovative and collaborative industry set-up should be targeted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latin typeface="Arial"/>
                <a:cs typeface="Arial"/>
              </a:rPr>
              <a:t>Success factors for future growth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45765" y="2167928"/>
            <a:ext cx="2287402" cy="44319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Cross industry collabora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418836" y="2278728"/>
            <a:ext cx="2287402" cy="2215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New business model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557633" y="2278728"/>
            <a:ext cx="2021136" cy="2215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Right value chain</a:t>
            </a:r>
          </a:p>
        </p:txBody>
      </p:sp>
      <p:pic>
        <p:nvPicPr>
          <p:cNvPr id="261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1278" y="2687842"/>
            <a:ext cx="2476376" cy="185728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112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24350" y="2687842"/>
            <a:ext cx="2476376" cy="185728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1124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30014" y="2687842"/>
            <a:ext cx="2476376" cy="185728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0"/>
          <p:cNvSpPr txBox="1"/>
          <p:nvPr/>
        </p:nvSpPr>
        <p:spPr>
          <a:xfrm>
            <a:off x="378582" y="4827522"/>
            <a:ext cx="2421768" cy="58169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Development of innovative services through cross industry expertis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13373" y="4827522"/>
            <a:ext cx="2698328" cy="58169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Development of new business models/ players with strong focus on consumer need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228184" y="4827522"/>
            <a:ext cx="2680034" cy="58169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Define </a:t>
            </a:r>
            <a:r>
              <a:rPr lang="en-US" sz="1400" dirty="0" err="1" smtClean="0"/>
              <a:t>whats</a:t>
            </a:r>
            <a:r>
              <a:rPr lang="en-US" sz="1400" dirty="0" smtClean="0"/>
              <a:t> core and foster cross company and cross industry collaboration</a:t>
            </a:r>
            <a:endParaRPr lang="en-US" sz="1400" dirty="0" smtClean="0">
              <a:latin typeface="Arial 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48920" y="5619750"/>
            <a:ext cx="8648700" cy="403187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  <a:latin typeface="Arial"/>
                <a:cs typeface="Arial"/>
              </a:rPr>
              <a:t>Strong focus innovation and consumer-centric development is key</a:t>
            </a:r>
          </a:p>
        </p:txBody>
      </p:sp>
      <p:sp>
        <p:nvSpPr>
          <p:cNvPr id="15" name="Rectangle 14"/>
          <p:cNvSpPr/>
          <p:nvPr>
            <p:custDataLst>
              <p:tags r:id="rId1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Therefore the value chain will change as new services require cross company and cross industry collaboration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latin typeface="Arial"/>
                <a:cs typeface="Arial"/>
              </a:rPr>
              <a:t>Success factors: Reconfiguration of the ES value chain</a:t>
            </a:r>
          </a:p>
        </p:txBody>
      </p:sp>
      <p:sp>
        <p:nvSpPr>
          <p:cNvPr id="6" name="Oval 5"/>
          <p:cNvSpPr/>
          <p:nvPr/>
        </p:nvSpPr>
        <p:spPr>
          <a:xfrm>
            <a:off x="1331640" y="2024844"/>
            <a:ext cx="1872208" cy="1044116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rnd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EM</a:t>
            </a:r>
            <a:b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System integrator)</a:t>
            </a:r>
          </a:p>
        </p:txBody>
      </p:sp>
      <p:pic>
        <p:nvPicPr>
          <p:cNvPr id="7" name="Picture 6" descr="Picture1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95536" y="3789040"/>
            <a:ext cx="754293" cy="370644"/>
          </a:xfrm>
          <a:prstGeom prst="rect">
            <a:avLst/>
          </a:prstGeom>
        </p:spPr>
      </p:pic>
      <p:pic>
        <p:nvPicPr>
          <p:cNvPr id="8" name="Picture 7" descr="Picture1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31640" y="3789040"/>
            <a:ext cx="754293" cy="370644"/>
          </a:xfrm>
          <a:prstGeom prst="rect">
            <a:avLst/>
          </a:prstGeom>
        </p:spPr>
      </p:pic>
      <p:pic>
        <p:nvPicPr>
          <p:cNvPr id="9" name="Picture 8" descr="Picture1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267744" y="3789040"/>
            <a:ext cx="754293" cy="370644"/>
          </a:xfrm>
          <a:prstGeom prst="rect">
            <a:avLst/>
          </a:prstGeom>
        </p:spPr>
      </p:pic>
      <p:pic>
        <p:nvPicPr>
          <p:cNvPr id="10" name="Picture 9" descr="Picture1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03848" y="3789040"/>
            <a:ext cx="754293" cy="37064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15746" y="4106231"/>
            <a:ext cx="899004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smtClean="0">
                <a:latin typeface="Arial "/>
              </a:rPr>
              <a:t>Component supplie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30210" y="4106231"/>
            <a:ext cx="899004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smtClean="0">
                <a:latin typeface="Arial "/>
              </a:rPr>
              <a:t>Component suppli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144674" y="4106231"/>
            <a:ext cx="899004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err="1" smtClean="0">
                <a:latin typeface="Arial "/>
              </a:rPr>
              <a:t>Componentsupplier</a:t>
            </a:r>
            <a:endParaRPr lang="en-US" sz="1200" b="1" dirty="0" smtClean="0">
              <a:latin typeface="Arial 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59137" y="4106231"/>
            <a:ext cx="899004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err="1" smtClean="0">
                <a:latin typeface="Arial "/>
              </a:rPr>
              <a:t>Componentsupplier</a:t>
            </a:r>
            <a:endParaRPr lang="en-US" sz="1200" b="1" dirty="0" smtClean="0">
              <a:latin typeface="Arial "/>
            </a:endParaRPr>
          </a:p>
        </p:txBody>
      </p:sp>
      <p:sp>
        <p:nvSpPr>
          <p:cNvPr id="18" name="Right Arrow 17"/>
          <p:cNvSpPr/>
          <p:nvPr/>
        </p:nvSpPr>
        <p:spPr>
          <a:xfrm rot="18900000">
            <a:off x="660625" y="3244581"/>
            <a:ext cx="978408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ight Arrow 18"/>
          <p:cNvSpPr/>
          <p:nvPr/>
        </p:nvSpPr>
        <p:spPr>
          <a:xfrm rot="17100000">
            <a:off x="1453312" y="3351435"/>
            <a:ext cx="752043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ight Arrow 19"/>
          <p:cNvSpPr/>
          <p:nvPr/>
        </p:nvSpPr>
        <p:spPr>
          <a:xfrm rot="15300000">
            <a:off x="2197817" y="3364711"/>
            <a:ext cx="713236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ight Arrow 20"/>
          <p:cNvSpPr/>
          <p:nvPr/>
        </p:nvSpPr>
        <p:spPr>
          <a:xfrm rot="14400000">
            <a:off x="2869988" y="3257515"/>
            <a:ext cx="874228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6084168" y="2024844"/>
            <a:ext cx="1872208" cy="1044116"/>
          </a:xfrm>
          <a:prstGeom prst="ellipse">
            <a:avLst/>
          </a:prstGeom>
          <a:solidFill>
            <a:schemeClr val="bg1">
              <a:lumMod val="50000"/>
            </a:schemeClr>
          </a:solidFill>
          <a:ln w="12700" cap="rnd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EM</a:t>
            </a:r>
            <a:b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System integrator)</a:t>
            </a:r>
          </a:p>
        </p:txBody>
      </p:sp>
      <p:pic>
        <p:nvPicPr>
          <p:cNvPr id="23" name="Picture 22" descr="Picture1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148064" y="3779814"/>
            <a:ext cx="754293" cy="370644"/>
          </a:xfrm>
          <a:prstGeom prst="rect">
            <a:avLst/>
          </a:prstGeom>
        </p:spPr>
      </p:pic>
      <p:pic>
        <p:nvPicPr>
          <p:cNvPr id="25" name="Picture 24" descr="Picture1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969558" y="3756655"/>
            <a:ext cx="754293" cy="370644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5068274" y="4106231"/>
            <a:ext cx="899004" cy="49859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smtClean="0">
                <a:latin typeface="Arial "/>
              </a:rPr>
              <a:t>Component supplier (technical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982738" y="4106231"/>
            <a:ext cx="899004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smtClean="0">
                <a:latin typeface="Arial "/>
              </a:rPr>
              <a:t>Service provider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897202" y="4106231"/>
            <a:ext cx="899004" cy="49859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smtClean="0">
                <a:latin typeface="Arial "/>
              </a:rPr>
              <a:t>Component supplier</a:t>
            </a:r>
            <a:br>
              <a:rPr lang="en-US" sz="1200" b="1" dirty="0" smtClean="0">
                <a:latin typeface="Arial "/>
              </a:rPr>
            </a:br>
            <a:r>
              <a:rPr lang="en-US" sz="1200" b="1" dirty="0" smtClean="0">
                <a:latin typeface="Arial "/>
              </a:rPr>
              <a:t>(technical)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811665" y="4106231"/>
            <a:ext cx="899004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smtClean="0">
                <a:latin typeface="Arial "/>
              </a:rPr>
              <a:t>Service provider</a:t>
            </a:r>
          </a:p>
        </p:txBody>
      </p:sp>
      <p:sp>
        <p:nvSpPr>
          <p:cNvPr id="31" name="Right Arrow 30"/>
          <p:cNvSpPr/>
          <p:nvPr/>
        </p:nvSpPr>
        <p:spPr>
          <a:xfrm rot="17850238">
            <a:off x="5640387" y="3589687"/>
            <a:ext cx="178726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ight Arrow 31"/>
          <p:cNvSpPr/>
          <p:nvPr/>
        </p:nvSpPr>
        <p:spPr>
          <a:xfrm rot="15300000">
            <a:off x="6217955" y="3598081"/>
            <a:ext cx="168213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ight Arrow 32"/>
          <p:cNvSpPr/>
          <p:nvPr/>
        </p:nvSpPr>
        <p:spPr>
          <a:xfrm rot="16200000">
            <a:off x="7037611" y="3333183"/>
            <a:ext cx="668822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ight Arrow 33"/>
          <p:cNvSpPr/>
          <p:nvPr/>
        </p:nvSpPr>
        <p:spPr>
          <a:xfrm rot="14782846">
            <a:off x="7620473" y="3273047"/>
            <a:ext cx="786904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5400092" y="3055130"/>
            <a:ext cx="1262702" cy="602867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dule integrator</a:t>
            </a:r>
            <a:endParaRPr lang="en-US" sz="11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Right Arrow 36"/>
          <p:cNvSpPr/>
          <p:nvPr/>
        </p:nvSpPr>
        <p:spPr>
          <a:xfrm rot="17850238">
            <a:off x="6117518" y="2826793"/>
            <a:ext cx="163370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4628" name="Picture 4" descr="http://www.managedserviceproviders.biz/wp-content/uploads/2009/09/off-site-storage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191688" y="3788459"/>
            <a:ext cx="471139" cy="353354"/>
          </a:xfrm>
          <a:prstGeom prst="rect">
            <a:avLst/>
          </a:prstGeom>
          <a:noFill/>
        </p:spPr>
      </p:pic>
      <p:pic>
        <p:nvPicPr>
          <p:cNvPr id="40" name="Picture 4" descr="http://www.managedserviceproviders.biz/wp-content/uploads/2009/09/off-site-storage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992380" y="3765300"/>
            <a:ext cx="471139" cy="353354"/>
          </a:xfrm>
          <a:prstGeom prst="rect">
            <a:avLst/>
          </a:prstGeom>
          <a:noFill/>
        </p:spPr>
      </p:pic>
      <p:cxnSp>
        <p:nvCxnSpPr>
          <p:cNvPr id="42" name="Straight Arrow Connector 41"/>
          <p:cNvCxnSpPr>
            <a:stCxn id="40" idx="1"/>
            <a:endCxn id="25" idx="3"/>
          </p:cNvCxnSpPr>
          <p:nvPr/>
        </p:nvCxnSpPr>
        <p:spPr>
          <a:xfrm rot="10800000">
            <a:off x="7723852" y="3941977"/>
            <a:ext cx="268529" cy="1588"/>
          </a:xfrm>
          <a:prstGeom prst="straightConnector1">
            <a:avLst/>
          </a:prstGeom>
          <a:ln w="28575" cap="rnd">
            <a:solidFill>
              <a:schemeClr val="bg1">
                <a:lumMod val="50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Isosceles Triangle 42"/>
          <p:cNvSpPr/>
          <p:nvPr/>
        </p:nvSpPr>
        <p:spPr>
          <a:xfrm rot="5400000">
            <a:off x="3743949" y="2961527"/>
            <a:ext cx="1640226" cy="320675"/>
          </a:xfrm>
          <a:prstGeom prst="triangle">
            <a:avLst/>
          </a:prstGeom>
          <a:solidFill>
            <a:schemeClr val="accent1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6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50825" y="4733644"/>
            <a:ext cx="3967163" cy="139422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778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OEM integrates systems of suppliers and develops functionality</a:t>
            </a:r>
          </a:p>
          <a:p>
            <a:pPr marL="1778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Systems mainly developed separately by several component suppliers (hard- &amp; software) </a:t>
            </a:r>
          </a:p>
          <a:p>
            <a:pPr marL="1778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Customer input is bundled by OEM and send as input to suppliers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926012" y="4707314"/>
            <a:ext cx="3967163" cy="1782026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778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OEM still integrates single functions but mainly focuses of integration of modules</a:t>
            </a:r>
          </a:p>
          <a:p>
            <a:pPr marL="1778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Application modules with several functionalities are supplied by integrators that work collaboratively with several suppliers</a:t>
            </a:r>
          </a:p>
          <a:p>
            <a:pPr marL="1778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Customer-input and innovation is especially develop on supplier level (e.g. from new suppliers outside of automotive)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346230" y="2024844"/>
            <a:ext cx="913402" cy="39604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ustomer input</a:t>
            </a:r>
          </a:p>
        </p:txBody>
      </p:sp>
      <p:sp>
        <p:nvSpPr>
          <p:cNvPr id="47" name="Right Arrow 46"/>
          <p:cNvSpPr/>
          <p:nvPr/>
        </p:nvSpPr>
        <p:spPr>
          <a:xfrm rot="22380000">
            <a:off x="1298284" y="2100881"/>
            <a:ext cx="163370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5069336" y="2024844"/>
            <a:ext cx="913402" cy="39604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ustomer input</a:t>
            </a:r>
          </a:p>
        </p:txBody>
      </p:sp>
      <p:sp>
        <p:nvSpPr>
          <p:cNvPr id="49" name="Right Arrow 48"/>
          <p:cNvSpPr/>
          <p:nvPr/>
        </p:nvSpPr>
        <p:spPr>
          <a:xfrm rot="22380000">
            <a:off x="6021390" y="2100881"/>
            <a:ext cx="163370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ounded Rectangle 49"/>
          <p:cNvSpPr/>
          <p:nvPr/>
        </p:nvSpPr>
        <p:spPr>
          <a:xfrm>
            <a:off x="8087090" y="2982259"/>
            <a:ext cx="913402" cy="39604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ustomer input</a:t>
            </a:r>
          </a:p>
        </p:txBody>
      </p:sp>
      <p:sp>
        <p:nvSpPr>
          <p:cNvPr id="51" name="Right Arrow 50"/>
          <p:cNvSpPr/>
          <p:nvPr/>
        </p:nvSpPr>
        <p:spPr>
          <a:xfrm rot="6300000">
            <a:off x="8297533" y="3546091"/>
            <a:ext cx="423546" cy="232604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51"/>
          <p:cNvSpPr/>
          <p:nvPr>
            <p:custDataLst>
              <p:tags r:id="rId1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54658" name="think-cell Slide" r:id="rId39" imgW="0" imgH="0" progId="">
              <p:embed/>
            </p:oleObj>
          </a:graphicData>
        </a:graphic>
      </p:graphicFrame>
      <p:sp>
        <p:nvSpPr>
          <p:cNvPr id="48" name="Rectangle 4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anchor="ctr"/>
          <a:lstStyle/>
          <a:p>
            <a:pPr algn="ctr">
              <a:buClr>
                <a:srgbClr val="7D0900"/>
              </a:buClr>
              <a:defRPr/>
            </a:pPr>
            <a:r>
              <a:rPr lang="en-US" sz="800" b="1">
                <a:solidFill>
                  <a:srgbClr val="000000"/>
                </a:solidFill>
                <a:cs typeface="Arial"/>
                <a:sym typeface="Arial "/>
              </a:rPr>
              <a:t>58.0</a:t>
            </a:r>
            <a:endParaRPr lang="en-US" sz="800" b="1" dirty="0" err="1">
              <a:solidFill>
                <a:srgbClr val="000000"/>
              </a:solidFill>
              <a:cs typeface="Arial"/>
              <a:sym typeface="Arial "/>
            </a:endParaRPr>
          </a:p>
        </p:txBody>
      </p:sp>
      <p:sp>
        <p:nvSpPr>
          <p:cNvPr id="3077" name="Text 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4475" y="2434650"/>
            <a:ext cx="4246563" cy="3240000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87313" indent="-87313">
              <a:lnSpc>
                <a:spcPct val="90000"/>
              </a:lnSpc>
              <a:spcBef>
                <a:spcPts val="200"/>
              </a:spcBef>
            </a:pPr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3078" name="Text Box 67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9238" y="6019800"/>
            <a:ext cx="8648700" cy="40322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lIns="76200" tIns="76200" rIns="76200" bIns="76200" anchor="ctr" anchorCtr="1">
            <a:spAutoFit/>
          </a:bodyPr>
          <a:lstStyle/>
          <a:p>
            <a:pPr algn="ctr">
              <a:lnSpc>
                <a:spcPct val="90000"/>
              </a:lnSpc>
              <a:buClr>
                <a:srgbClr val="7D0900"/>
              </a:buClr>
            </a:pPr>
            <a:r>
              <a:rPr lang="en-US" b="1" dirty="0">
                <a:solidFill>
                  <a:schemeClr val="bg1"/>
                </a:solidFill>
              </a:rPr>
              <a:t>What are the opportunities for the German job market?</a:t>
            </a:r>
          </a:p>
        </p:txBody>
      </p:sp>
      <p:sp>
        <p:nvSpPr>
          <p:cNvPr id="3079" name="AutoShape 68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>
            <a:off x="263525" y="5725350"/>
            <a:ext cx="8616950" cy="23812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rot="10800000" wrap="none"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3080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4475" y="6597650"/>
            <a:ext cx="6842125" cy="1444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  <a:tabLst>
                <a:tab pos="687388" algn="l"/>
                <a:tab pos="2116138" algn="l"/>
              </a:tabLst>
            </a:pPr>
            <a:endParaRPr lang="en-US" sz="1000" dirty="0">
              <a:solidFill>
                <a:srgbClr val="000000"/>
              </a:solidFill>
            </a:endParaRPr>
          </a:p>
          <a:p>
            <a:pPr eaLnBrk="0" hangingPunct="0">
              <a:lnSpc>
                <a:spcPct val="85000"/>
              </a:lnSpc>
              <a:tabLst>
                <a:tab pos="687388" algn="l"/>
                <a:tab pos="2116138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Source: BITKOM; A.T. Kearney Embedded Systems Study 2010</a:t>
            </a:r>
          </a:p>
        </p:txBody>
      </p:sp>
      <p:sp>
        <p:nvSpPr>
          <p:cNvPr id="3081" name="TextBox 1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4475" y="1616075"/>
            <a:ext cx="7064375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000000"/>
                </a:solidFill>
              </a:rPr>
              <a:t>Scope and Definition</a:t>
            </a:r>
          </a:p>
        </p:txBody>
      </p:sp>
      <p:sp>
        <p:nvSpPr>
          <p:cNvPr id="3082" name="Title 18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altLang="ko-KR" dirty="0" smtClean="0"/>
              <a:t>The notion of Embedded Systems is rather diverse – This study focuses on interactive- and autonomous systems</a:t>
            </a:r>
            <a:endParaRPr lang="en-US" dirty="0" smtClean="0"/>
          </a:p>
        </p:txBody>
      </p:sp>
      <p:sp>
        <p:nvSpPr>
          <p:cNvPr id="3083" name="Rectangle 1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598988" y="1939350"/>
            <a:ext cx="4292600" cy="493713"/>
          </a:xfrm>
          <a:prstGeom prst="rect">
            <a:avLst/>
          </a:prstGeom>
          <a:solidFill>
            <a:schemeClr val="folHlink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algn="ctr">
              <a:lnSpc>
                <a:spcPct val="90000"/>
              </a:lnSpc>
            </a:pPr>
            <a:r>
              <a:rPr lang="en-US" sz="1600" b="1" dirty="0" smtClean="0">
                <a:solidFill>
                  <a:srgbClr val="000000"/>
                </a:solidFill>
              </a:rPr>
              <a:t>Characteristics </a:t>
            </a:r>
            <a:r>
              <a:rPr lang="en-US" sz="1600" b="1" dirty="0">
                <a:solidFill>
                  <a:srgbClr val="000000"/>
                </a:solidFill>
              </a:rPr>
              <a:t>of Embedded Systems</a:t>
            </a:r>
          </a:p>
        </p:txBody>
      </p:sp>
      <p:sp>
        <p:nvSpPr>
          <p:cNvPr id="3084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44475" y="1939350"/>
            <a:ext cx="4246563" cy="493713"/>
          </a:xfrm>
          <a:prstGeom prst="rect">
            <a:avLst/>
          </a:prstGeom>
          <a:solidFill>
            <a:schemeClr val="folHlink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rgbClr val="000000"/>
                </a:solidFill>
              </a:rPr>
              <a:t>Development of Embedded Systems</a:t>
            </a:r>
          </a:p>
        </p:txBody>
      </p:sp>
      <p:cxnSp>
        <p:nvCxnSpPr>
          <p:cNvPr id="27" name="Straight Arrow Connector 26"/>
          <p:cNvCxnSpPr/>
          <p:nvPr>
            <p:custDataLst>
              <p:tags r:id="rId11"/>
            </p:custDataLst>
          </p:nvPr>
        </p:nvCxnSpPr>
        <p:spPr>
          <a:xfrm>
            <a:off x="395288" y="5046088"/>
            <a:ext cx="4062412" cy="1587"/>
          </a:xfrm>
          <a:prstGeom prst="straightConnector1">
            <a:avLst/>
          </a:prstGeom>
          <a:ln w="28575" cap="rnd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0" name="TextBox 3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354513" y="5084188"/>
            <a:ext cx="77787" cy="152400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100" dirty="0">
                <a:latin typeface="Arial "/>
              </a:rPr>
              <a:t>t</a:t>
            </a:r>
          </a:p>
        </p:txBody>
      </p:sp>
      <p:cxnSp>
        <p:nvCxnSpPr>
          <p:cNvPr id="45" name="Straight Connector 44"/>
          <p:cNvCxnSpPr/>
          <p:nvPr>
            <p:custDataLst>
              <p:tags r:id="rId13"/>
            </p:custDataLst>
          </p:nvPr>
        </p:nvCxnSpPr>
        <p:spPr>
          <a:xfrm rot="5400000" flipH="1" flipV="1">
            <a:off x="2102000" y="4676119"/>
            <a:ext cx="612000" cy="0"/>
          </a:xfrm>
          <a:prstGeom prst="line">
            <a:avLst/>
          </a:prstGeom>
          <a:ln w="28575" cap="rnd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14"/>
            </p:custDataLst>
          </p:nvPr>
        </p:nvCxnSpPr>
        <p:spPr>
          <a:xfrm rot="5400000" flipH="1" flipV="1">
            <a:off x="1004794" y="4729382"/>
            <a:ext cx="506413" cy="0"/>
          </a:xfrm>
          <a:prstGeom prst="line">
            <a:avLst/>
          </a:prstGeom>
          <a:ln w="28575" cap="rnd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7" name="TextBox 54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26659" y="5161975"/>
            <a:ext cx="712683" cy="331788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200" b="1" dirty="0" smtClean="0">
                <a:latin typeface="Arial "/>
              </a:rPr>
              <a:t>ES as Add-on</a:t>
            </a:r>
            <a:endParaRPr lang="en-US" sz="1200" b="1" dirty="0">
              <a:latin typeface="Arial "/>
            </a:endParaRPr>
          </a:p>
        </p:txBody>
      </p:sp>
      <p:sp>
        <p:nvSpPr>
          <p:cNvPr id="3098" name="TextBox 55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609054" y="5161974"/>
            <a:ext cx="628232" cy="332399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200" b="1" dirty="0" smtClean="0">
                <a:latin typeface="Arial "/>
              </a:rPr>
              <a:t>ES as VAS</a:t>
            </a:r>
            <a:endParaRPr lang="en-US" sz="1200" b="1" dirty="0">
              <a:latin typeface="Arial "/>
            </a:endParaRPr>
          </a:p>
        </p:txBody>
      </p:sp>
      <p:sp>
        <p:nvSpPr>
          <p:cNvPr id="3099" name="TextBox 56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560975" y="5161975"/>
            <a:ext cx="749300" cy="331788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200" b="1" dirty="0" smtClean="0">
                <a:latin typeface="Arial "/>
              </a:rPr>
              <a:t>ES as </a:t>
            </a:r>
            <a:r>
              <a:rPr lang="en-US" sz="1200" b="1" dirty="0" err="1" smtClean="0">
                <a:latin typeface="Arial "/>
              </a:rPr>
              <a:t>SaaP</a:t>
            </a:r>
            <a:endParaRPr lang="en-US" sz="1200" b="1" dirty="0">
              <a:latin typeface="Arial "/>
            </a:endParaRPr>
          </a:p>
        </p:txBody>
      </p:sp>
      <p:sp>
        <p:nvSpPr>
          <p:cNvPr id="3106" name="TextBox 56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501020" y="4572825"/>
            <a:ext cx="749300" cy="331788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200" i="1" dirty="0" smtClean="0">
                <a:latin typeface="Arial "/>
              </a:rPr>
              <a:t>Connected system</a:t>
            </a:r>
            <a:endParaRPr lang="en-US" sz="1200" i="1" dirty="0">
              <a:latin typeface="Arial "/>
            </a:endParaRPr>
          </a:p>
        </p:txBody>
      </p:sp>
      <p:sp>
        <p:nvSpPr>
          <p:cNvPr id="3107" name="TextBox 56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08350" y="4663375"/>
            <a:ext cx="749300" cy="331788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200" i="1" dirty="0" smtClean="0">
                <a:latin typeface="Arial "/>
              </a:rPr>
              <a:t>Control system</a:t>
            </a:r>
            <a:endParaRPr lang="en-US" sz="1200" i="1" dirty="0">
              <a:latin typeface="Arial "/>
            </a:endParaRPr>
          </a:p>
        </p:txBody>
      </p:sp>
      <p:sp>
        <p:nvSpPr>
          <p:cNvPr id="44" name="TextBox 56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396343" y="5066975"/>
            <a:ext cx="1009402" cy="498598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200" b="1" dirty="0" smtClean="0">
                <a:latin typeface="Arial "/>
              </a:rPr>
              <a:t>ES as self-controlling system</a:t>
            </a:r>
            <a:endParaRPr lang="en-US" sz="1200" b="1" dirty="0">
              <a:latin typeface="Arial "/>
            </a:endParaRPr>
          </a:p>
        </p:txBody>
      </p:sp>
      <p:cxnSp>
        <p:nvCxnSpPr>
          <p:cNvPr id="49" name="Straight Connector 48"/>
          <p:cNvCxnSpPr/>
          <p:nvPr>
            <p:custDataLst>
              <p:tags r:id="rId21"/>
            </p:custDataLst>
          </p:nvPr>
        </p:nvCxnSpPr>
        <p:spPr>
          <a:xfrm rot="5400000" flipH="1" flipV="1">
            <a:off x="2909523" y="4509866"/>
            <a:ext cx="992008" cy="0"/>
          </a:xfrm>
          <a:prstGeom prst="line">
            <a:avLst/>
          </a:prstGeom>
          <a:ln w="28575" cap="rnd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Freeform 53"/>
          <p:cNvSpPr/>
          <p:nvPr>
            <p:custDataLst>
              <p:tags r:id="rId22"/>
            </p:custDataLst>
          </p:nvPr>
        </p:nvSpPr>
        <p:spPr>
          <a:xfrm>
            <a:off x="417121" y="2669968"/>
            <a:ext cx="3797300" cy="1845627"/>
          </a:xfrm>
          <a:custGeom>
            <a:avLst/>
            <a:gdLst>
              <a:gd name="connsiteX0" fmla="*/ 0 w 3693226"/>
              <a:gd name="connsiteY0" fmla="*/ 2268187 h 2268187"/>
              <a:gd name="connsiteX1" fmla="*/ 2826328 w 3693226"/>
              <a:gd name="connsiteY1" fmla="*/ 1567542 h 2268187"/>
              <a:gd name="connsiteX2" fmla="*/ 3693226 w 3693226"/>
              <a:gd name="connsiteY2" fmla="*/ 0 h 2268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93226" h="2268187">
                <a:moveTo>
                  <a:pt x="0" y="2268187"/>
                </a:moveTo>
                <a:cubicBezTo>
                  <a:pt x="1105395" y="2106880"/>
                  <a:pt x="2210790" y="1945573"/>
                  <a:pt x="2826328" y="1567542"/>
                </a:cubicBezTo>
                <a:cubicBezTo>
                  <a:pt x="3441866" y="1189511"/>
                  <a:pt x="3567546" y="594755"/>
                  <a:pt x="3693226" y="0"/>
                </a:cubicBezTo>
              </a:path>
            </a:pathLst>
          </a:custGeom>
          <a:ln w="571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55" name="Rectangle 54"/>
          <p:cNvSpPr/>
          <p:nvPr>
            <p:custDataLst>
              <p:tags r:id="rId23"/>
            </p:custDataLst>
          </p:nvPr>
        </p:nvSpPr>
        <p:spPr>
          <a:xfrm>
            <a:off x="3420094" y="2695699"/>
            <a:ext cx="1045028" cy="1330036"/>
          </a:xfrm>
          <a:prstGeom prst="rect">
            <a:avLst/>
          </a:prstGeom>
          <a:solidFill>
            <a:schemeClr val="bg1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Isosceles Triangle 46"/>
          <p:cNvSpPr/>
          <p:nvPr>
            <p:custDataLst>
              <p:tags r:id="rId24"/>
            </p:custDataLst>
          </p:nvPr>
        </p:nvSpPr>
        <p:spPr>
          <a:xfrm rot="600000">
            <a:off x="4132263" y="2507675"/>
            <a:ext cx="187325" cy="220663"/>
          </a:xfrm>
          <a:prstGeom prst="triangle">
            <a:avLst/>
          </a:prstGeom>
          <a:solidFill>
            <a:schemeClr val="bg2"/>
          </a:solidFill>
          <a:ln w="127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endParaRPr lang="en-US" sz="14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093" name="TextBox 4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698113" y="2782500"/>
            <a:ext cx="522287" cy="304800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100" b="1" dirty="0">
                <a:latin typeface="Arial "/>
              </a:rPr>
              <a:t>Value Add</a:t>
            </a:r>
          </a:p>
        </p:txBody>
      </p:sp>
      <p:sp>
        <p:nvSpPr>
          <p:cNvPr id="42" name="TextBox 56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3461843" y="4046516"/>
            <a:ext cx="896410" cy="332399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200" i="1" dirty="0" smtClean="0">
                <a:latin typeface="Arial "/>
              </a:rPr>
              <a:t>Autonomous system</a:t>
            </a:r>
            <a:endParaRPr lang="en-US" sz="1200" i="1" dirty="0">
              <a:latin typeface="Arial "/>
            </a:endParaRPr>
          </a:p>
        </p:txBody>
      </p:sp>
      <p:sp>
        <p:nvSpPr>
          <p:cNvPr id="35" name="Freeform 34"/>
          <p:cNvSpPr/>
          <p:nvPr>
            <p:custDataLst>
              <p:tags r:id="rId27"/>
            </p:custDataLst>
          </p:nvPr>
        </p:nvSpPr>
        <p:spPr>
          <a:xfrm>
            <a:off x="419100" y="2671947"/>
            <a:ext cx="3797300" cy="1845627"/>
          </a:xfrm>
          <a:custGeom>
            <a:avLst/>
            <a:gdLst>
              <a:gd name="connsiteX0" fmla="*/ 0 w 3693226"/>
              <a:gd name="connsiteY0" fmla="*/ 2268187 h 2268187"/>
              <a:gd name="connsiteX1" fmla="*/ 2826328 w 3693226"/>
              <a:gd name="connsiteY1" fmla="*/ 1567542 h 2268187"/>
              <a:gd name="connsiteX2" fmla="*/ 3693226 w 3693226"/>
              <a:gd name="connsiteY2" fmla="*/ 0 h 2268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93226" h="2268187">
                <a:moveTo>
                  <a:pt x="0" y="2268187"/>
                </a:moveTo>
                <a:cubicBezTo>
                  <a:pt x="1105395" y="2106880"/>
                  <a:pt x="2210790" y="1945573"/>
                  <a:pt x="2826328" y="1567542"/>
                </a:cubicBezTo>
                <a:cubicBezTo>
                  <a:pt x="3441866" y="1189511"/>
                  <a:pt x="3567546" y="594755"/>
                  <a:pt x="3693226" y="0"/>
                </a:cubicBezTo>
              </a:path>
            </a:pathLst>
          </a:custGeom>
          <a:ln w="57150" cap="rnd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3" name="Oval 32"/>
          <p:cNvSpPr/>
          <p:nvPr>
            <p:custDataLst>
              <p:tags r:id="rId28"/>
            </p:custDataLst>
          </p:nvPr>
        </p:nvSpPr>
        <p:spPr>
          <a:xfrm>
            <a:off x="386331" y="4229100"/>
            <a:ext cx="793338" cy="406400"/>
          </a:xfrm>
          <a:prstGeom prst="ellipse">
            <a:avLst/>
          </a:prstGeom>
          <a:solidFill>
            <a:schemeClr val="accent2"/>
          </a:solidFill>
          <a:ln w="12700" cap="rnd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100" b="1" dirty="0">
                <a:solidFill>
                  <a:schemeClr val="bg1"/>
                </a:solidFill>
                <a:cs typeface="Arial" pitchFamily="34" charset="0"/>
              </a:rPr>
              <a:t>ABS</a:t>
            </a:r>
          </a:p>
        </p:txBody>
      </p:sp>
      <p:sp>
        <p:nvSpPr>
          <p:cNvPr id="34" name="Oval 33"/>
          <p:cNvSpPr/>
          <p:nvPr>
            <p:custDataLst>
              <p:tags r:id="rId29"/>
            </p:custDataLst>
          </p:nvPr>
        </p:nvSpPr>
        <p:spPr>
          <a:xfrm>
            <a:off x="1400000" y="4089725"/>
            <a:ext cx="891957" cy="406400"/>
          </a:xfrm>
          <a:prstGeom prst="ellipse">
            <a:avLst/>
          </a:prstGeom>
          <a:solidFill>
            <a:schemeClr val="accent2"/>
          </a:solidFill>
          <a:ln w="12700" cap="rnd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Ins="0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100" b="1" dirty="0">
                <a:solidFill>
                  <a:schemeClr val="bg1"/>
                </a:solidFill>
                <a:cs typeface="Arial" pitchFamily="34" charset="0"/>
              </a:rPr>
              <a:t>Brake assistant</a:t>
            </a:r>
          </a:p>
        </p:txBody>
      </p:sp>
      <p:sp>
        <p:nvSpPr>
          <p:cNvPr id="36" name="Oval 35"/>
          <p:cNvSpPr/>
          <p:nvPr>
            <p:custDataLst>
              <p:tags r:id="rId30"/>
            </p:custDataLst>
          </p:nvPr>
        </p:nvSpPr>
        <p:spPr>
          <a:xfrm>
            <a:off x="2460525" y="3829450"/>
            <a:ext cx="900206" cy="406400"/>
          </a:xfrm>
          <a:prstGeom prst="ellipse">
            <a:avLst/>
          </a:prstGeom>
          <a:solidFill>
            <a:schemeClr val="accent2"/>
          </a:solidFill>
          <a:ln w="12700" cap="rnd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100" b="1" dirty="0">
                <a:solidFill>
                  <a:schemeClr val="bg1"/>
                </a:solidFill>
                <a:cs typeface="Arial" pitchFamily="34" charset="0"/>
              </a:rPr>
              <a:t>Drive assistant</a:t>
            </a:r>
          </a:p>
        </p:txBody>
      </p:sp>
      <p:sp>
        <p:nvSpPr>
          <p:cNvPr id="3105" name="TextBox 5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2535575" y="4343400"/>
            <a:ext cx="749300" cy="331788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200" i="1" dirty="0" smtClean="0">
                <a:latin typeface="Arial "/>
              </a:rPr>
              <a:t>Interactive system</a:t>
            </a:r>
            <a:endParaRPr lang="en-US" sz="1200" i="1" dirty="0">
              <a:latin typeface="Arial "/>
            </a:endParaRPr>
          </a:p>
        </p:txBody>
      </p:sp>
      <p:sp>
        <p:nvSpPr>
          <p:cNvPr id="43" name="Oval 42"/>
          <p:cNvSpPr/>
          <p:nvPr>
            <p:custDataLst>
              <p:tags r:id="rId32"/>
            </p:custDataLst>
          </p:nvPr>
        </p:nvSpPr>
        <p:spPr>
          <a:xfrm>
            <a:off x="3446175" y="3378184"/>
            <a:ext cx="900206" cy="406400"/>
          </a:xfrm>
          <a:prstGeom prst="ellipse">
            <a:avLst/>
          </a:prstGeom>
          <a:solidFill>
            <a:schemeClr val="accent4"/>
          </a:solidFill>
          <a:ln w="12700" cap="rnd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100" b="1" dirty="0" smtClean="0">
                <a:solidFill>
                  <a:schemeClr val="bg1"/>
                </a:solidFill>
                <a:cs typeface="Arial" pitchFamily="34" charset="0"/>
              </a:rPr>
              <a:t>C2C comm.</a:t>
            </a:r>
            <a:endParaRPr lang="en-US" sz="11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6" name="Oval 55"/>
          <p:cNvSpPr/>
          <p:nvPr>
            <p:custDataLst>
              <p:tags r:id="rId33"/>
            </p:custDataLst>
          </p:nvPr>
        </p:nvSpPr>
        <p:spPr>
          <a:xfrm>
            <a:off x="292600" y="2855850"/>
            <a:ext cx="1512000" cy="684000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endParaRPr 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0" name="Oval 29"/>
          <p:cNvSpPr/>
          <p:nvPr>
            <p:custDataLst>
              <p:tags r:id="rId34"/>
            </p:custDataLst>
          </p:nvPr>
        </p:nvSpPr>
        <p:spPr>
          <a:xfrm>
            <a:off x="330200" y="2881575"/>
            <a:ext cx="1422400" cy="609600"/>
          </a:xfrm>
          <a:prstGeom prst="ellipse">
            <a:avLst/>
          </a:prstGeom>
          <a:solidFill>
            <a:schemeClr val="bg2"/>
          </a:solidFill>
          <a:ln w="127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200" b="1" dirty="0">
                <a:solidFill>
                  <a:schemeClr val="bg1"/>
                </a:solidFill>
                <a:cs typeface="Arial" pitchFamily="34" charset="0"/>
              </a:rPr>
              <a:t>Example: Braking systems</a:t>
            </a:r>
          </a:p>
        </p:txBody>
      </p:sp>
      <p:sp>
        <p:nvSpPr>
          <p:cNvPr id="3076" name="Text Box 15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4598988" y="2433063"/>
            <a:ext cx="4292600" cy="324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177800" indent="-177800">
              <a:spcBef>
                <a:spcPts val="600"/>
              </a:spcBef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Embedded systems are designed to do some specific task, rather than be a general-purpose computer for multiple tasks. </a:t>
            </a:r>
          </a:p>
          <a:p>
            <a:pPr marL="177800" indent="-177800">
              <a:spcBef>
                <a:spcPts val="600"/>
              </a:spcBef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Some also have real-time performance constraints that must be met, for reasons such as safety and usability; </a:t>
            </a:r>
          </a:p>
          <a:p>
            <a:pPr marL="177800" indent="-177800">
              <a:spcBef>
                <a:spcPts val="600"/>
              </a:spcBef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Others may have low or no performance requirements, allowing the system hardware to be simplified to reduce costs.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en-US" sz="1400" dirty="0" smtClean="0">
                <a:latin typeface="+mn-lt"/>
              </a:rPr>
              <a:t>Embedded systems are often part of a complete device including software, hardware and mechanical components</a:t>
            </a:r>
            <a:endParaRPr lang="en-US" sz="1400" b="1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Rectangle 19"/>
          <p:cNvSpPr/>
          <p:nvPr>
            <p:custDataLst>
              <p:tags r:id="rId36"/>
            </p:custDataLst>
          </p:nvPr>
        </p:nvSpPr>
        <p:spPr>
          <a:xfrm>
            <a:off x="2405217" y="2600698"/>
            <a:ext cx="2016000" cy="3024000"/>
          </a:xfrm>
          <a:prstGeom prst="rect">
            <a:avLst/>
          </a:prstGeom>
          <a:noFill/>
          <a:ln w="28575" cap="rnd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endParaRPr lang="en-US" sz="14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086" name="TextBox 18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3023632" y="2476875"/>
            <a:ext cx="777875" cy="2492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bg2"/>
                </a:solidFill>
              </a:rPr>
              <a:t>Focu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7826" name="think-cell Slide" r:id="rId9" imgW="0" imgH="0" progId="">
              <p:embed/>
            </p:oleObj>
          </a:graphicData>
        </a:graphic>
      </p:graphicFrame>
      <p:sp>
        <p:nvSpPr>
          <p:cNvPr id="48" name="Rectangle 4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anchor="ctr"/>
          <a:lstStyle/>
          <a:p>
            <a:pPr algn="ctr">
              <a:buClr>
                <a:srgbClr val="7D0900"/>
              </a:buClr>
              <a:defRPr/>
            </a:pPr>
            <a:r>
              <a:rPr lang="en-US" sz="800" b="1">
                <a:solidFill>
                  <a:srgbClr val="000000"/>
                </a:solidFill>
                <a:cs typeface="Arial"/>
                <a:sym typeface="Arial "/>
              </a:rPr>
              <a:t>58.0</a:t>
            </a:r>
            <a:endParaRPr lang="en-US" sz="800" b="1" dirty="0" err="1">
              <a:solidFill>
                <a:srgbClr val="000000"/>
              </a:solidFill>
              <a:cs typeface="Arial"/>
              <a:sym typeface="Arial "/>
            </a:endParaRPr>
          </a:p>
        </p:txBody>
      </p:sp>
      <p:sp>
        <p:nvSpPr>
          <p:cNvPr id="3079" name="AutoShape 68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>
            <a:off x="827585" y="5373216"/>
            <a:ext cx="7452000" cy="2160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rot="10800000" wrap="none"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3080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4475" y="6597650"/>
            <a:ext cx="6842125" cy="1444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  <a:tabLst>
                <a:tab pos="687388" algn="l"/>
                <a:tab pos="2116138" algn="l"/>
              </a:tabLst>
            </a:pPr>
            <a:endParaRPr lang="en-US" sz="1000" dirty="0">
              <a:solidFill>
                <a:srgbClr val="000000"/>
              </a:solidFill>
            </a:endParaRPr>
          </a:p>
          <a:p>
            <a:pPr eaLnBrk="0" hangingPunct="0">
              <a:lnSpc>
                <a:spcPct val="85000"/>
              </a:lnSpc>
              <a:tabLst>
                <a:tab pos="687388" algn="l"/>
                <a:tab pos="2116138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Source: BITKOM; A.T. Kearney Embedded Systems Study 2010</a:t>
            </a:r>
          </a:p>
        </p:txBody>
      </p:sp>
      <p:sp>
        <p:nvSpPr>
          <p:cNvPr id="3081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4475" y="1616075"/>
            <a:ext cx="7064375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0000"/>
                </a:solidFill>
              </a:rPr>
              <a:t>Characteristics of Embedded Systems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3082" name="Title 1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altLang="ko-KR" dirty="0" smtClean="0"/>
              <a:t>The notion of Embedded Systems is rather diverse and stands for a </a:t>
            </a:r>
            <a:r>
              <a:rPr lang="en-US" dirty="0" smtClean="0"/>
              <a:t>very wide variety of devices and </a:t>
            </a:r>
            <a:r>
              <a:rPr lang="de-DE" dirty="0" err="1" smtClean="0"/>
              <a:t>systems</a:t>
            </a:r>
            <a:endParaRPr lang="en-US" dirty="0" smtClean="0"/>
          </a:p>
        </p:txBody>
      </p:sp>
      <p:sp>
        <p:nvSpPr>
          <p:cNvPr id="50" name="TextBox 49"/>
          <p:cNvSpPr txBox="1"/>
          <p:nvPr>
            <p:custDataLst>
              <p:tags r:id="rId7"/>
            </p:custDataLst>
          </p:nvPr>
        </p:nvSpPr>
        <p:spPr>
          <a:xfrm>
            <a:off x="253077" y="5803407"/>
            <a:ext cx="8648700" cy="652486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</a:rPr>
              <a:t>As the word “Embedded” implies, these systems are “hidden” in a hosting system and their impact is therefore often not immediately measurable</a:t>
            </a:r>
            <a:r>
              <a:rPr lang="de-DE" b="1" dirty="0" smtClean="0">
                <a:solidFill>
                  <a:schemeClr val="bg1"/>
                </a:solidFill>
              </a:rPr>
              <a:t>.</a:t>
            </a:r>
            <a:endParaRPr lang="en-US" b="1" dirty="0" smtClean="0">
              <a:solidFill>
                <a:schemeClr val="bg1"/>
              </a:solidFill>
            </a:endParaRPr>
          </a:p>
        </p:txBody>
      </p:sp>
      <p:pic>
        <p:nvPicPr>
          <p:cNvPr id="625667" name="Picture 3"/>
          <p:cNvPicPr>
            <a:picLocks noChangeAspect="1" noChangeArrowheads="1"/>
          </p:cNvPicPr>
          <p:nvPr/>
        </p:nvPicPr>
        <p:blipFill>
          <a:blip r:embed="rId10" cstate="print"/>
          <a:srcRect b="817"/>
          <a:stretch>
            <a:fillRect/>
          </a:stretch>
        </p:blipFill>
        <p:spPr bwMode="auto">
          <a:xfrm>
            <a:off x="253077" y="2097361"/>
            <a:ext cx="8641654" cy="1963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Rectangle 14"/>
          <p:cNvSpPr/>
          <p:nvPr/>
        </p:nvSpPr>
        <p:spPr>
          <a:xfrm>
            <a:off x="215517" y="2135755"/>
            <a:ext cx="5256583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Embedded systems are some combination of computer hardware, software and mechanical components, either fixed in capability or programmable.</a:t>
            </a:r>
          </a:p>
          <a:p>
            <a:pPr marL="177800" indent="-177800"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It is a dedicated system that is often an important part of a larger heterogeneous system.</a:t>
            </a:r>
          </a:p>
          <a:p>
            <a:pPr marL="177800" indent="-177800"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Embedded systems are designed for a particular function, rather than being a general-purpose computer for multiple tasks. </a:t>
            </a:r>
          </a:p>
          <a:p>
            <a:pPr marL="177800" indent="-177800"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Some also have real-time performance constraints that must be met, for reasons such as safety and usability; </a:t>
            </a:r>
          </a:p>
          <a:p>
            <a:pPr marL="177800" indent="-177800"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Others may have low or no performance requirements, allowing the system hardware to be simplified to reduce costs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57762" name="think-cell Slide" r:id="rId41" imgW="0" imgH="0" progId="">
              <p:embed/>
            </p:oleObj>
          </a:graphicData>
        </a:graphic>
      </p:graphicFrame>
      <p:sp>
        <p:nvSpPr>
          <p:cNvPr id="6147" name="Rectangle 37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>
                <a:sym typeface="Arial" pitchFamily="34" charset="0"/>
              </a:rPr>
              <a:t>t</a:t>
            </a:r>
          </a:p>
        </p:txBody>
      </p:sp>
      <p:sp>
        <p:nvSpPr>
          <p:cNvPr id="52" name="Up Arrow 51"/>
          <p:cNvSpPr/>
          <p:nvPr>
            <p:custDataLst>
              <p:tags r:id="rId3"/>
            </p:custDataLst>
          </p:nvPr>
        </p:nvSpPr>
        <p:spPr>
          <a:xfrm>
            <a:off x="6273039" y="1911931"/>
            <a:ext cx="1873433" cy="3494908"/>
          </a:xfrm>
          <a:prstGeom prst="upArrow">
            <a:avLst>
              <a:gd name="adj1" fmla="val 69068"/>
              <a:gd name="adj2" fmla="val 16458"/>
            </a:avLst>
          </a:prstGeom>
          <a:solidFill>
            <a:schemeClr val="bg1">
              <a:lumMod val="8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1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59428" y="2348880"/>
            <a:ext cx="6946809" cy="2458251"/>
          </a:xfrm>
          <a:prstGeom prst="rect">
            <a:avLst/>
          </a:prstGeom>
          <a:solidFill>
            <a:schemeClr val="bg2">
              <a:alpha val="10000"/>
            </a:schemeClr>
          </a:solidFill>
          <a:ln w="12700" algn="ctr">
            <a:solidFill>
              <a:schemeClr val="bg2"/>
            </a:solidFill>
            <a:prstDash val="sysDash"/>
            <a:miter lim="800000"/>
            <a:headEnd/>
            <a:tailEnd/>
          </a:ln>
        </p:spPr>
        <p:txBody>
          <a:bodyPr lIns="3744000" tIns="72000" rIns="72000" bIns="72000" anchor="ctr" anchorCtr="0"/>
          <a:lstStyle/>
          <a:p>
            <a:pPr marL="269875" indent="-182563" defTabSz="269875">
              <a:lnSpc>
                <a:spcPct val="90000"/>
              </a:lnSpc>
              <a:spcBef>
                <a:spcPts val="600"/>
              </a:spcBef>
            </a:pPr>
            <a:endParaRPr lang="en-US" sz="1300" dirty="0" smtClean="0"/>
          </a:p>
        </p:txBody>
      </p:sp>
      <p:sp>
        <p:nvSpPr>
          <p:cNvPr id="6149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44475" y="6597650"/>
            <a:ext cx="6842125" cy="1444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41338" indent="-541338" eaLnBrk="0" hangingPunct="0">
              <a:lnSpc>
                <a:spcPct val="85000"/>
              </a:lnSpc>
              <a:tabLst>
                <a:tab pos="2116138" algn="l"/>
              </a:tabLst>
            </a:pPr>
            <a:r>
              <a:rPr lang="en-US" sz="1000" dirty="0"/>
              <a:t>Source: </a:t>
            </a:r>
            <a:r>
              <a:rPr lang="en-US" sz="1000" dirty="0">
                <a:solidFill>
                  <a:srgbClr val="000000"/>
                </a:solidFill>
              </a:rPr>
              <a:t>A.T. Kearney Embedded Systems Study 2010</a:t>
            </a:r>
            <a:endParaRPr lang="en-US" sz="1000" dirty="0"/>
          </a:p>
        </p:txBody>
      </p:sp>
      <p:sp>
        <p:nvSpPr>
          <p:cNvPr id="6150" name="Rectangle 4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altLang="ko-KR" dirty="0" smtClean="0"/>
              <a:t>Embedded E</a:t>
            </a:r>
            <a:r>
              <a:rPr lang="en-US" dirty="0" smtClean="0">
                <a:solidFill>
                  <a:srgbClr val="000000"/>
                </a:solidFill>
              </a:rPr>
              <a:t>lectronic </a:t>
            </a:r>
            <a:r>
              <a:rPr lang="en-US" altLang="ko-KR" dirty="0" smtClean="0"/>
              <a:t>Systems (EES) stand for a </a:t>
            </a:r>
            <a:r>
              <a:rPr lang="en-US" dirty="0" smtClean="0"/>
              <a:t>wide variety of devices and services</a:t>
            </a:r>
          </a:p>
        </p:txBody>
      </p:sp>
      <p:sp>
        <p:nvSpPr>
          <p:cNvPr id="30" name="TextBox 29"/>
          <p:cNvSpPr txBox="1"/>
          <p:nvPr>
            <p:custDataLst>
              <p:tags r:id="rId7"/>
            </p:custDataLst>
          </p:nvPr>
        </p:nvSpPr>
        <p:spPr>
          <a:xfrm>
            <a:off x="3278778" y="3350841"/>
            <a:ext cx="2319488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rnd">
            <a:solidFill>
              <a:schemeClr val="tx1"/>
            </a:solidFill>
          </a:ln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100" b="1" dirty="0" smtClean="0"/>
              <a:t>Software as a product (</a:t>
            </a:r>
            <a:r>
              <a:rPr lang="en-US" sz="1100" b="1" dirty="0" err="1" smtClean="0"/>
              <a:t>SaaP</a:t>
            </a:r>
            <a:r>
              <a:rPr lang="en-US" sz="1100" b="1" dirty="0" smtClean="0"/>
              <a:t>)</a:t>
            </a:r>
            <a:endParaRPr lang="en-US" sz="1100" b="1" dirty="0"/>
          </a:p>
        </p:txBody>
      </p:sp>
      <p:sp>
        <p:nvSpPr>
          <p:cNvPr id="12" name="TextBox 11"/>
          <p:cNvSpPr txBox="1"/>
          <p:nvPr>
            <p:custDataLst>
              <p:tags r:id="rId8"/>
            </p:custDataLst>
          </p:nvPr>
        </p:nvSpPr>
        <p:spPr>
          <a:xfrm>
            <a:off x="1998618" y="4151499"/>
            <a:ext cx="3599648" cy="612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rnd">
            <a:solidFill>
              <a:schemeClr val="tx1"/>
            </a:solidFill>
          </a:ln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100" b="1" dirty="0">
                <a:latin typeface="Arial"/>
              </a:rPr>
              <a:t>Mechanical component + </a:t>
            </a:r>
            <a:r>
              <a:rPr lang="en-US" sz="1100" b="1" dirty="0" smtClean="0">
                <a:latin typeface="Arial"/>
              </a:rPr>
              <a:t/>
            </a:r>
            <a:br>
              <a:rPr lang="en-US" sz="1100" b="1" dirty="0" smtClean="0">
                <a:latin typeface="Arial"/>
              </a:rPr>
            </a:br>
            <a:r>
              <a:rPr lang="en-US" sz="1100" b="1" dirty="0" smtClean="0">
                <a:latin typeface="Arial"/>
              </a:rPr>
              <a:t>Value </a:t>
            </a:r>
            <a:r>
              <a:rPr lang="en-US" sz="1100" b="1" dirty="0">
                <a:latin typeface="Arial"/>
              </a:rPr>
              <a:t>Added Service (VAS</a:t>
            </a:r>
            <a:r>
              <a:rPr lang="en-US" sz="1100" b="1" dirty="0" smtClean="0">
                <a:latin typeface="Arial"/>
              </a:rPr>
              <a:t>)</a:t>
            </a:r>
            <a:endParaRPr lang="en-US" sz="1100" b="1" dirty="0">
              <a:latin typeface="Arial"/>
            </a:endParaRPr>
          </a:p>
        </p:txBody>
      </p:sp>
      <p:sp>
        <p:nvSpPr>
          <p:cNvPr id="6153" name="TextBox 1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42266" y="4844158"/>
            <a:ext cx="4356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solidFill>
              <a:schemeClr val="tx1"/>
            </a:solidFill>
            <a:prstDash val="dash"/>
          </a:ln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100" b="1" dirty="0">
                <a:latin typeface="Arial"/>
              </a:rPr>
              <a:t>Mechanical comp. + electronic Add-on (</a:t>
            </a:r>
            <a:r>
              <a:rPr lang="en-US" sz="1100" b="1" dirty="0" err="1">
                <a:latin typeface="Arial"/>
              </a:rPr>
              <a:t>Mechatronic</a:t>
            </a:r>
            <a:r>
              <a:rPr lang="en-US" sz="1100" b="1" dirty="0" smtClean="0">
                <a:latin typeface="Arial"/>
              </a:rPr>
              <a:t>)</a:t>
            </a:r>
            <a:endParaRPr lang="en-US" sz="1100" b="1" dirty="0">
              <a:latin typeface="Arial"/>
            </a:endParaRPr>
          </a:p>
        </p:txBody>
      </p:sp>
      <p:sp>
        <p:nvSpPr>
          <p:cNvPr id="15" name="TextBox 14"/>
          <p:cNvSpPr txBox="1"/>
          <p:nvPr>
            <p:custDataLst>
              <p:tags r:id="rId10"/>
            </p:custDataLst>
          </p:nvPr>
        </p:nvSpPr>
        <p:spPr>
          <a:xfrm>
            <a:off x="342266" y="5430837"/>
            <a:ext cx="5256000" cy="2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rnd">
            <a:solidFill>
              <a:schemeClr val="tx1"/>
            </a:solidFill>
            <a:prstDash val="dash"/>
          </a:ln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100" b="1" dirty="0">
                <a:latin typeface="Arial"/>
              </a:rPr>
              <a:t>Mechanical </a:t>
            </a:r>
            <a:r>
              <a:rPr lang="en-US" sz="1100" b="1" dirty="0" smtClean="0">
                <a:latin typeface="Arial"/>
              </a:rPr>
              <a:t>component</a:t>
            </a:r>
            <a:endParaRPr lang="en-US" sz="1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62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44475" y="1616075"/>
            <a:ext cx="7064375" cy="2492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b="1" dirty="0" smtClean="0">
                <a:solidFill>
                  <a:srgbClr val="000000"/>
                </a:solidFill>
              </a:rPr>
              <a:t>Characteristics of embedded electronic systems (EES)</a:t>
            </a:r>
            <a:endParaRPr lang="en-US" b="1" dirty="0">
              <a:solidFill>
                <a:srgbClr val="000000"/>
              </a:solidFill>
            </a:endParaRPr>
          </a:p>
        </p:txBody>
      </p:sp>
      <p:cxnSp>
        <p:nvCxnSpPr>
          <p:cNvPr id="38" name="Straight Connector 37"/>
          <p:cNvCxnSpPr/>
          <p:nvPr>
            <p:custDataLst>
              <p:tags r:id="rId12"/>
            </p:custDataLst>
          </p:nvPr>
        </p:nvCxnSpPr>
        <p:spPr>
          <a:xfrm>
            <a:off x="358867" y="5349241"/>
            <a:ext cx="5400000" cy="0"/>
          </a:xfrm>
          <a:prstGeom prst="line">
            <a:avLst/>
          </a:prstGeom>
          <a:ln w="12700" cap="rnd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140927" y="2406183"/>
            <a:ext cx="1457339" cy="8640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ap="rnd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100" b="1" dirty="0" smtClean="0"/>
              <a:t>Self-controlling/ autonomous systems</a:t>
            </a:r>
            <a:endParaRPr lang="en-US" sz="1100" b="1" dirty="0"/>
          </a:p>
        </p:txBody>
      </p:sp>
      <p:sp>
        <p:nvSpPr>
          <p:cNvPr id="39" name="Rectangle 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053837" y="6025603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>
                <a:solidFill>
                  <a:srgbClr val="000000"/>
                </a:solidFill>
              </a:rPr>
              <a:t>1970</a:t>
            </a:r>
            <a:endParaRPr lang="en-US" sz="1000" i="1" dirty="0"/>
          </a:p>
        </p:txBody>
      </p:sp>
      <p:sp>
        <p:nvSpPr>
          <p:cNvPr id="40" name="Rectangle 6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308589" y="6025603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>
                <a:solidFill>
                  <a:srgbClr val="000000"/>
                </a:solidFill>
              </a:rPr>
              <a:t>2030</a:t>
            </a:r>
            <a:endParaRPr lang="en-US" sz="1000" i="1" dirty="0"/>
          </a:p>
        </p:txBody>
      </p:sp>
      <p:sp>
        <p:nvSpPr>
          <p:cNvPr id="41" name="Line 23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318515" y="5877949"/>
            <a:ext cx="3785599" cy="12214"/>
          </a:xfrm>
          <a:prstGeom prst="line">
            <a:avLst/>
          </a:prstGeom>
          <a:noFill/>
          <a:ln w="7620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lIns="72000" tIns="72000" rIns="72000" bIns="72000" anchor="ctr"/>
          <a:lstStyle/>
          <a:p>
            <a:endParaRPr lang="de-DE" sz="1100" dirty="0"/>
          </a:p>
        </p:txBody>
      </p:sp>
      <p:sp>
        <p:nvSpPr>
          <p:cNvPr id="43" name="Line 23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 flipV="1">
            <a:off x="342266" y="3265717"/>
            <a:ext cx="0" cy="2638697"/>
          </a:xfrm>
          <a:prstGeom prst="line">
            <a:avLst/>
          </a:prstGeom>
          <a:noFill/>
          <a:ln w="7620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lIns="72000" tIns="72000" rIns="72000" bIns="72000" anchor="ctr"/>
          <a:lstStyle/>
          <a:p>
            <a:endParaRPr lang="de-DE" dirty="0"/>
          </a:p>
        </p:txBody>
      </p:sp>
      <p:sp>
        <p:nvSpPr>
          <p:cNvPr id="44" name="Line 23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 flipV="1">
            <a:off x="342267" y="2332222"/>
            <a:ext cx="5390" cy="898429"/>
          </a:xfrm>
          <a:prstGeom prst="line">
            <a:avLst/>
          </a:prstGeom>
          <a:noFill/>
          <a:ln w="76200">
            <a:solidFill>
              <a:schemeClr val="bg1">
                <a:lumMod val="75000"/>
              </a:schemeClr>
            </a:solidFill>
            <a:round/>
            <a:headEnd/>
            <a:tailEnd type="triangle" w="med" len="med"/>
          </a:ln>
        </p:spPr>
        <p:txBody>
          <a:bodyPr lIns="72000" tIns="72000" rIns="72000" bIns="72000" anchor="ctr"/>
          <a:lstStyle/>
          <a:p>
            <a:endParaRPr lang="de-DE" dirty="0"/>
          </a:p>
        </p:txBody>
      </p:sp>
      <p:sp>
        <p:nvSpPr>
          <p:cNvPr id="45" name="Rectangle 6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762962" y="6025603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>
                <a:solidFill>
                  <a:srgbClr val="000000"/>
                </a:solidFill>
              </a:rPr>
              <a:t>1980</a:t>
            </a:r>
            <a:endParaRPr lang="en-US" sz="1000" i="1" dirty="0"/>
          </a:p>
        </p:txBody>
      </p:sp>
      <p:sp>
        <p:nvSpPr>
          <p:cNvPr id="46" name="Rectangle 6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472087" y="6025603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>
                <a:solidFill>
                  <a:srgbClr val="000000"/>
                </a:solidFill>
              </a:rPr>
              <a:t>1990</a:t>
            </a:r>
            <a:endParaRPr lang="en-US" sz="1000" i="1" dirty="0"/>
          </a:p>
        </p:txBody>
      </p:sp>
      <p:sp>
        <p:nvSpPr>
          <p:cNvPr id="47" name="Rectangle 6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3181212" y="6025603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>
                <a:solidFill>
                  <a:srgbClr val="000000"/>
                </a:solidFill>
              </a:rPr>
              <a:t>2000</a:t>
            </a:r>
            <a:endParaRPr lang="en-US" sz="1000" i="1" dirty="0"/>
          </a:p>
        </p:txBody>
      </p:sp>
      <p:sp>
        <p:nvSpPr>
          <p:cNvPr id="48" name="Rectangle 6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3890337" y="6025603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>
                <a:solidFill>
                  <a:srgbClr val="000000"/>
                </a:solidFill>
              </a:rPr>
              <a:t>2010</a:t>
            </a:r>
            <a:endParaRPr lang="en-US" sz="1000" i="1" dirty="0"/>
          </a:p>
        </p:txBody>
      </p:sp>
      <p:sp>
        <p:nvSpPr>
          <p:cNvPr id="49" name="Rectangle 6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4599462" y="6025603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>
                <a:solidFill>
                  <a:srgbClr val="000000"/>
                </a:solidFill>
              </a:rPr>
              <a:t>2020</a:t>
            </a:r>
            <a:endParaRPr lang="en-US" sz="1000" i="1" dirty="0"/>
          </a:p>
        </p:txBody>
      </p:sp>
      <p:sp>
        <p:nvSpPr>
          <p:cNvPr id="50" name="Rectangle 6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344712" y="6025603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>
                <a:solidFill>
                  <a:srgbClr val="000000"/>
                </a:solidFill>
              </a:rPr>
              <a:t>1960</a:t>
            </a:r>
            <a:endParaRPr lang="en-US" sz="1000" i="1" dirty="0"/>
          </a:p>
        </p:txBody>
      </p:sp>
      <p:sp>
        <p:nvSpPr>
          <p:cNvPr id="61" name="Rectangle 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250825" y="2084025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>
                <a:solidFill>
                  <a:srgbClr val="000000"/>
                </a:solidFill>
              </a:rPr>
              <a:t>Innovation / Added-Value</a:t>
            </a:r>
            <a:endParaRPr lang="en-US" sz="1000" i="1" dirty="0"/>
          </a:p>
        </p:txBody>
      </p:sp>
      <p:sp>
        <p:nvSpPr>
          <p:cNvPr id="65" name="Explosion 1 64"/>
          <p:cNvSpPr/>
          <p:nvPr>
            <p:custDataLst>
              <p:tags r:id="rId26"/>
            </p:custDataLst>
          </p:nvPr>
        </p:nvSpPr>
        <p:spPr>
          <a:xfrm>
            <a:off x="2022515" y="2371412"/>
            <a:ext cx="1439143" cy="1171637"/>
          </a:xfrm>
          <a:prstGeom prst="irregularSeal1">
            <a:avLst/>
          </a:prstGeom>
          <a:solidFill>
            <a:schemeClr val="bg2"/>
          </a:solidFill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" rIns="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000" b="1" dirty="0" smtClean="0">
                <a:solidFill>
                  <a:schemeClr val="bg1"/>
                </a:solidFill>
                <a:cs typeface="Arial" pitchFamily="34" charset="0"/>
              </a:rPr>
              <a:t>Embedded Electronic Systems</a:t>
            </a:r>
            <a:endParaRPr lang="en-US" sz="10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71" name="Picture 8" descr="http://diepresse.com/images/uploads/e/5/4/351828/gm20080107065949.jpg"/>
          <p:cNvPicPr>
            <a:picLocks noChangeArrowheads="1"/>
          </p:cNvPicPr>
          <p:nvPr>
            <p:custDataLst>
              <p:tags r:id="rId27"/>
            </p:custDataLst>
          </p:nvPr>
        </p:nvPicPr>
        <p:blipFill>
          <a:blip r:embed="rId42" cstate="print"/>
          <a:srcRect l="7312" r="4990"/>
          <a:stretch>
            <a:fillRect/>
          </a:stretch>
        </p:blipFill>
        <p:spPr bwMode="auto">
          <a:xfrm>
            <a:off x="494128" y="3465052"/>
            <a:ext cx="576000" cy="432000"/>
          </a:xfrm>
          <a:prstGeom prst="rect">
            <a:avLst/>
          </a:prstGeom>
          <a:noFill/>
        </p:spPr>
      </p:pic>
      <p:pic>
        <p:nvPicPr>
          <p:cNvPr id="72" name="Picture 9"/>
          <p:cNvPicPr>
            <a:picLocks noChangeArrowheads="1"/>
          </p:cNvPicPr>
          <p:nvPr>
            <p:custDataLst>
              <p:tags r:id="rId28"/>
            </p:custDataLst>
          </p:nvPr>
        </p:nvPicPr>
        <p:blipFill>
          <a:blip r:embed="rId43" cstate="print"/>
          <a:srcRect l="8124" r="8684"/>
          <a:stretch>
            <a:fillRect/>
          </a:stretch>
        </p:blipFill>
        <p:spPr bwMode="auto">
          <a:xfrm>
            <a:off x="494128" y="4151499"/>
            <a:ext cx="576000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" name="Picture 13" descr="http://www.e-mobility-21.de/fileadmin/pics/C-F/Car2car-2.jpg"/>
          <p:cNvPicPr>
            <a:picLocks noChangeArrowheads="1"/>
          </p:cNvPicPr>
          <p:nvPr>
            <p:custDataLst>
              <p:tags r:id="rId29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494128" y="2622183"/>
            <a:ext cx="576000" cy="432000"/>
          </a:xfrm>
          <a:prstGeom prst="rect">
            <a:avLst/>
          </a:prstGeom>
          <a:noFill/>
        </p:spPr>
      </p:pic>
      <p:pic>
        <p:nvPicPr>
          <p:cNvPr id="74" name="Picture 15" descr="http://www.f-autronica.it/ABS.jpg"/>
          <p:cNvPicPr>
            <a:picLocks noChangeArrowheads="1"/>
          </p:cNvPicPr>
          <p:nvPr>
            <p:custDataLst>
              <p:tags r:id="rId30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494128" y="4844157"/>
            <a:ext cx="576000" cy="432000"/>
          </a:xfrm>
          <a:prstGeom prst="rect">
            <a:avLst/>
          </a:prstGeom>
          <a:noFill/>
        </p:spPr>
      </p:pic>
      <p:pic>
        <p:nvPicPr>
          <p:cNvPr id="543748" name="Picture 4" descr="http://www.cartuningcentral.com/wp-content/uploads/2007/08/car-brakes-2.jpg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482253" y="5385510"/>
            <a:ext cx="330277" cy="360000"/>
          </a:xfrm>
          <a:prstGeom prst="rect">
            <a:avLst/>
          </a:prstGeom>
          <a:noFill/>
        </p:spPr>
      </p:pic>
      <p:sp>
        <p:nvSpPr>
          <p:cNvPr id="75" name="Rectangle 6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892690" y="5476637"/>
            <a:ext cx="1182780" cy="1841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/>
              <a:t>Conventional Brake</a:t>
            </a:r>
            <a:endParaRPr lang="en-US" sz="1000" i="1" dirty="0"/>
          </a:p>
        </p:txBody>
      </p:sp>
      <p:sp>
        <p:nvSpPr>
          <p:cNvPr id="76" name="Rectangle 6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1117533" y="4973042"/>
            <a:ext cx="339725" cy="1841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defTabSz="1096963">
              <a:spcBef>
                <a:spcPct val="50000"/>
              </a:spcBef>
            </a:pPr>
            <a:r>
              <a:rPr lang="en-US" sz="1000" i="1" dirty="0" smtClean="0"/>
              <a:t>ABS</a:t>
            </a:r>
            <a:endParaRPr lang="en-US" sz="1000" i="1" dirty="0"/>
          </a:p>
        </p:txBody>
      </p:sp>
      <p:sp>
        <p:nvSpPr>
          <p:cNvPr id="77" name="Rectangle 6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1141283" y="4221088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/>
              <a:t>Brake</a:t>
            </a:r>
            <a:br>
              <a:rPr lang="en-US" sz="1000" i="1" dirty="0" smtClean="0"/>
            </a:br>
            <a:r>
              <a:rPr lang="en-US" sz="1000" i="1" dirty="0" smtClean="0"/>
              <a:t>Assistant</a:t>
            </a:r>
            <a:endParaRPr lang="en-US" sz="1000" i="1" dirty="0"/>
          </a:p>
        </p:txBody>
      </p:sp>
      <p:sp>
        <p:nvSpPr>
          <p:cNvPr id="78" name="Rectangle 6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1141283" y="3537012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/>
              <a:t>Drive</a:t>
            </a:r>
            <a:br>
              <a:rPr lang="en-US" sz="1000" i="1" dirty="0" smtClean="0"/>
            </a:br>
            <a:r>
              <a:rPr lang="en-US" sz="1000" i="1" dirty="0" smtClean="0"/>
              <a:t>Assistant</a:t>
            </a:r>
            <a:endParaRPr lang="en-US" sz="1000" i="1" dirty="0"/>
          </a:p>
        </p:txBody>
      </p:sp>
      <p:sp>
        <p:nvSpPr>
          <p:cNvPr id="79" name="Rectangle 6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1141283" y="2600908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000" i="1" dirty="0" smtClean="0"/>
              <a:t>Car2 X</a:t>
            </a:r>
            <a:br>
              <a:rPr lang="en-US" sz="1000" i="1" dirty="0" smtClean="0"/>
            </a:br>
            <a:r>
              <a:rPr lang="en-US" sz="1000" i="1" dirty="0" err="1" smtClean="0"/>
              <a:t>Commu</a:t>
            </a:r>
            <a:r>
              <a:rPr lang="en-US" sz="1000" i="1" dirty="0" smtClean="0"/>
              <a:t>-</a:t>
            </a:r>
            <a:br>
              <a:rPr lang="en-US" sz="1000" i="1" dirty="0" smtClean="0"/>
            </a:br>
            <a:r>
              <a:rPr lang="en-US" sz="1000" i="1" dirty="0" err="1" smtClean="0"/>
              <a:t>nication</a:t>
            </a:r>
            <a:endParaRPr lang="en-US" sz="1000" i="1" dirty="0"/>
          </a:p>
        </p:txBody>
      </p:sp>
      <p:sp>
        <p:nvSpPr>
          <p:cNvPr id="80" name="Rectangle 6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508900" y="2312876"/>
            <a:ext cx="339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1096963">
              <a:spcBef>
                <a:spcPct val="50000"/>
              </a:spcBef>
            </a:pPr>
            <a:r>
              <a:rPr lang="en-US" sz="1200" b="1" i="1" dirty="0" smtClean="0">
                <a:solidFill>
                  <a:srgbClr val="000000"/>
                </a:solidFill>
              </a:rPr>
              <a:t>Examples</a:t>
            </a:r>
            <a:endParaRPr lang="en-US" sz="1200" b="1" i="1" dirty="0"/>
          </a:p>
        </p:txBody>
      </p:sp>
      <p:sp>
        <p:nvSpPr>
          <p:cNvPr id="51" name="Rectangle 50"/>
          <p:cNvSpPr/>
          <p:nvPr>
            <p:custDataLst>
              <p:tags r:id="rId38"/>
            </p:custDataLst>
          </p:nvPr>
        </p:nvSpPr>
        <p:spPr>
          <a:xfrm>
            <a:off x="5729829" y="2706124"/>
            <a:ext cx="3271667" cy="26391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600" b="1" i="1" dirty="0" smtClean="0"/>
          </a:p>
          <a:p>
            <a:r>
              <a:rPr lang="en-US" sz="1600" b="1" i="1" dirty="0" smtClean="0"/>
              <a:t>… value add via differentiation or productivity increase </a:t>
            </a:r>
          </a:p>
          <a:p>
            <a:endParaRPr lang="en-US" sz="1600" b="1" i="1" dirty="0" smtClean="0"/>
          </a:p>
          <a:p>
            <a:endParaRPr lang="en-US" sz="1100" b="1" i="1" dirty="0" smtClean="0"/>
          </a:p>
          <a:p>
            <a:r>
              <a:rPr lang="en-US" sz="1600" b="1" i="1" dirty="0" smtClean="0"/>
              <a:t>… system that is part of a larger heterogeneous system</a:t>
            </a:r>
          </a:p>
          <a:p>
            <a:endParaRPr lang="en-US" sz="1600" b="1" i="1" dirty="0" smtClean="0"/>
          </a:p>
          <a:p>
            <a:endParaRPr lang="de-DE" sz="1050" b="1" i="1" dirty="0" smtClean="0"/>
          </a:p>
          <a:p>
            <a:r>
              <a:rPr lang="en-US" sz="1600" b="1" i="1" dirty="0" smtClean="0"/>
              <a:t>… add-on designed for a particular function</a:t>
            </a:r>
            <a:endParaRPr lang="en-US" sz="1600" b="1" i="1" dirty="0"/>
          </a:p>
        </p:txBody>
      </p:sp>
      <p:sp>
        <p:nvSpPr>
          <p:cNvPr id="53" name="Line 23"/>
          <p:cNvSpPr>
            <a:spLocks noChangeShapeType="1"/>
          </p:cNvSpPr>
          <p:nvPr/>
        </p:nvSpPr>
        <p:spPr bwMode="gray">
          <a:xfrm rot="5400000" flipV="1">
            <a:off x="4883309" y="5246343"/>
            <a:ext cx="3327" cy="1267213"/>
          </a:xfrm>
          <a:prstGeom prst="line">
            <a:avLst/>
          </a:prstGeom>
          <a:noFill/>
          <a:ln w="76200">
            <a:solidFill>
              <a:schemeClr val="bg1">
                <a:lumMod val="75000"/>
              </a:schemeClr>
            </a:solidFill>
            <a:round/>
            <a:headEnd/>
            <a:tailEnd type="triangle" w="med" len="med"/>
          </a:ln>
        </p:spPr>
        <p:txBody>
          <a:bodyPr lIns="72000" tIns="72000" rIns="72000" bIns="72000" anchor="ctr"/>
          <a:lstStyle/>
          <a:p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4754" name="think-cell Slide" r:id="rId23" imgW="0" imgH="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15%</a:t>
            </a:r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Related jobs will be created among the whole value chain especially at non-automotive 3</a:t>
            </a:r>
            <a:r>
              <a:rPr lang="en-US" baseline="30000" dirty="0" smtClean="0"/>
              <a:t>rd</a:t>
            </a:r>
            <a:r>
              <a:rPr lang="en-US" dirty="0" smtClean="0"/>
              <a:t> party companies</a:t>
            </a:r>
            <a:endParaRPr lang="en-US" dirty="0"/>
          </a:p>
        </p:txBody>
      </p:sp>
      <p:sp>
        <p:nvSpPr>
          <p:cNvPr id="3" name="TextBox 2"/>
          <p:cNvSpPr txBox="1"/>
          <p:nvPr>
            <p:custDataLst>
              <p:tags r:id="rId4"/>
            </p:custDataLst>
          </p:nvPr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latin typeface="Arial"/>
                <a:cs typeface="Arial"/>
              </a:rPr>
              <a:t>New </a:t>
            </a:r>
            <a:r>
              <a:rPr lang="en-US" b="1" dirty="0" smtClean="0"/>
              <a:t>Embedded Electronic Systems </a:t>
            </a:r>
            <a:r>
              <a:rPr lang="en-US" b="1" dirty="0" smtClean="0">
                <a:latin typeface="Arial"/>
                <a:cs typeface="Arial"/>
              </a:rPr>
              <a:t>jobs in Germany until 2025</a:t>
            </a:r>
          </a:p>
        </p:txBody>
      </p:sp>
      <p:graphicFrame>
        <p:nvGraphicFramePr>
          <p:cNvPr id="28" name="Object 27"/>
          <p:cNvGraphicFramePr>
            <a:graphicFrameLocks noChangeAspect="1"/>
          </p:cNvGraphicFramePr>
          <p:nvPr/>
        </p:nvGraphicFramePr>
        <p:xfrm>
          <a:off x="1544637" y="2443162"/>
          <a:ext cx="6429392" cy="3057457"/>
        </p:xfrm>
        <a:graphic>
          <a:graphicData uri="http://schemas.openxmlformats.org/presentationml/2006/ole">
            <p:oleObj spid="_x0000_s714755" name="Chart" r:id="rId24" imgW="6429392" imgH="3057457" progId="MSGraph.Chart.8">
              <p:embed followColorScheme="full"/>
            </p:oleObj>
          </a:graphicData>
        </a:graphic>
      </p:graphicFrame>
      <p:sp>
        <p:nvSpPr>
          <p:cNvPr id="35" name="Rectangle 34"/>
          <p:cNvSpPr/>
          <p:nvPr>
            <p:custDataLst>
              <p:tags r:id="rId5"/>
            </p:custDataLst>
          </p:nvPr>
        </p:nvSpPr>
        <p:spPr bwMode="auto">
          <a:xfrm>
            <a:off x="2219325" y="2300287"/>
            <a:ext cx="393700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de-DE" sz="14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6000</a:t>
            </a:r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Rectangle 33"/>
          <p:cNvSpPr/>
          <p:nvPr>
            <p:custDataLst>
              <p:tags r:id="rId6"/>
            </p:custDataLst>
          </p:nvPr>
        </p:nvSpPr>
        <p:spPr bwMode="auto">
          <a:xfrm>
            <a:off x="534987" y="4254500"/>
            <a:ext cx="1327150" cy="42545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>
              <a:buClr>
                <a:schemeClr val="bg2"/>
              </a:buClr>
            </a:pPr>
            <a:fld id="{CF32D413-B906-4143-979A-22FE25CDDE9E}" type="datetime'ES I''n''''teg''''ration, &#10;Tool''s &amp; Te''''''s''''tin''''g''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buClr>
                  <a:schemeClr val="bg2"/>
                </a:buClr>
              </a:pPr>
              <a:t>ES Integration, 
Tools &amp; Testing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" name="Rectangle 32"/>
          <p:cNvSpPr/>
          <p:nvPr>
            <p:custDataLst>
              <p:tags r:id="rId7"/>
            </p:custDataLst>
          </p:nvPr>
        </p:nvSpPr>
        <p:spPr bwMode="auto">
          <a:xfrm>
            <a:off x="461962" y="3289300"/>
            <a:ext cx="1400175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>
              <a:buClr>
                <a:schemeClr val="bg2"/>
              </a:buClr>
            </a:pPr>
            <a:fld id="{8333A8EB-D3F5-4326-AC9F-2FB9AA0C9486}" type="datetime'ES D''''''e''v''''''''e''''''''lo''p''m''''''e''''''nt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buClr>
                  <a:schemeClr val="bg2"/>
                </a:buClr>
              </a:pPr>
              <a:t>ES Development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Rectangle 36"/>
          <p:cNvSpPr/>
          <p:nvPr>
            <p:custDataLst>
              <p:tags r:id="rId8"/>
            </p:custDataLst>
          </p:nvPr>
        </p:nvSpPr>
        <p:spPr bwMode="auto">
          <a:xfrm>
            <a:off x="5308600" y="2300287"/>
            <a:ext cx="442912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3.000</a:t>
            </a:r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auto">
          <a:xfrm>
            <a:off x="5203825" y="2660650"/>
            <a:ext cx="219075" cy="182562"/>
          </a:xfrm>
          <a:prstGeom prst="rect">
            <a:avLst/>
          </a:prstGeom>
          <a:solidFill>
            <a:schemeClr val="folHlink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buClr>
                <a:schemeClr val="bg2"/>
              </a:buClr>
            </a:pPr>
            <a:fld id="{BDD385A9-AE69-454E-B360-44C7F8379436}" type="datetime'''''''''''''''''''''''''''''''5''''''%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buClr>
                  <a:schemeClr val="bg2"/>
                </a:buClr>
              </a:pPr>
              <a:t>5%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1" name="Rectangle 40"/>
          <p:cNvSpPr/>
          <p:nvPr>
            <p:custDataLst>
              <p:tags r:id="rId10"/>
            </p:custDataLst>
          </p:nvPr>
        </p:nvSpPr>
        <p:spPr bwMode="gray">
          <a:xfrm>
            <a:off x="5637212" y="2517775"/>
            <a:ext cx="219075" cy="182562"/>
          </a:xfrm>
          <a:prstGeom prst="rect">
            <a:avLst/>
          </a:prstGeom>
          <a:solidFill>
            <a:srgbClr val="FFFFFF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buClr>
                <a:schemeClr val="bg2"/>
              </a:buClr>
            </a:pPr>
            <a:fld id="{56F6CFA9-D4F2-4214-B4EF-9328929BD9A3}" type="datetime'''''''''''5''''''''''''''''''''''''''%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buClr>
                  <a:schemeClr val="bg2"/>
                </a:buClr>
              </a:pPr>
              <a:t>5%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Rectangle 35"/>
          <p:cNvSpPr/>
          <p:nvPr>
            <p:custDataLst>
              <p:tags r:id="rId11"/>
            </p:custDataLst>
          </p:nvPr>
        </p:nvSpPr>
        <p:spPr bwMode="auto">
          <a:xfrm>
            <a:off x="3706812" y="2300287"/>
            <a:ext cx="531812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11.000</a:t>
            </a: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auto">
          <a:xfrm>
            <a:off x="1152525" y="2574925"/>
            <a:ext cx="709612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>
              <a:buClr>
                <a:schemeClr val="bg2"/>
              </a:buClr>
            </a:pPr>
            <a:fld id="{39228C1F-EB9B-413A-BEFD-DAFF5B049D34}" type="datetime'''''''S''t''''''''''''''''''''''ra''''''t''''''e''''''g''y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buClr>
                  <a:schemeClr val="bg2"/>
                </a:buClr>
              </a:pPr>
              <a:t>Strategy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Rectangle 28"/>
          <p:cNvSpPr/>
          <p:nvPr>
            <p:custDataLst>
              <p:tags r:id="rId13"/>
            </p:custDataLst>
          </p:nvPr>
        </p:nvSpPr>
        <p:spPr bwMode="auto">
          <a:xfrm>
            <a:off x="2054225" y="5497512"/>
            <a:ext cx="722312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buClr>
                <a:schemeClr val="bg2"/>
              </a:buClr>
            </a:pPr>
            <a:fld id="{8BFBB06C-D49B-4AAA-B6F0-42985FC311FF}" type="datetime'''''S''''''''''''''''''u''''''''p''pl''''''''''''''''ier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buClr>
                  <a:schemeClr val="bg2"/>
                </a:buClr>
              </a:pPr>
              <a:t>Supplier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9" name="Rectangle 38"/>
          <p:cNvSpPr/>
          <p:nvPr>
            <p:custDataLst>
              <p:tags r:id="rId14"/>
            </p:custDataLst>
          </p:nvPr>
        </p:nvSpPr>
        <p:spPr bwMode="auto">
          <a:xfrm>
            <a:off x="109537" y="4919662"/>
            <a:ext cx="1752600" cy="42545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>
              <a:buClr>
                <a:schemeClr val="bg2"/>
              </a:buClr>
            </a:pPr>
            <a:fld id="{DD1F4D40-E67D-4846-83BD-91CAF95E727F}" type="datetime'ES ''Operatio''n'' ''&amp; &#10;''S''''er''vi''c''e Mai''nt''''enance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buClr>
                  <a:schemeClr val="bg2"/>
                </a:buClr>
              </a:pPr>
              <a:t>ES Operation &amp; 
Service Maintenance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0" name="Rectangle 39"/>
          <p:cNvSpPr/>
          <p:nvPr>
            <p:custDataLst>
              <p:tags r:id="rId15"/>
            </p:custDataLst>
          </p:nvPr>
        </p:nvSpPr>
        <p:spPr bwMode="auto">
          <a:xfrm>
            <a:off x="6811962" y="2300287"/>
            <a:ext cx="541337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18.000</a:t>
            </a:r>
          </a:p>
        </p:txBody>
      </p:sp>
      <p:sp>
        <p:nvSpPr>
          <p:cNvPr id="44" name="Rectangle 43"/>
          <p:cNvSpPr/>
          <p:nvPr>
            <p:custDataLst>
              <p:tags r:id="rId16"/>
            </p:custDataLst>
          </p:nvPr>
        </p:nvSpPr>
        <p:spPr bwMode="auto">
          <a:xfrm>
            <a:off x="3763962" y="5497512"/>
            <a:ext cx="417512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buClr>
                <a:schemeClr val="bg2"/>
              </a:buClr>
            </a:pPr>
            <a:fld id="{D4D20E13-30F7-4EC5-A02B-5127C12369A6}" type="datetime'''''''''''''''''''O''E''''''''''''M''''''''''''''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buClr>
                  <a:schemeClr val="bg2"/>
                </a:buClr>
              </a:pPr>
              <a:t>OEM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" name="Rectangle 44"/>
          <p:cNvSpPr/>
          <p:nvPr>
            <p:custDataLst>
              <p:tags r:id="rId17"/>
            </p:custDataLst>
          </p:nvPr>
        </p:nvSpPr>
        <p:spPr bwMode="auto">
          <a:xfrm>
            <a:off x="5253037" y="5497512"/>
            <a:ext cx="555625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Dealer</a:t>
            </a:r>
          </a:p>
        </p:txBody>
      </p:sp>
      <p:sp>
        <p:nvSpPr>
          <p:cNvPr id="46" name="Rectangle 45"/>
          <p:cNvSpPr/>
          <p:nvPr>
            <p:custDataLst>
              <p:tags r:id="rId18"/>
            </p:custDataLst>
          </p:nvPr>
        </p:nvSpPr>
        <p:spPr bwMode="auto">
          <a:xfrm>
            <a:off x="6623050" y="5497512"/>
            <a:ext cx="919162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buClr>
                <a:schemeClr val="bg2"/>
              </a:buClr>
            </a:pPr>
            <a:fld id="{0FD82368-92D3-4091-9A01-120A2E49FFF4}" type="datetime'3''''''r''''''d p''''''''''a''''r''''''''t''''''i''e''''''s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buClr>
                  <a:schemeClr val="bg2"/>
                </a:buClr>
              </a:pPr>
              <a:t>3rd parties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7" name="TextBox 46"/>
          <p:cNvSpPr txBox="1"/>
          <p:nvPr>
            <p:custDataLst>
              <p:tags r:id="rId19"/>
            </p:custDataLst>
          </p:nvPr>
        </p:nvSpPr>
        <p:spPr>
          <a:xfrm>
            <a:off x="248920" y="5886380"/>
            <a:ext cx="8648700" cy="652486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  <a:latin typeface="Arial"/>
                <a:cs typeface="Arial"/>
              </a:rPr>
              <a:t>About 40,000 new jobs related to ES development and </a:t>
            </a:r>
          </a:p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  <a:latin typeface="Arial"/>
                <a:cs typeface="Arial"/>
              </a:rPr>
              <a:t>integration will be provided in Germany till 2025</a:t>
            </a:r>
          </a:p>
        </p:txBody>
      </p:sp>
      <p:sp>
        <p:nvSpPr>
          <p:cNvPr id="50" name="TextBox 30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727950" y="1541463"/>
            <a:ext cx="1184275" cy="363537"/>
          </a:xfrm>
          <a:prstGeom prst="rect">
            <a:avLst/>
          </a:prstGeom>
          <a:noFill/>
          <a:ln w="12700" cap="rnd">
            <a:solidFill>
              <a:schemeClr val="tx1"/>
            </a:solidFill>
            <a:miter lim="800000"/>
            <a:headEnd/>
            <a:tailEnd/>
          </a:ln>
        </p:spPr>
        <p:txBody>
          <a:bodyPr wrap="none" lIns="76200" tIns="76200" rIns="76200" bIns="76200">
            <a:spAutoFit/>
          </a:bodyPr>
          <a:lstStyle/>
          <a:p>
            <a:pPr algn="r">
              <a:lnSpc>
                <a:spcPct val="85000"/>
              </a:lnSpc>
              <a:buClr>
                <a:schemeClr val="bg2"/>
              </a:buClr>
            </a:pPr>
            <a:r>
              <a:rPr lang="en-US" sz="1600" b="1" dirty="0"/>
              <a:t>Illustrative</a:t>
            </a:r>
          </a:p>
        </p:txBody>
      </p:sp>
      <p:sp>
        <p:nvSpPr>
          <p:cNvPr id="26" name="Rectangle 25"/>
          <p:cNvSpPr/>
          <p:nvPr>
            <p:custDataLst>
              <p:tags r:id="rId21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55682" name="think-cell Slide" r:id="rId113" imgW="0" imgH="0" progId="">
              <p:embed/>
            </p:oleObj>
          </a:graphicData>
        </a:graphic>
      </p:graphicFrame>
      <p:sp>
        <p:nvSpPr>
          <p:cNvPr id="131" name="Rectangle 13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defRPr/>
            </a:pPr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r</a:t>
            </a:r>
            <a:endParaRPr lang="en-US" sz="1200" dirty="0" err="1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10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25788" y="4105275"/>
            <a:ext cx="2906712" cy="23034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4102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9238" y="4105275"/>
            <a:ext cx="2798762" cy="23034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4103" name="Rectangle 6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The study considers CXOs’ views as well as external expert experiences and covers multiple industries and countries. </a:t>
            </a:r>
          </a:p>
        </p:txBody>
      </p:sp>
      <p:sp>
        <p:nvSpPr>
          <p:cNvPr id="4104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4475" y="1616075"/>
            <a:ext cx="7064375" cy="2492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b="1" dirty="0">
                <a:solidFill>
                  <a:srgbClr val="000000"/>
                </a:solidFill>
              </a:rPr>
              <a:t>Scope of the </a:t>
            </a:r>
            <a:r>
              <a:rPr lang="en-US" b="1" dirty="0" smtClean="0">
                <a:solidFill>
                  <a:srgbClr val="000000"/>
                </a:solidFill>
              </a:rPr>
              <a:t>Study 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4105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50825" y="2457450"/>
            <a:ext cx="8631238" cy="12001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pPr marL="133350" indent="-133350">
              <a:lnSpc>
                <a:spcPct val="90000"/>
              </a:lnSpc>
              <a:spcBef>
                <a:spcPts val="400"/>
              </a:spcBef>
              <a:buClr>
                <a:srgbClr val="7D0900"/>
              </a:buClr>
              <a:buFontTx/>
              <a:buChar char="•"/>
            </a:pPr>
            <a:r>
              <a:rPr lang="en-US" sz="1400" dirty="0" smtClean="0"/>
              <a:t>&gt;40</a:t>
            </a:r>
            <a:r>
              <a:rPr lang="en-US" sz="1400" b="1" dirty="0" smtClean="0"/>
              <a:t> </a:t>
            </a:r>
            <a:r>
              <a:rPr lang="en-US" sz="1400" dirty="0"/>
              <a:t>interviews with </a:t>
            </a:r>
            <a:r>
              <a:rPr lang="en-US" sz="1400" dirty="0" smtClean="0"/>
              <a:t>Embedded Systems management </a:t>
            </a:r>
            <a:r>
              <a:rPr lang="en-US" sz="1400" dirty="0"/>
              <a:t>representatives </a:t>
            </a:r>
            <a:r>
              <a:rPr lang="en-US" sz="1400" dirty="0" smtClean="0"/>
              <a:t>from business units and IT </a:t>
            </a:r>
            <a:br>
              <a:rPr lang="en-US" sz="1400" dirty="0" smtClean="0"/>
            </a:br>
            <a:r>
              <a:rPr lang="en-US" sz="1400" dirty="0" smtClean="0"/>
              <a:t>and based </a:t>
            </a:r>
            <a:r>
              <a:rPr lang="en-US" sz="1400" dirty="0"/>
              <a:t>on a detailed questionnaire (45 – 60 minutes) </a:t>
            </a:r>
          </a:p>
          <a:p>
            <a:pPr marL="133350" indent="-133350">
              <a:lnSpc>
                <a:spcPct val="90000"/>
              </a:lnSpc>
              <a:spcBef>
                <a:spcPts val="400"/>
              </a:spcBef>
              <a:buClr>
                <a:srgbClr val="7D0900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nterviewees from top (80%) – and middle (20%) </a:t>
            </a:r>
            <a:r>
              <a:rPr lang="en-US" sz="1400" dirty="0" smtClean="0">
                <a:solidFill>
                  <a:srgbClr val="000000"/>
                </a:solidFill>
              </a:rPr>
              <a:t>management</a:t>
            </a:r>
          </a:p>
          <a:p>
            <a:pPr marL="133350" indent="-133350">
              <a:lnSpc>
                <a:spcPct val="90000"/>
              </a:lnSpc>
              <a:spcBef>
                <a:spcPts val="400"/>
              </a:spcBef>
              <a:buClr>
                <a:srgbClr val="7D0900"/>
              </a:buClr>
              <a:buFontTx/>
              <a:buChar char="•"/>
            </a:pPr>
            <a:r>
              <a:rPr lang="de-DE" sz="1400" dirty="0" smtClean="0">
                <a:solidFill>
                  <a:srgbClr val="000000"/>
                </a:solidFill>
              </a:rPr>
              <a:t>60 </a:t>
            </a:r>
            <a:r>
              <a:rPr lang="de-DE" sz="1400" dirty="0" err="1" smtClean="0">
                <a:solidFill>
                  <a:srgbClr val="000000"/>
                </a:solidFill>
              </a:rPr>
              <a:t>consumer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r>
              <a:rPr lang="de-DE" sz="1400" dirty="0" err="1" smtClean="0">
                <a:solidFill>
                  <a:srgbClr val="000000"/>
                </a:solidFill>
              </a:rPr>
              <a:t>feedbacks</a:t>
            </a:r>
            <a:endParaRPr lang="en-US" sz="1400" dirty="0">
              <a:solidFill>
                <a:srgbClr val="000000"/>
              </a:solidFill>
            </a:endParaRPr>
          </a:p>
          <a:p>
            <a:pPr marL="133350" indent="-133350">
              <a:lnSpc>
                <a:spcPct val="90000"/>
              </a:lnSpc>
              <a:spcBef>
                <a:spcPts val="400"/>
              </a:spcBef>
              <a:buClr>
                <a:srgbClr val="7D0900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Enhanced by research of relevant press releases and studies</a:t>
            </a:r>
          </a:p>
        </p:txBody>
      </p:sp>
      <p:sp>
        <p:nvSpPr>
          <p:cNvPr id="4106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50825" y="2097088"/>
            <a:ext cx="8631238" cy="360362"/>
          </a:xfrm>
          <a:prstGeom prst="rect">
            <a:avLst/>
          </a:prstGeom>
          <a:solidFill>
            <a:schemeClr val="fol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600" b="1" dirty="0">
                <a:solidFill>
                  <a:srgbClr val="000000"/>
                </a:solidFill>
              </a:rPr>
              <a:t>Method</a:t>
            </a:r>
          </a:p>
        </p:txBody>
      </p:sp>
      <p:grpSp>
        <p:nvGrpSpPr>
          <p:cNvPr id="7" name="Group 13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334963" y="4176712"/>
            <a:ext cx="2627312" cy="2133600"/>
            <a:chOff x="250825" y="4037012"/>
            <a:chExt cx="2801938" cy="2274888"/>
          </a:xfrm>
        </p:grpSpPr>
        <p:sp>
          <p:nvSpPr>
            <p:cNvPr id="2" name="Freeform 10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gray">
            <a:xfrm>
              <a:off x="1366521" y="5045817"/>
              <a:ext cx="201469" cy="148951"/>
            </a:xfrm>
            <a:custGeom>
              <a:avLst/>
              <a:gdLst>
                <a:gd name="T0" fmla="*/ 0 w 223"/>
                <a:gd name="T1" fmla="*/ 2147483647 h 172"/>
                <a:gd name="T2" fmla="*/ 2147483647 w 223"/>
                <a:gd name="T3" fmla="*/ 2147483647 h 172"/>
                <a:gd name="T4" fmla="*/ 2147483647 w 223"/>
                <a:gd name="T5" fmla="*/ 2147483647 h 172"/>
                <a:gd name="T6" fmla="*/ 2147483647 w 223"/>
                <a:gd name="T7" fmla="*/ 0 h 172"/>
                <a:gd name="T8" fmla="*/ 2147483647 w 223"/>
                <a:gd name="T9" fmla="*/ 2147483647 h 172"/>
                <a:gd name="T10" fmla="*/ 2147483647 w 223"/>
                <a:gd name="T11" fmla="*/ 2147483647 h 172"/>
                <a:gd name="T12" fmla="*/ 2147483647 w 223"/>
                <a:gd name="T13" fmla="*/ 2147483647 h 172"/>
                <a:gd name="T14" fmla="*/ 2147483647 w 223"/>
                <a:gd name="T15" fmla="*/ 2147483647 h 172"/>
                <a:gd name="T16" fmla="*/ 2147483647 w 223"/>
                <a:gd name="T17" fmla="*/ 2147483647 h 172"/>
                <a:gd name="T18" fmla="*/ 2147483647 w 223"/>
                <a:gd name="T19" fmla="*/ 2147483647 h 172"/>
                <a:gd name="T20" fmla="*/ 2147483647 w 223"/>
                <a:gd name="T21" fmla="*/ 2147483647 h 172"/>
                <a:gd name="T22" fmla="*/ 2147483647 w 223"/>
                <a:gd name="T23" fmla="*/ 2147483647 h 172"/>
                <a:gd name="T24" fmla="*/ 2147483647 w 223"/>
                <a:gd name="T25" fmla="*/ 2147483647 h 172"/>
                <a:gd name="T26" fmla="*/ 2147483647 w 223"/>
                <a:gd name="T27" fmla="*/ 2147483647 h 172"/>
                <a:gd name="T28" fmla="*/ 2147483647 w 223"/>
                <a:gd name="T29" fmla="*/ 2147483647 h 172"/>
                <a:gd name="T30" fmla="*/ 2147483647 w 223"/>
                <a:gd name="T31" fmla="*/ 2147483647 h 172"/>
                <a:gd name="T32" fmla="*/ 2147483647 w 223"/>
                <a:gd name="T33" fmla="*/ 2147483647 h 172"/>
                <a:gd name="T34" fmla="*/ 2147483647 w 223"/>
                <a:gd name="T35" fmla="*/ 2147483647 h 172"/>
                <a:gd name="T36" fmla="*/ 2147483647 w 223"/>
                <a:gd name="T37" fmla="*/ 2147483647 h 172"/>
                <a:gd name="T38" fmla="*/ 2147483647 w 223"/>
                <a:gd name="T39" fmla="*/ 2147483647 h 172"/>
                <a:gd name="T40" fmla="*/ 2147483647 w 223"/>
                <a:gd name="T41" fmla="*/ 2147483647 h 172"/>
                <a:gd name="T42" fmla="*/ 2147483647 w 223"/>
                <a:gd name="T43" fmla="*/ 2147483647 h 172"/>
                <a:gd name="T44" fmla="*/ 2147483647 w 223"/>
                <a:gd name="T45" fmla="*/ 2147483647 h 172"/>
                <a:gd name="T46" fmla="*/ 2147483647 w 223"/>
                <a:gd name="T47" fmla="*/ 2147483647 h 172"/>
                <a:gd name="T48" fmla="*/ 2147483647 w 223"/>
                <a:gd name="T49" fmla="*/ 2147483647 h 172"/>
                <a:gd name="T50" fmla="*/ 2147483647 w 223"/>
                <a:gd name="T51" fmla="*/ 2147483647 h 172"/>
                <a:gd name="T52" fmla="*/ 2147483647 w 223"/>
                <a:gd name="T53" fmla="*/ 2147483647 h 172"/>
                <a:gd name="T54" fmla="*/ 2147483647 w 223"/>
                <a:gd name="T55" fmla="*/ 2147483647 h 172"/>
                <a:gd name="T56" fmla="*/ 2147483647 w 223"/>
                <a:gd name="T57" fmla="*/ 2147483647 h 172"/>
                <a:gd name="T58" fmla="*/ 2147483647 w 223"/>
                <a:gd name="T59" fmla="*/ 2147483647 h 172"/>
                <a:gd name="T60" fmla="*/ 2147483647 w 223"/>
                <a:gd name="T61" fmla="*/ 2147483647 h 172"/>
                <a:gd name="T62" fmla="*/ 2147483647 w 223"/>
                <a:gd name="T63" fmla="*/ 2147483647 h 172"/>
                <a:gd name="T64" fmla="*/ 2147483647 w 223"/>
                <a:gd name="T65" fmla="*/ 2147483647 h 172"/>
                <a:gd name="T66" fmla="*/ 2147483647 w 223"/>
                <a:gd name="T67" fmla="*/ 2147483647 h 172"/>
                <a:gd name="T68" fmla="*/ 2147483647 w 223"/>
                <a:gd name="T69" fmla="*/ 2147483647 h 172"/>
                <a:gd name="T70" fmla="*/ 2147483647 w 223"/>
                <a:gd name="T71" fmla="*/ 2147483647 h 172"/>
                <a:gd name="T72" fmla="*/ 2147483647 w 223"/>
                <a:gd name="T73" fmla="*/ 2147483647 h 172"/>
                <a:gd name="T74" fmla="*/ 2147483647 w 223"/>
                <a:gd name="T75" fmla="*/ 2147483647 h 172"/>
                <a:gd name="T76" fmla="*/ 2147483647 w 223"/>
                <a:gd name="T77" fmla="*/ 2147483647 h 172"/>
                <a:gd name="T78" fmla="*/ 0 w 223"/>
                <a:gd name="T79" fmla="*/ 2147483647 h 1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23"/>
                <a:gd name="T121" fmla="*/ 0 h 172"/>
                <a:gd name="T122" fmla="*/ 223 w 223"/>
                <a:gd name="T123" fmla="*/ 172 h 1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23" h="172">
                  <a:moveTo>
                    <a:pt x="0" y="31"/>
                  </a:moveTo>
                  <a:lnTo>
                    <a:pt x="5" y="24"/>
                  </a:lnTo>
                  <a:lnTo>
                    <a:pt x="3" y="16"/>
                  </a:lnTo>
                  <a:lnTo>
                    <a:pt x="37" y="0"/>
                  </a:lnTo>
                  <a:lnTo>
                    <a:pt x="40" y="6"/>
                  </a:lnTo>
                  <a:lnTo>
                    <a:pt x="65" y="2"/>
                  </a:lnTo>
                  <a:lnTo>
                    <a:pt x="84" y="3"/>
                  </a:lnTo>
                  <a:lnTo>
                    <a:pt x="76" y="11"/>
                  </a:lnTo>
                  <a:lnTo>
                    <a:pt x="81" y="22"/>
                  </a:lnTo>
                  <a:lnTo>
                    <a:pt x="96" y="25"/>
                  </a:lnTo>
                  <a:lnTo>
                    <a:pt x="111" y="25"/>
                  </a:lnTo>
                  <a:lnTo>
                    <a:pt x="125" y="18"/>
                  </a:lnTo>
                  <a:lnTo>
                    <a:pt x="140" y="13"/>
                  </a:lnTo>
                  <a:lnTo>
                    <a:pt x="153" y="23"/>
                  </a:lnTo>
                  <a:lnTo>
                    <a:pt x="165" y="25"/>
                  </a:lnTo>
                  <a:lnTo>
                    <a:pt x="184" y="31"/>
                  </a:lnTo>
                  <a:lnTo>
                    <a:pt x="181" y="44"/>
                  </a:lnTo>
                  <a:lnTo>
                    <a:pt x="182" y="70"/>
                  </a:lnTo>
                  <a:lnTo>
                    <a:pt x="185" y="86"/>
                  </a:lnTo>
                  <a:lnTo>
                    <a:pt x="205" y="84"/>
                  </a:lnTo>
                  <a:lnTo>
                    <a:pt x="211" y="95"/>
                  </a:lnTo>
                  <a:lnTo>
                    <a:pt x="212" y="104"/>
                  </a:lnTo>
                  <a:lnTo>
                    <a:pt x="223" y="117"/>
                  </a:lnTo>
                  <a:lnTo>
                    <a:pt x="210" y="126"/>
                  </a:lnTo>
                  <a:lnTo>
                    <a:pt x="199" y="134"/>
                  </a:lnTo>
                  <a:lnTo>
                    <a:pt x="186" y="134"/>
                  </a:lnTo>
                  <a:lnTo>
                    <a:pt x="171" y="138"/>
                  </a:lnTo>
                  <a:lnTo>
                    <a:pt x="171" y="152"/>
                  </a:lnTo>
                  <a:lnTo>
                    <a:pt x="165" y="161"/>
                  </a:lnTo>
                  <a:lnTo>
                    <a:pt x="149" y="172"/>
                  </a:lnTo>
                  <a:lnTo>
                    <a:pt x="122" y="154"/>
                  </a:lnTo>
                  <a:lnTo>
                    <a:pt x="104" y="142"/>
                  </a:lnTo>
                  <a:lnTo>
                    <a:pt x="90" y="134"/>
                  </a:lnTo>
                  <a:lnTo>
                    <a:pt x="77" y="113"/>
                  </a:lnTo>
                  <a:lnTo>
                    <a:pt x="65" y="101"/>
                  </a:lnTo>
                  <a:lnTo>
                    <a:pt x="58" y="86"/>
                  </a:lnTo>
                  <a:lnTo>
                    <a:pt x="45" y="72"/>
                  </a:lnTo>
                  <a:lnTo>
                    <a:pt x="35" y="57"/>
                  </a:lnTo>
                  <a:lnTo>
                    <a:pt x="17" y="46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3">
                <a:lumMod val="85000"/>
              </a:schemeClr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de-DE" sz="1400" b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33" name="Freeform 11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gray">
            <a:xfrm>
              <a:off x="2589213" y="4040187"/>
              <a:ext cx="460375" cy="1030287"/>
            </a:xfrm>
            <a:custGeom>
              <a:avLst/>
              <a:gdLst>
                <a:gd name="T0" fmla="*/ 2147483647 w 506"/>
                <a:gd name="T1" fmla="*/ 2147483647 h 1200"/>
                <a:gd name="T2" fmla="*/ 2147483647 w 506"/>
                <a:gd name="T3" fmla="*/ 2147483647 h 1200"/>
                <a:gd name="T4" fmla="*/ 2147483647 w 506"/>
                <a:gd name="T5" fmla="*/ 0 h 1200"/>
                <a:gd name="T6" fmla="*/ 2147483647 w 506"/>
                <a:gd name="T7" fmla="*/ 2147483647 h 1200"/>
                <a:gd name="T8" fmla="*/ 2147483647 w 506"/>
                <a:gd name="T9" fmla="*/ 2147483647 h 1200"/>
                <a:gd name="T10" fmla="*/ 2147483647 w 506"/>
                <a:gd name="T11" fmla="*/ 2147483647 h 1200"/>
                <a:gd name="T12" fmla="*/ 2147483647 w 506"/>
                <a:gd name="T13" fmla="*/ 2147483647 h 1200"/>
                <a:gd name="T14" fmla="*/ 2147483647 w 506"/>
                <a:gd name="T15" fmla="*/ 2147483647 h 1200"/>
                <a:gd name="T16" fmla="*/ 2147483647 w 506"/>
                <a:gd name="T17" fmla="*/ 2147483647 h 1200"/>
                <a:gd name="T18" fmla="*/ 2147483647 w 506"/>
                <a:gd name="T19" fmla="*/ 2147483647 h 1200"/>
                <a:gd name="T20" fmla="*/ 2147483647 w 506"/>
                <a:gd name="T21" fmla="*/ 2147483647 h 1200"/>
                <a:gd name="T22" fmla="*/ 2147483647 w 506"/>
                <a:gd name="T23" fmla="*/ 2147483647 h 1200"/>
                <a:gd name="T24" fmla="*/ 2147483647 w 506"/>
                <a:gd name="T25" fmla="*/ 2147483647 h 1200"/>
                <a:gd name="T26" fmla="*/ 2147483647 w 506"/>
                <a:gd name="T27" fmla="*/ 2147483647 h 1200"/>
                <a:gd name="T28" fmla="*/ 2147483647 w 506"/>
                <a:gd name="T29" fmla="*/ 2147483647 h 1200"/>
                <a:gd name="T30" fmla="*/ 2147483647 w 506"/>
                <a:gd name="T31" fmla="*/ 2147483647 h 1200"/>
                <a:gd name="T32" fmla="*/ 2147483647 w 506"/>
                <a:gd name="T33" fmla="*/ 2147483647 h 1200"/>
                <a:gd name="T34" fmla="*/ 2147483647 w 506"/>
                <a:gd name="T35" fmla="*/ 2147483647 h 1200"/>
                <a:gd name="T36" fmla="*/ 2147483647 w 506"/>
                <a:gd name="T37" fmla="*/ 2147483647 h 1200"/>
                <a:gd name="T38" fmla="*/ 2147483647 w 506"/>
                <a:gd name="T39" fmla="*/ 2147483647 h 1200"/>
                <a:gd name="T40" fmla="*/ 2147483647 w 506"/>
                <a:gd name="T41" fmla="*/ 2147483647 h 1200"/>
                <a:gd name="T42" fmla="*/ 2147483647 w 506"/>
                <a:gd name="T43" fmla="*/ 2147483647 h 1200"/>
                <a:gd name="T44" fmla="*/ 2147483647 w 506"/>
                <a:gd name="T45" fmla="*/ 2147483647 h 1200"/>
                <a:gd name="T46" fmla="*/ 2147483647 w 506"/>
                <a:gd name="T47" fmla="*/ 2147483647 h 1200"/>
                <a:gd name="T48" fmla="*/ 2147483647 w 506"/>
                <a:gd name="T49" fmla="*/ 2147483647 h 1200"/>
                <a:gd name="T50" fmla="*/ 2147483647 w 506"/>
                <a:gd name="T51" fmla="*/ 2147483647 h 1200"/>
                <a:gd name="T52" fmla="*/ 2147483647 w 506"/>
                <a:gd name="T53" fmla="*/ 2147483647 h 1200"/>
                <a:gd name="T54" fmla="*/ 2147483647 w 506"/>
                <a:gd name="T55" fmla="*/ 2147483647 h 1200"/>
                <a:gd name="T56" fmla="*/ 2147483647 w 506"/>
                <a:gd name="T57" fmla="*/ 2147483647 h 1200"/>
                <a:gd name="T58" fmla="*/ 2147483647 w 506"/>
                <a:gd name="T59" fmla="*/ 2147483647 h 1200"/>
                <a:gd name="T60" fmla="*/ 2147483647 w 506"/>
                <a:gd name="T61" fmla="*/ 2147483647 h 1200"/>
                <a:gd name="T62" fmla="*/ 2147483647 w 506"/>
                <a:gd name="T63" fmla="*/ 2147483647 h 1200"/>
                <a:gd name="T64" fmla="*/ 2147483647 w 506"/>
                <a:gd name="T65" fmla="*/ 2147483647 h 1200"/>
                <a:gd name="T66" fmla="*/ 2147483647 w 506"/>
                <a:gd name="T67" fmla="*/ 2147483647 h 1200"/>
                <a:gd name="T68" fmla="*/ 2147483647 w 506"/>
                <a:gd name="T69" fmla="*/ 2147483647 h 1200"/>
                <a:gd name="T70" fmla="*/ 2147483647 w 506"/>
                <a:gd name="T71" fmla="*/ 2147483647 h 1200"/>
                <a:gd name="T72" fmla="*/ 2147483647 w 506"/>
                <a:gd name="T73" fmla="*/ 2147483647 h 1200"/>
                <a:gd name="T74" fmla="*/ 2147483647 w 506"/>
                <a:gd name="T75" fmla="*/ 2147483647 h 1200"/>
                <a:gd name="T76" fmla="*/ 2147483647 w 506"/>
                <a:gd name="T77" fmla="*/ 2147483647 h 120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06"/>
                <a:gd name="T118" fmla="*/ 0 h 1200"/>
                <a:gd name="T119" fmla="*/ 506 w 506"/>
                <a:gd name="T120" fmla="*/ 1200 h 120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06" h="1200">
                  <a:moveTo>
                    <a:pt x="506" y="227"/>
                  </a:moveTo>
                  <a:lnTo>
                    <a:pt x="450" y="224"/>
                  </a:lnTo>
                  <a:lnTo>
                    <a:pt x="379" y="193"/>
                  </a:lnTo>
                  <a:lnTo>
                    <a:pt x="354" y="164"/>
                  </a:lnTo>
                  <a:lnTo>
                    <a:pt x="316" y="43"/>
                  </a:lnTo>
                  <a:lnTo>
                    <a:pt x="286" y="0"/>
                  </a:lnTo>
                  <a:lnTo>
                    <a:pt x="26" y="0"/>
                  </a:lnTo>
                  <a:lnTo>
                    <a:pt x="47" y="49"/>
                  </a:lnTo>
                  <a:lnTo>
                    <a:pt x="41" y="107"/>
                  </a:lnTo>
                  <a:lnTo>
                    <a:pt x="65" y="159"/>
                  </a:lnTo>
                  <a:lnTo>
                    <a:pt x="70" y="207"/>
                  </a:lnTo>
                  <a:lnTo>
                    <a:pt x="80" y="228"/>
                  </a:lnTo>
                  <a:lnTo>
                    <a:pt x="121" y="258"/>
                  </a:lnTo>
                  <a:lnTo>
                    <a:pt x="136" y="286"/>
                  </a:lnTo>
                  <a:lnTo>
                    <a:pt x="136" y="312"/>
                  </a:lnTo>
                  <a:lnTo>
                    <a:pt x="123" y="356"/>
                  </a:lnTo>
                  <a:lnTo>
                    <a:pt x="118" y="366"/>
                  </a:lnTo>
                  <a:lnTo>
                    <a:pt x="123" y="377"/>
                  </a:lnTo>
                  <a:lnTo>
                    <a:pt x="108" y="401"/>
                  </a:lnTo>
                  <a:lnTo>
                    <a:pt x="84" y="412"/>
                  </a:lnTo>
                  <a:lnTo>
                    <a:pt x="79" y="425"/>
                  </a:lnTo>
                  <a:lnTo>
                    <a:pt x="49" y="463"/>
                  </a:lnTo>
                  <a:lnTo>
                    <a:pt x="23" y="476"/>
                  </a:lnTo>
                  <a:lnTo>
                    <a:pt x="19" y="500"/>
                  </a:lnTo>
                  <a:lnTo>
                    <a:pt x="37" y="498"/>
                  </a:lnTo>
                  <a:lnTo>
                    <a:pt x="49" y="485"/>
                  </a:lnTo>
                  <a:lnTo>
                    <a:pt x="60" y="488"/>
                  </a:lnTo>
                  <a:lnTo>
                    <a:pt x="67" y="501"/>
                  </a:lnTo>
                  <a:lnTo>
                    <a:pt x="48" y="513"/>
                  </a:lnTo>
                  <a:lnTo>
                    <a:pt x="76" y="537"/>
                  </a:lnTo>
                  <a:lnTo>
                    <a:pt x="92" y="536"/>
                  </a:lnTo>
                  <a:lnTo>
                    <a:pt x="110" y="546"/>
                  </a:lnTo>
                  <a:lnTo>
                    <a:pt x="136" y="568"/>
                  </a:lnTo>
                  <a:lnTo>
                    <a:pt x="145" y="592"/>
                  </a:lnTo>
                  <a:lnTo>
                    <a:pt x="111" y="569"/>
                  </a:lnTo>
                  <a:lnTo>
                    <a:pt x="94" y="558"/>
                  </a:lnTo>
                  <a:lnTo>
                    <a:pt x="75" y="556"/>
                  </a:lnTo>
                  <a:lnTo>
                    <a:pt x="77" y="568"/>
                  </a:lnTo>
                  <a:lnTo>
                    <a:pt x="60" y="562"/>
                  </a:lnTo>
                  <a:lnTo>
                    <a:pt x="41" y="562"/>
                  </a:lnTo>
                  <a:lnTo>
                    <a:pt x="45" y="585"/>
                  </a:lnTo>
                  <a:lnTo>
                    <a:pt x="48" y="598"/>
                  </a:lnTo>
                  <a:lnTo>
                    <a:pt x="41" y="627"/>
                  </a:lnTo>
                  <a:lnTo>
                    <a:pt x="32" y="635"/>
                  </a:lnTo>
                  <a:lnTo>
                    <a:pt x="3" y="635"/>
                  </a:lnTo>
                  <a:lnTo>
                    <a:pt x="0" y="652"/>
                  </a:lnTo>
                  <a:lnTo>
                    <a:pt x="16" y="669"/>
                  </a:lnTo>
                  <a:lnTo>
                    <a:pt x="25" y="699"/>
                  </a:lnTo>
                  <a:lnTo>
                    <a:pt x="47" y="712"/>
                  </a:lnTo>
                  <a:lnTo>
                    <a:pt x="47" y="727"/>
                  </a:lnTo>
                  <a:lnTo>
                    <a:pt x="38" y="735"/>
                  </a:lnTo>
                  <a:lnTo>
                    <a:pt x="40" y="745"/>
                  </a:lnTo>
                  <a:lnTo>
                    <a:pt x="48" y="755"/>
                  </a:lnTo>
                  <a:lnTo>
                    <a:pt x="65" y="791"/>
                  </a:lnTo>
                  <a:lnTo>
                    <a:pt x="80" y="805"/>
                  </a:lnTo>
                  <a:lnTo>
                    <a:pt x="94" y="811"/>
                  </a:lnTo>
                  <a:lnTo>
                    <a:pt x="100" y="844"/>
                  </a:lnTo>
                  <a:lnTo>
                    <a:pt x="120" y="861"/>
                  </a:lnTo>
                  <a:lnTo>
                    <a:pt x="168" y="873"/>
                  </a:lnTo>
                  <a:lnTo>
                    <a:pt x="201" y="867"/>
                  </a:lnTo>
                  <a:lnTo>
                    <a:pt x="243" y="867"/>
                  </a:lnTo>
                  <a:lnTo>
                    <a:pt x="273" y="891"/>
                  </a:lnTo>
                  <a:lnTo>
                    <a:pt x="276" y="930"/>
                  </a:lnTo>
                  <a:lnTo>
                    <a:pt x="267" y="954"/>
                  </a:lnTo>
                  <a:lnTo>
                    <a:pt x="324" y="1002"/>
                  </a:lnTo>
                  <a:lnTo>
                    <a:pt x="327" y="1038"/>
                  </a:lnTo>
                  <a:lnTo>
                    <a:pt x="345" y="1065"/>
                  </a:lnTo>
                  <a:lnTo>
                    <a:pt x="366" y="1062"/>
                  </a:lnTo>
                  <a:lnTo>
                    <a:pt x="411" y="1083"/>
                  </a:lnTo>
                  <a:lnTo>
                    <a:pt x="411" y="1122"/>
                  </a:lnTo>
                  <a:lnTo>
                    <a:pt x="387" y="1131"/>
                  </a:lnTo>
                  <a:lnTo>
                    <a:pt x="348" y="1125"/>
                  </a:lnTo>
                  <a:lnTo>
                    <a:pt x="336" y="1146"/>
                  </a:lnTo>
                  <a:lnTo>
                    <a:pt x="369" y="1200"/>
                  </a:lnTo>
                  <a:lnTo>
                    <a:pt x="447" y="1179"/>
                  </a:lnTo>
                  <a:lnTo>
                    <a:pt x="501" y="1185"/>
                  </a:lnTo>
                  <a:lnTo>
                    <a:pt x="506" y="227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34" name="Freeform 12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 bwMode="gray">
            <a:xfrm>
              <a:off x="2405063" y="5049837"/>
              <a:ext cx="647700" cy="504825"/>
            </a:xfrm>
            <a:custGeom>
              <a:avLst/>
              <a:gdLst>
                <a:gd name="T0" fmla="*/ 2147483647 w 712"/>
                <a:gd name="T1" fmla="*/ 2147483647 h 586"/>
                <a:gd name="T2" fmla="*/ 2147483647 w 712"/>
                <a:gd name="T3" fmla="*/ 0 h 586"/>
                <a:gd name="T4" fmla="*/ 2147483647 w 712"/>
                <a:gd name="T5" fmla="*/ 2147483647 h 586"/>
                <a:gd name="T6" fmla="*/ 2147483647 w 712"/>
                <a:gd name="T7" fmla="*/ 2147483647 h 586"/>
                <a:gd name="T8" fmla="*/ 2147483647 w 712"/>
                <a:gd name="T9" fmla="*/ 2147483647 h 586"/>
                <a:gd name="T10" fmla="*/ 2147483647 w 712"/>
                <a:gd name="T11" fmla="*/ 2147483647 h 586"/>
                <a:gd name="T12" fmla="*/ 2147483647 w 712"/>
                <a:gd name="T13" fmla="*/ 2147483647 h 586"/>
                <a:gd name="T14" fmla="*/ 2147483647 w 712"/>
                <a:gd name="T15" fmla="*/ 2147483647 h 586"/>
                <a:gd name="T16" fmla="*/ 2147483647 w 712"/>
                <a:gd name="T17" fmla="*/ 2147483647 h 586"/>
                <a:gd name="T18" fmla="*/ 2147483647 w 712"/>
                <a:gd name="T19" fmla="*/ 2147483647 h 586"/>
                <a:gd name="T20" fmla="*/ 2147483647 w 712"/>
                <a:gd name="T21" fmla="*/ 2147483647 h 586"/>
                <a:gd name="T22" fmla="*/ 2147483647 w 712"/>
                <a:gd name="T23" fmla="*/ 2147483647 h 586"/>
                <a:gd name="T24" fmla="*/ 2147483647 w 712"/>
                <a:gd name="T25" fmla="*/ 2147483647 h 586"/>
                <a:gd name="T26" fmla="*/ 2147483647 w 712"/>
                <a:gd name="T27" fmla="*/ 2147483647 h 586"/>
                <a:gd name="T28" fmla="*/ 2147483647 w 712"/>
                <a:gd name="T29" fmla="*/ 2147483647 h 586"/>
                <a:gd name="T30" fmla="*/ 2147483647 w 712"/>
                <a:gd name="T31" fmla="*/ 2147483647 h 586"/>
                <a:gd name="T32" fmla="*/ 2147483647 w 712"/>
                <a:gd name="T33" fmla="*/ 2147483647 h 586"/>
                <a:gd name="T34" fmla="*/ 2147483647 w 712"/>
                <a:gd name="T35" fmla="*/ 2147483647 h 586"/>
                <a:gd name="T36" fmla="*/ 2147483647 w 712"/>
                <a:gd name="T37" fmla="*/ 2147483647 h 586"/>
                <a:gd name="T38" fmla="*/ 2147483647 w 712"/>
                <a:gd name="T39" fmla="*/ 2147483647 h 586"/>
                <a:gd name="T40" fmla="*/ 2147483647 w 712"/>
                <a:gd name="T41" fmla="*/ 2147483647 h 586"/>
                <a:gd name="T42" fmla="*/ 2147483647 w 712"/>
                <a:gd name="T43" fmla="*/ 2147483647 h 586"/>
                <a:gd name="T44" fmla="*/ 2147483647 w 712"/>
                <a:gd name="T45" fmla="*/ 2147483647 h 586"/>
                <a:gd name="T46" fmla="*/ 2147483647 w 712"/>
                <a:gd name="T47" fmla="*/ 2147483647 h 586"/>
                <a:gd name="T48" fmla="*/ 2147483647 w 712"/>
                <a:gd name="T49" fmla="*/ 2147483647 h 586"/>
                <a:gd name="T50" fmla="*/ 2147483647 w 712"/>
                <a:gd name="T51" fmla="*/ 2147483647 h 586"/>
                <a:gd name="T52" fmla="*/ 2147483647 w 712"/>
                <a:gd name="T53" fmla="*/ 2147483647 h 586"/>
                <a:gd name="T54" fmla="*/ 2147483647 w 712"/>
                <a:gd name="T55" fmla="*/ 2147483647 h 586"/>
                <a:gd name="T56" fmla="*/ 2147483647 w 712"/>
                <a:gd name="T57" fmla="*/ 2147483647 h 586"/>
                <a:gd name="T58" fmla="*/ 2147483647 w 712"/>
                <a:gd name="T59" fmla="*/ 2147483647 h 586"/>
                <a:gd name="T60" fmla="*/ 2147483647 w 712"/>
                <a:gd name="T61" fmla="*/ 2147483647 h 586"/>
                <a:gd name="T62" fmla="*/ 2147483647 w 712"/>
                <a:gd name="T63" fmla="*/ 2147483647 h 586"/>
                <a:gd name="T64" fmla="*/ 2147483647 w 712"/>
                <a:gd name="T65" fmla="*/ 2147483647 h 586"/>
                <a:gd name="T66" fmla="*/ 2147483647 w 712"/>
                <a:gd name="T67" fmla="*/ 2147483647 h 586"/>
                <a:gd name="T68" fmla="*/ 2147483647 w 712"/>
                <a:gd name="T69" fmla="*/ 2147483647 h 586"/>
                <a:gd name="T70" fmla="*/ 2147483647 w 712"/>
                <a:gd name="T71" fmla="*/ 2147483647 h 586"/>
                <a:gd name="T72" fmla="*/ 2147483647 w 712"/>
                <a:gd name="T73" fmla="*/ 2147483647 h 586"/>
                <a:gd name="T74" fmla="*/ 2147483647 w 712"/>
                <a:gd name="T75" fmla="*/ 2147483647 h 586"/>
                <a:gd name="T76" fmla="*/ 2147483647 w 712"/>
                <a:gd name="T77" fmla="*/ 2147483647 h 586"/>
                <a:gd name="T78" fmla="*/ 2147483647 w 712"/>
                <a:gd name="T79" fmla="*/ 2147483647 h 586"/>
                <a:gd name="T80" fmla="*/ 2147483647 w 712"/>
                <a:gd name="T81" fmla="*/ 2147483647 h 586"/>
                <a:gd name="T82" fmla="*/ 2147483647 w 712"/>
                <a:gd name="T83" fmla="*/ 2147483647 h 586"/>
                <a:gd name="T84" fmla="*/ 2147483647 w 712"/>
                <a:gd name="T85" fmla="*/ 2147483647 h 586"/>
                <a:gd name="T86" fmla="*/ 2147483647 w 712"/>
                <a:gd name="T87" fmla="*/ 2147483647 h 586"/>
                <a:gd name="T88" fmla="*/ 2147483647 w 712"/>
                <a:gd name="T89" fmla="*/ 2147483647 h 586"/>
                <a:gd name="T90" fmla="*/ 2147483647 w 712"/>
                <a:gd name="T91" fmla="*/ 2147483647 h 586"/>
                <a:gd name="T92" fmla="*/ 2147483647 w 712"/>
                <a:gd name="T93" fmla="*/ 2147483647 h 586"/>
                <a:gd name="T94" fmla="*/ 2147483647 w 712"/>
                <a:gd name="T95" fmla="*/ 2147483647 h 586"/>
                <a:gd name="T96" fmla="*/ 2147483647 w 712"/>
                <a:gd name="T97" fmla="*/ 2147483647 h 58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12"/>
                <a:gd name="T148" fmla="*/ 0 h 586"/>
                <a:gd name="T149" fmla="*/ 712 w 712"/>
                <a:gd name="T150" fmla="*/ 586 h 58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12" h="586">
                  <a:moveTo>
                    <a:pt x="565" y="23"/>
                  </a:moveTo>
                  <a:lnTo>
                    <a:pt x="591" y="20"/>
                  </a:lnTo>
                  <a:lnTo>
                    <a:pt x="628" y="11"/>
                  </a:lnTo>
                  <a:lnTo>
                    <a:pt x="654" y="0"/>
                  </a:lnTo>
                  <a:lnTo>
                    <a:pt x="707" y="12"/>
                  </a:lnTo>
                  <a:lnTo>
                    <a:pt x="712" y="574"/>
                  </a:lnTo>
                  <a:lnTo>
                    <a:pt x="695" y="573"/>
                  </a:lnTo>
                  <a:lnTo>
                    <a:pt x="677" y="573"/>
                  </a:lnTo>
                  <a:lnTo>
                    <a:pt x="649" y="565"/>
                  </a:lnTo>
                  <a:lnTo>
                    <a:pt x="654" y="547"/>
                  </a:lnTo>
                  <a:lnTo>
                    <a:pt x="669" y="527"/>
                  </a:lnTo>
                  <a:lnTo>
                    <a:pt x="674" y="509"/>
                  </a:lnTo>
                  <a:lnTo>
                    <a:pt x="700" y="492"/>
                  </a:lnTo>
                  <a:lnTo>
                    <a:pt x="695" y="474"/>
                  </a:lnTo>
                  <a:lnTo>
                    <a:pt x="664" y="482"/>
                  </a:lnTo>
                  <a:lnTo>
                    <a:pt x="644" y="489"/>
                  </a:lnTo>
                  <a:lnTo>
                    <a:pt x="623" y="486"/>
                  </a:lnTo>
                  <a:lnTo>
                    <a:pt x="623" y="493"/>
                  </a:lnTo>
                  <a:lnTo>
                    <a:pt x="596" y="480"/>
                  </a:lnTo>
                  <a:lnTo>
                    <a:pt x="598" y="472"/>
                  </a:lnTo>
                  <a:lnTo>
                    <a:pt x="621" y="465"/>
                  </a:lnTo>
                  <a:lnTo>
                    <a:pt x="608" y="450"/>
                  </a:lnTo>
                  <a:lnTo>
                    <a:pt x="588" y="454"/>
                  </a:lnTo>
                  <a:lnTo>
                    <a:pt x="573" y="466"/>
                  </a:lnTo>
                  <a:lnTo>
                    <a:pt x="560" y="472"/>
                  </a:lnTo>
                  <a:lnTo>
                    <a:pt x="558" y="489"/>
                  </a:lnTo>
                  <a:lnTo>
                    <a:pt x="543" y="492"/>
                  </a:lnTo>
                  <a:lnTo>
                    <a:pt x="558" y="504"/>
                  </a:lnTo>
                  <a:lnTo>
                    <a:pt x="558" y="518"/>
                  </a:lnTo>
                  <a:lnTo>
                    <a:pt x="542" y="535"/>
                  </a:lnTo>
                  <a:lnTo>
                    <a:pt x="520" y="527"/>
                  </a:lnTo>
                  <a:lnTo>
                    <a:pt x="535" y="547"/>
                  </a:lnTo>
                  <a:lnTo>
                    <a:pt x="527" y="550"/>
                  </a:lnTo>
                  <a:lnTo>
                    <a:pt x="499" y="527"/>
                  </a:lnTo>
                  <a:lnTo>
                    <a:pt x="507" y="558"/>
                  </a:lnTo>
                  <a:lnTo>
                    <a:pt x="527" y="569"/>
                  </a:lnTo>
                  <a:lnTo>
                    <a:pt x="507" y="586"/>
                  </a:lnTo>
                  <a:lnTo>
                    <a:pt x="499" y="577"/>
                  </a:lnTo>
                  <a:lnTo>
                    <a:pt x="479" y="574"/>
                  </a:lnTo>
                  <a:lnTo>
                    <a:pt x="465" y="580"/>
                  </a:lnTo>
                  <a:lnTo>
                    <a:pt x="421" y="583"/>
                  </a:lnTo>
                  <a:lnTo>
                    <a:pt x="422" y="565"/>
                  </a:lnTo>
                  <a:lnTo>
                    <a:pt x="452" y="539"/>
                  </a:lnTo>
                  <a:lnTo>
                    <a:pt x="454" y="515"/>
                  </a:lnTo>
                  <a:lnTo>
                    <a:pt x="457" y="495"/>
                  </a:lnTo>
                  <a:lnTo>
                    <a:pt x="482" y="492"/>
                  </a:lnTo>
                  <a:lnTo>
                    <a:pt x="520" y="493"/>
                  </a:lnTo>
                  <a:lnTo>
                    <a:pt x="529" y="486"/>
                  </a:lnTo>
                  <a:lnTo>
                    <a:pt x="504" y="478"/>
                  </a:lnTo>
                  <a:lnTo>
                    <a:pt x="495" y="465"/>
                  </a:lnTo>
                  <a:lnTo>
                    <a:pt x="465" y="450"/>
                  </a:lnTo>
                  <a:lnTo>
                    <a:pt x="454" y="423"/>
                  </a:lnTo>
                  <a:lnTo>
                    <a:pt x="460" y="410"/>
                  </a:lnTo>
                  <a:lnTo>
                    <a:pt x="444" y="384"/>
                  </a:lnTo>
                  <a:lnTo>
                    <a:pt x="404" y="378"/>
                  </a:lnTo>
                  <a:lnTo>
                    <a:pt x="361" y="348"/>
                  </a:lnTo>
                  <a:lnTo>
                    <a:pt x="323" y="346"/>
                  </a:lnTo>
                  <a:lnTo>
                    <a:pt x="297" y="352"/>
                  </a:lnTo>
                  <a:lnTo>
                    <a:pt x="286" y="366"/>
                  </a:lnTo>
                  <a:lnTo>
                    <a:pt x="274" y="374"/>
                  </a:lnTo>
                  <a:lnTo>
                    <a:pt x="242" y="375"/>
                  </a:lnTo>
                  <a:lnTo>
                    <a:pt x="225" y="389"/>
                  </a:lnTo>
                  <a:lnTo>
                    <a:pt x="196" y="389"/>
                  </a:lnTo>
                  <a:lnTo>
                    <a:pt x="185" y="378"/>
                  </a:lnTo>
                  <a:lnTo>
                    <a:pt x="173" y="374"/>
                  </a:lnTo>
                  <a:lnTo>
                    <a:pt x="143" y="384"/>
                  </a:lnTo>
                  <a:lnTo>
                    <a:pt x="122" y="386"/>
                  </a:lnTo>
                  <a:lnTo>
                    <a:pt x="107" y="374"/>
                  </a:lnTo>
                  <a:lnTo>
                    <a:pt x="84" y="378"/>
                  </a:lnTo>
                  <a:lnTo>
                    <a:pt x="74" y="392"/>
                  </a:lnTo>
                  <a:lnTo>
                    <a:pt x="53" y="386"/>
                  </a:lnTo>
                  <a:lnTo>
                    <a:pt x="25" y="386"/>
                  </a:lnTo>
                  <a:lnTo>
                    <a:pt x="0" y="348"/>
                  </a:lnTo>
                  <a:lnTo>
                    <a:pt x="5" y="331"/>
                  </a:lnTo>
                  <a:lnTo>
                    <a:pt x="53" y="290"/>
                  </a:lnTo>
                  <a:lnTo>
                    <a:pt x="38" y="244"/>
                  </a:lnTo>
                  <a:lnTo>
                    <a:pt x="94" y="202"/>
                  </a:lnTo>
                  <a:lnTo>
                    <a:pt x="112" y="178"/>
                  </a:lnTo>
                  <a:lnTo>
                    <a:pt x="109" y="153"/>
                  </a:lnTo>
                  <a:lnTo>
                    <a:pt x="97" y="122"/>
                  </a:lnTo>
                  <a:lnTo>
                    <a:pt x="82" y="96"/>
                  </a:lnTo>
                  <a:lnTo>
                    <a:pt x="63" y="83"/>
                  </a:lnTo>
                  <a:lnTo>
                    <a:pt x="94" y="84"/>
                  </a:lnTo>
                  <a:lnTo>
                    <a:pt x="107" y="72"/>
                  </a:lnTo>
                  <a:lnTo>
                    <a:pt x="166" y="69"/>
                  </a:lnTo>
                  <a:lnTo>
                    <a:pt x="223" y="69"/>
                  </a:lnTo>
                  <a:lnTo>
                    <a:pt x="238" y="69"/>
                  </a:lnTo>
                  <a:lnTo>
                    <a:pt x="313" y="84"/>
                  </a:lnTo>
                  <a:lnTo>
                    <a:pt x="368" y="84"/>
                  </a:lnTo>
                  <a:lnTo>
                    <a:pt x="391" y="77"/>
                  </a:lnTo>
                  <a:lnTo>
                    <a:pt x="412" y="77"/>
                  </a:lnTo>
                  <a:lnTo>
                    <a:pt x="435" y="84"/>
                  </a:lnTo>
                  <a:lnTo>
                    <a:pt x="482" y="79"/>
                  </a:lnTo>
                  <a:lnTo>
                    <a:pt x="491" y="92"/>
                  </a:lnTo>
                  <a:lnTo>
                    <a:pt x="507" y="75"/>
                  </a:lnTo>
                  <a:lnTo>
                    <a:pt x="506" y="45"/>
                  </a:lnTo>
                  <a:lnTo>
                    <a:pt x="543" y="26"/>
                  </a:lnTo>
                  <a:lnTo>
                    <a:pt x="565" y="2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35" name="Freeform 13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gray">
            <a:xfrm>
              <a:off x="2570163" y="4775200"/>
              <a:ext cx="396875" cy="355600"/>
            </a:xfrm>
            <a:custGeom>
              <a:avLst/>
              <a:gdLst>
                <a:gd name="T0" fmla="*/ 2147483647 w 436"/>
                <a:gd name="T1" fmla="*/ 2147483647 h 413"/>
                <a:gd name="T2" fmla="*/ 2147483647 w 436"/>
                <a:gd name="T3" fmla="*/ 2147483647 h 413"/>
                <a:gd name="T4" fmla="*/ 2147483647 w 436"/>
                <a:gd name="T5" fmla="*/ 2147483647 h 413"/>
                <a:gd name="T6" fmla="*/ 2147483647 w 436"/>
                <a:gd name="T7" fmla="*/ 2147483647 h 413"/>
                <a:gd name="T8" fmla="*/ 2147483647 w 436"/>
                <a:gd name="T9" fmla="*/ 2147483647 h 413"/>
                <a:gd name="T10" fmla="*/ 2147483647 w 436"/>
                <a:gd name="T11" fmla="*/ 2147483647 h 413"/>
                <a:gd name="T12" fmla="*/ 2147483647 w 436"/>
                <a:gd name="T13" fmla="*/ 2147483647 h 413"/>
                <a:gd name="T14" fmla="*/ 2147483647 w 436"/>
                <a:gd name="T15" fmla="*/ 2147483647 h 413"/>
                <a:gd name="T16" fmla="*/ 2147483647 w 436"/>
                <a:gd name="T17" fmla="*/ 2147483647 h 413"/>
                <a:gd name="T18" fmla="*/ 2147483647 w 436"/>
                <a:gd name="T19" fmla="*/ 2147483647 h 413"/>
                <a:gd name="T20" fmla="*/ 2147483647 w 436"/>
                <a:gd name="T21" fmla="*/ 2147483647 h 413"/>
                <a:gd name="T22" fmla="*/ 2147483647 w 436"/>
                <a:gd name="T23" fmla="*/ 2147483647 h 413"/>
                <a:gd name="T24" fmla="*/ 2147483647 w 436"/>
                <a:gd name="T25" fmla="*/ 2147483647 h 413"/>
                <a:gd name="T26" fmla="*/ 0 w 436"/>
                <a:gd name="T27" fmla="*/ 2147483647 h 413"/>
                <a:gd name="T28" fmla="*/ 2147483647 w 436"/>
                <a:gd name="T29" fmla="*/ 2147483647 h 413"/>
                <a:gd name="T30" fmla="*/ 2147483647 w 436"/>
                <a:gd name="T31" fmla="*/ 2147483647 h 413"/>
                <a:gd name="T32" fmla="*/ 2147483647 w 436"/>
                <a:gd name="T33" fmla="*/ 2147483647 h 413"/>
                <a:gd name="T34" fmla="*/ 2147483647 w 436"/>
                <a:gd name="T35" fmla="*/ 2147483647 h 413"/>
                <a:gd name="T36" fmla="*/ 2147483647 w 436"/>
                <a:gd name="T37" fmla="*/ 2147483647 h 413"/>
                <a:gd name="T38" fmla="*/ 2147483647 w 436"/>
                <a:gd name="T39" fmla="*/ 2147483647 h 413"/>
                <a:gd name="T40" fmla="*/ 2147483647 w 436"/>
                <a:gd name="T41" fmla="*/ 2147483647 h 413"/>
                <a:gd name="T42" fmla="*/ 2147483647 w 436"/>
                <a:gd name="T43" fmla="*/ 2147483647 h 413"/>
                <a:gd name="T44" fmla="*/ 2147483647 w 436"/>
                <a:gd name="T45" fmla="*/ 2147483647 h 413"/>
                <a:gd name="T46" fmla="*/ 2147483647 w 436"/>
                <a:gd name="T47" fmla="*/ 2147483647 h 413"/>
                <a:gd name="T48" fmla="*/ 2147483647 w 436"/>
                <a:gd name="T49" fmla="*/ 2147483647 h 413"/>
                <a:gd name="T50" fmla="*/ 2147483647 w 436"/>
                <a:gd name="T51" fmla="*/ 2147483647 h 413"/>
                <a:gd name="T52" fmla="*/ 2147483647 w 436"/>
                <a:gd name="T53" fmla="*/ 2147483647 h 413"/>
                <a:gd name="T54" fmla="*/ 2147483647 w 436"/>
                <a:gd name="T55" fmla="*/ 2147483647 h 413"/>
                <a:gd name="T56" fmla="*/ 2147483647 w 436"/>
                <a:gd name="T57" fmla="*/ 2147483647 h 413"/>
                <a:gd name="T58" fmla="*/ 2147483647 w 436"/>
                <a:gd name="T59" fmla="*/ 2147483647 h 413"/>
                <a:gd name="T60" fmla="*/ 2147483647 w 436"/>
                <a:gd name="T61" fmla="*/ 2147483647 h 413"/>
                <a:gd name="T62" fmla="*/ 2147483647 w 436"/>
                <a:gd name="T63" fmla="*/ 2147483647 h 413"/>
                <a:gd name="T64" fmla="*/ 2147483647 w 436"/>
                <a:gd name="T65" fmla="*/ 2147483647 h 413"/>
                <a:gd name="T66" fmla="*/ 2147483647 w 436"/>
                <a:gd name="T67" fmla="*/ 2147483647 h 413"/>
                <a:gd name="T68" fmla="*/ 2147483647 w 436"/>
                <a:gd name="T69" fmla="*/ 2147483647 h 413"/>
                <a:gd name="T70" fmla="*/ 2147483647 w 436"/>
                <a:gd name="T71" fmla="*/ 2147483647 h 413"/>
                <a:gd name="T72" fmla="*/ 2147483647 w 436"/>
                <a:gd name="T73" fmla="*/ 2147483647 h 413"/>
                <a:gd name="T74" fmla="*/ 2147483647 w 436"/>
                <a:gd name="T75" fmla="*/ 2147483647 h 413"/>
                <a:gd name="T76" fmla="*/ 2147483647 w 436"/>
                <a:gd name="T77" fmla="*/ 2147483647 h 413"/>
                <a:gd name="T78" fmla="*/ 2147483647 w 436"/>
                <a:gd name="T79" fmla="*/ 2147483647 h 413"/>
                <a:gd name="T80" fmla="*/ 2147483647 w 436"/>
                <a:gd name="T81" fmla="*/ 2147483647 h 413"/>
                <a:gd name="T82" fmla="*/ 2147483647 w 436"/>
                <a:gd name="T83" fmla="*/ 2147483647 h 413"/>
                <a:gd name="T84" fmla="*/ 2147483647 w 436"/>
                <a:gd name="T85" fmla="*/ 2147483647 h 413"/>
                <a:gd name="T86" fmla="*/ 2147483647 w 436"/>
                <a:gd name="T87" fmla="*/ 2147483647 h 413"/>
                <a:gd name="T88" fmla="*/ 2147483647 w 436"/>
                <a:gd name="T89" fmla="*/ 2147483647 h 413"/>
                <a:gd name="T90" fmla="*/ 2147483647 w 436"/>
                <a:gd name="T91" fmla="*/ 2147483647 h 413"/>
                <a:gd name="T92" fmla="*/ 2147483647 w 436"/>
                <a:gd name="T93" fmla="*/ 2147483647 h 413"/>
                <a:gd name="T94" fmla="*/ 2147483647 w 436"/>
                <a:gd name="T95" fmla="*/ 2147483647 h 413"/>
                <a:gd name="T96" fmla="*/ 2147483647 w 436"/>
                <a:gd name="T97" fmla="*/ 2147483647 h 413"/>
                <a:gd name="T98" fmla="*/ 2147483647 w 436"/>
                <a:gd name="T99" fmla="*/ 2147483647 h 413"/>
                <a:gd name="T100" fmla="*/ 2147483647 w 436"/>
                <a:gd name="T101" fmla="*/ 2147483647 h 413"/>
                <a:gd name="T102" fmla="*/ 2147483647 w 436"/>
                <a:gd name="T103" fmla="*/ 2147483647 h 413"/>
                <a:gd name="T104" fmla="*/ 2147483647 w 436"/>
                <a:gd name="T105" fmla="*/ 2147483647 h 413"/>
                <a:gd name="T106" fmla="*/ 2147483647 w 436"/>
                <a:gd name="T107" fmla="*/ 2147483647 h 413"/>
                <a:gd name="T108" fmla="*/ 2147483647 w 436"/>
                <a:gd name="T109" fmla="*/ 2147483647 h 413"/>
                <a:gd name="T110" fmla="*/ 2147483647 w 436"/>
                <a:gd name="T111" fmla="*/ 2147483647 h 413"/>
                <a:gd name="T112" fmla="*/ 2147483647 w 436"/>
                <a:gd name="T113" fmla="*/ 2147483647 h 413"/>
                <a:gd name="T114" fmla="*/ 2147483647 w 436"/>
                <a:gd name="T115" fmla="*/ 0 h 413"/>
                <a:gd name="T116" fmla="*/ 2147483647 w 436"/>
                <a:gd name="T117" fmla="*/ 2147483647 h 41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36"/>
                <a:gd name="T178" fmla="*/ 0 h 413"/>
                <a:gd name="T179" fmla="*/ 436 w 436"/>
                <a:gd name="T180" fmla="*/ 413 h 41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36" h="413">
                  <a:moveTo>
                    <a:pt x="99" y="9"/>
                  </a:moveTo>
                  <a:lnTo>
                    <a:pt x="84" y="26"/>
                  </a:lnTo>
                  <a:lnTo>
                    <a:pt x="74" y="43"/>
                  </a:lnTo>
                  <a:lnTo>
                    <a:pt x="55" y="44"/>
                  </a:lnTo>
                  <a:lnTo>
                    <a:pt x="36" y="50"/>
                  </a:lnTo>
                  <a:lnTo>
                    <a:pt x="45" y="61"/>
                  </a:lnTo>
                  <a:lnTo>
                    <a:pt x="45" y="67"/>
                  </a:lnTo>
                  <a:lnTo>
                    <a:pt x="45" y="90"/>
                  </a:lnTo>
                  <a:lnTo>
                    <a:pt x="28" y="92"/>
                  </a:lnTo>
                  <a:lnTo>
                    <a:pt x="11" y="107"/>
                  </a:lnTo>
                  <a:lnTo>
                    <a:pt x="11" y="124"/>
                  </a:lnTo>
                  <a:lnTo>
                    <a:pt x="9" y="131"/>
                  </a:lnTo>
                  <a:lnTo>
                    <a:pt x="3" y="141"/>
                  </a:lnTo>
                  <a:lnTo>
                    <a:pt x="0" y="168"/>
                  </a:lnTo>
                  <a:lnTo>
                    <a:pt x="3" y="186"/>
                  </a:lnTo>
                  <a:lnTo>
                    <a:pt x="18" y="204"/>
                  </a:lnTo>
                  <a:lnTo>
                    <a:pt x="14" y="228"/>
                  </a:lnTo>
                  <a:lnTo>
                    <a:pt x="36" y="260"/>
                  </a:lnTo>
                  <a:lnTo>
                    <a:pt x="72" y="260"/>
                  </a:lnTo>
                  <a:lnTo>
                    <a:pt x="108" y="280"/>
                  </a:lnTo>
                  <a:lnTo>
                    <a:pt x="108" y="312"/>
                  </a:lnTo>
                  <a:lnTo>
                    <a:pt x="68" y="326"/>
                  </a:lnTo>
                  <a:lnTo>
                    <a:pt x="52" y="320"/>
                  </a:lnTo>
                  <a:lnTo>
                    <a:pt x="28" y="330"/>
                  </a:lnTo>
                  <a:lnTo>
                    <a:pt x="44" y="354"/>
                  </a:lnTo>
                  <a:lnTo>
                    <a:pt x="58" y="390"/>
                  </a:lnTo>
                  <a:lnTo>
                    <a:pt x="95" y="396"/>
                  </a:lnTo>
                  <a:lnTo>
                    <a:pt x="141" y="404"/>
                  </a:lnTo>
                  <a:lnTo>
                    <a:pt x="187" y="402"/>
                  </a:lnTo>
                  <a:lnTo>
                    <a:pt x="208" y="396"/>
                  </a:lnTo>
                  <a:lnTo>
                    <a:pt x="229" y="394"/>
                  </a:lnTo>
                  <a:lnTo>
                    <a:pt x="254" y="405"/>
                  </a:lnTo>
                  <a:lnTo>
                    <a:pt x="299" y="396"/>
                  </a:lnTo>
                  <a:lnTo>
                    <a:pt x="309" y="413"/>
                  </a:lnTo>
                  <a:lnTo>
                    <a:pt x="322" y="394"/>
                  </a:lnTo>
                  <a:lnTo>
                    <a:pt x="324" y="362"/>
                  </a:lnTo>
                  <a:lnTo>
                    <a:pt x="356" y="347"/>
                  </a:lnTo>
                  <a:lnTo>
                    <a:pt x="383" y="343"/>
                  </a:lnTo>
                  <a:lnTo>
                    <a:pt x="383" y="337"/>
                  </a:lnTo>
                  <a:lnTo>
                    <a:pt x="364" y="300"/>
                  </a:lnTo>
                  <a:lnTo>
                    <a:pt x="366" y="280"/>
                  </a:lnTo>
                  <a:lnTo>
                    <a:pt x="372" y="269"/>
                  </a:lnTo>
                  <a:lnTo>
                    <a:pt x="397" y="273"/>
                  </a:lnTo>
                  <a:lnTo>
                    <a:pt x="436" y="274"/>
                  </a:lnTo>
                  <a:lnTo>
                    <a:pt x="433" y="224"/>
                  </a:lnTo>
                  <a:lnTo>
                    <a:pt x="398" y="210"/>
                  </a:lnTo>
                  <a:lnTo>
                    <a:pt x="362" y="207"/>
                  </a:lnTo>
                  <a:lnTo>
                    <a:pt x="348" y="180"/>
                  </a:lnTo>
                  <a:lnTo>
                    <a:pt x="345" y="146"/>
                  </a:lnTo>
                  <a:lnTo>
                    <a:pt x="312" y="116"/>
                  </a:lnTo>
                  <a:lnTo>
                    <a:pt x="293" y="94"/>
                  </a:lnTo>
                  <a:lnTo>
                    <a:pt x="298" y="72"/>
                  </a:lnTo>
                  <a:lnTo>
                    <a:pt x="295" y="32"/>
                  </a:lnTo>
                  <a:lnTo>
                    <a:pt x="260" y="11"/>
                  </a:lnTo>
                  <a:lnTo>
                    <a:pt x="223" y="11"/>
                  </a:lnTo>
                  <a:lnTo>
                    <a:pt x="189" y="17"/>
                  </a:lnTo>
                  <a:lnTo>
                    <a:pt x="174" y="6"/>
                  </a:lnTo>
                  <a:lnTo>
                    <a:pt x="135" y="0"/>
                  </a:lnTo>
                  <a:lnTo>
                    <a:pt x="99" y="9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36" name="Freeform 14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 bwMode="gray">
            <a:xfrm>
              <a:off x="250825" y="6049962"/>
              <a:ext cx="523875" cy="234950"/>
            </a:xfrm>
            <a:custGeom>
              <a:avLst/>
              <a:gdLst>
                <a:gd name="T0" fmla="*/ 2147483647 w 576"/>
                <a:gd name="T1" fmla="*/ 2147483647 h 272"/>
                <a:gd name="T2" fmla="*/ 2147483647 w 576"/>
                <a:gd name="T3" fmla="*/ 2147483647 h 272"/>
                <a:gd name="T4" fmla="*/ 2147483647 w 576"/>
                <a:gd name="T5" fmla="*/ 2147483647 h 272"/>
                <a:gd name="T6" fmla="*/ 0 w 576"/>
                <a:gd name="T7" fmla="*/ 2147483647 h 272"/>
                <a:gd name="T8" fmla="*/ 2147483647 w 576"/>
                <a:gd name="T9" fmla="*/ 2147483647 h 272"/>
                <a:gd name="T10" fmla="*/ 2147483647 w 576"/>
                <a:gd name="T11" fmla="*/ 2147483647 h 272"/>
                <a:gd name="T12" fmla="*/ 2147483647 w 576"/>
                <a:gd name="T13" fmla="*/ 2147483647 h 272"/>
                <a:gd name="T14" fmla="*/ 2147483647 w 576"/>
                <a:gd name="T15" fmla="*/ 2147483647 h 272"/>
                <a:gd name="T16" fmla="*/ 2147483647 w 576"/>
                <a:gd name="T17" fmla="*/ 0 h 272"/>
                <a:gd name="T18" fmla="*/ 2147483647 w 576"/>
                <a:gd name="T19" fmla="*/ 2147483647 h 272"/>
                <a:gd name="T20" fmla="*/ 2147483647 w 576"/>
                <a:gd name="T21" fmla="*/ 2147483647 h 272"/>
                <a:gd name="T22" fmla="*/ 2147483647 w 576"/>
                <a:gd name="T23" fmla="*/ 2147483647 h 272"/>
                <a:gd name="T24" fmla="*/ 2147483647 w 576"/>
                <a:gd name="T25" fmla="*/ 2147483647 h 272"/>
                <a:gd name="T26" fmla="*/ 2147483647 w 576"/>
                <a:gd name="T27" fmla="*/ 2147483647 h 272"/>
                <a:gd name="T28" fmla="*/ 2147483647 w 576"/>
                <a:gd name="T29" fmla="*/ 2147483647 h 27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76"/>
                <a:gd name="T46" fmla="*/ 0 h 272"/>
                <a:gd name="T47" fmla="*/ 576 w 576"/>
                <a:gd name="T48" fmla="*/ 272 h 27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76" h="272">
                  <a:moveTo>
                    <a:pt x="560" y="111"/>
                  </a:moveTo>
                  <a:lnTo>
                    <a:pt x="576" y="186"/>
                  </a:lnTo>
                  <a:lnTo>
                    <a:pt x="550" y="272"/>
                  </a:lnTo>
                  <a:lnTo>
                    <a:pt x="0" y="270"/>
                  </a:lnTo>
                  <a:lnTo>
                    <a:pt x="12" y="229"/>
                  </a:lnTo>
                  <a:lnTo>
                    <a:pt x="79" y="175"/>
                  </a:lnTo>
                  <a:lnTo>
                    <a:pt x="230" y="107"/>
                  </a:lnTo>
                  <a:lnTo>
                    <a:pt x="282" y="14"/>
                  </a:lnTo>
                  <a:lnTo>
                    <a:pt x="331" y="0"/>
                  </a:lnTo>
                  <a:lnTo>
                    <a:pt x="362" y="40"/>
                  </a:lnTo>
                  <a:lnTo>
                    <a:pt x="413" y="76"/>
                  </a:lnTo>
                  <a:lnTo>
                    <a:pt x="481" y="84"/>
                  </a:lnTo>
                  <a:lnTo>
                    <a:pt x="517" y="63"/>
                  </a:lnTo>
                  <a:lnTo>
                    <a:pt x="520" y="90"/>
                  </a:lnTo>
                  <a:lnTo>
                    <a:pt x="560" y="111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37" name="Freeform 15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gray">
            <a:xfrm>
              <a:off x="1466850" y="6100762"/>
              <a:ext cx="185738" cy="184150"/>
            </a:xfrm>
            <a:custGeom>
              <a:avLst/>
              <a:gdLst>
                <a:gd name="T0" fmla="*/ 0 w 204"/>
                <a:gd name="T1" fmla="*/ 2147483647 h 214"/>
                <a:gd name="T2" fmla="*/ 2147483647 w 204"/>
                <a:gd name="T3" fmla="*/ 2147483647 h 214"/>
                <a:gd name="T4" fmla="*/ 2147483647 w 204"/>
                <a:gd name="T5" fmla="*/ 2147483647 h 214"/>
                <a:gd name="T6" fmla="*/ 2147483647 w 204"/>
                <a:gd name="T7" fmla="*/ 2147483647 h 214"/>
                <a:gd name="T8" fmla="*/ 2147483647 w 204"/>
                <a:gd name="T9" fmla="*/ 0 h 214"/>
                <a:gd name="T10" fmla="*/ 2147483647 w 204"/>
                <a:gd name="T11" fmla="*/ 2147483647 h 214"/>
                <a:gd name="T12" fmla="*/ 2147483647 w 204"/>
                <a:gd name="T13" fmla="*/ 2147483647 h 214"/>
                <a:gd name="T14" fmla="*/ 2147483647 w 204"/>
                <a:gd name="T15" fmla="*/ 2147483647 h 214"/>
                <a:gd name="T16" fmla="*/ 2147483647 w 204"/>
                <a:gd name="T17" fmla="*/ 2147483647 h 214"/>
                <a:gd name="T18" fmla="*/ 2147483647 w 204"/>
                <a:gd name="T19" fmla="*/ 2147483647 h 214"/>
                <a:gd name="T20" fmla="*/ 2147483647 w 204"/>
                <a:gd name="T21" fmla="*/ 2147483647 h 214"/>
                <a:gd name="T22" fmla="*/ 2147483647 w 204"/>
                <a:gd name="T23" fmla="*/ 2147483647 h 214"/>
                <a:gd name="T24" fmla="*/ 0 w 204"/>
                <a:gd name="T25" fmla="*/ 2147483647 h 2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4"/>
                <a:gd name="T40" fmla="*/ 0 h 214"/>
                <a:gd name="T41" fmla="*/ 204 w 204"/>
                <a:gd name="T42" fmla="*/ 214 h 2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4" h="214">
                  <a:moveTo>
                    <a:pt x="0" y="213"/>
                  </a:moveTo>
                  <a:lnTo>
                    <a:pt x="22" y="60"/>
                  </a:lnTo>
                  <a:lnTo>
                    <a:pt x="58" y="17"/>
                  </a:lnTo>
                  <a:lnTo>
                    <a:pt x="106" y="1"/>
                  </a:lnTo>
                  <a:lnTo>
                    <a:pt x="161" y="0"/>
                  </a:lnTo>
                  <a:lnTo>
                    <a:pt x="144" y="33"/>
                  </a:lnTo>
                  <a:lnTo>
                    <a:pt x="160" y="46"/>
                  </a:lnTo>
                  <a:lnTo>
                    <a:pt x="202" y="27"/>
                  </a:lnTo>
                  <a:lnTo>
                    <a:pt x="204" y="60"/>
                  </a:lnTo>
                  <a:lnTo>
                    <a:pt x="169" y="87"/>
                  </a:lnTo>
                  <a:lnTo>
                    <a:pt x="160" y="132"/>
                  </a:lnTo>
                  <a:lnTo>
                    <a:pt x="201" y="214"/>
                  </a:lnTo>
                  <a:lnTo>
                    <a:pt x="0" y="21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38" name="Freeform 16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gray">
            <a:xfrm>
              <a:off x="750888" y="6069012"/>
              <a:ext cx="768350" cy="215900"/>
            </a:xfrm>
            <a:custGeom>
              <a:avLst/>
              <a:gdLst>
                <a:gd name="T0" fmla="*/ 2147483647 w 791"/>
                <a:gd name="T1" fmla="*/ 2147483647 h 237"/>
                <a:gd name="T2" fmla="*/ 2147483647 w 791"/>
                <a:gd name="T3" fmla="*/ 2147483647 h 237"/>
                <a:gd name="T4" fmla="*/ 2147483647 w 791"/>
                <a:gd name="T5" fmla="*/ 2147483647 h 237"/>
                <a:gd name="T6" fmla="*/ 2147483647 w 791"/>
                <a:gd name="T7" fmla="*/ 2147483647 h 237"/>
                <a:gd name="T8" fmla="*/ 2147483647 w 791"/>
                <a:gd name="T9" fmla="*/ 2147483647 h 237"/>
                <a:gd name="T10" fmla="*/ 2147483647 w 791"/>
                <a:gd name="T11" fmla="*/ 2147483647 h 237"/>
                <a:gd name="T12" fmla="*/ 2147483647 w 791"/>
                <a:gd name="T13" fmla="*/ 2147483647 h 237"/>
                <a:gd name="T14" fmla="*/ 2147483647 w 791"/>
                <a:gd name="T15" fmla="*/ 2147483647 h 237"/>
                <a:gd name="T16" fmla="*/ 2147483647 w 791"/>
                <a:gd name="T17" fmla="*/ 0 h 237"/>
                <a:gd name="T18" fmla="*/ 2147483647 w 791"/>
                <a:gd name="T19" fmla="*/ 2147483647 h 237"/>
                <a:gd name="T20" fmla="*/ 2147483647 w 791"/>
                <a:gd name="T21" fmla="*/ 2147483647 h 237"/>
                <a:gd name="T22" fmla="*/ 2147483647 w 791"/>
                <a:gd name="T23" fmla="*/ 2147483647 h 237"/>
                <a:gd name="T24" fmla="*/ 2147483647 w 791"/>
                <a:gd name="T25" fmla="*/ 2147483647 h 237"/>
                <a:gd name="T26" fmla="*/ 2147483647 w 791"/>
                <a:gd name="T27" fmla="*/ 2147483647 h 237"/>
                <a:gd name="T28" fmla="*/ 2147483647 w 791"/>
                <a:gd name="T29" fmla="*/ 2147483647 h 237"/>
                <a:gd name="T30" fmla="*/ 2147483647 w 791"/>
                <a:gd name="T31" fmla="*/ 2147483647 h 237"/>
                <a:gd name="T32" fmla="*/ 0 w 791"/>
                <a:gd name="T33" fmla="*/ 2147483647 h 237"/>
                <a:gd name="T34" fmla="*/ 2147483647 w 791"/>
                <a:gd name="T35" fmla="*/ 2147483647 h 237"/>
                <a:gd name="T36" fmla="*/ 2147483647 w 791"/>
                <a:gd name="T37" fmla="*/ 2147483647 h 237"/>
                <a:gd name="T38" fmla="*/ 2147483647 w 791"/>
                <a:gd name="T39" fmla="*/ 2147483647 h 23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91"/>
                <a:gd name="T61" fmla="*/ 0 h 237"/>
                <a:gd name="T62" fmla="*/ 791 w 791"/>
                <a:gd name="T63" fmla="*/ 237 h 23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91" h="237">
                  <a:moveTo>
                    <a:pt x="11" y="84"/>
                  </a:moveTo>
                  <a:lnTo>
                    <a:pt x="43" y="82"/>
                  </a:lnTo>
                  <a:lnTo>
                    <a:pt x="146" y="43"/>
                  </a:lnTo>
                  <a:lnTo>
                    <a:pt x="189" y="46"/>
                  </a:lnTo>
                  <a:lnTo>
                    <a:pt x="259" y="11"/>
                  </a:lnTo>
                  <a:lnTo>
                    <a:pt x="375" y="2"/>
                  </a:lnTo>
                  <a:lnTo>
                    <a:pt x="396" y="26"/>
                  </a:lnTo>
                  <a:lnTo>
                    <a:pt x="410" y="6"/>
                  </a:lnTo>
                  <a:lnTo>
                    <a:pt x="486" y="0"/>
                  </a:lnTo>
                  <a:lnTo>
                    <a:pt x="556" y="33"/>
                  </a:lnTo>
                  <a:lnTo>
                    <a:pt x="655" y="21"/>
                  </a:lnTo>
                  <a:lnTo>
                    <a:pt x="677" y="41"/>
                  </a:lnTo>
                  <a:lnTo>
                    <a:pt x="697" y="14"/>
                  </a:lnTo>
                  <a:lnTo>
                    <a:pt x="791" y="52"/>
                  </a:lnTo>
                  <a:lnTo>
                    <a:pt x="758" y="93"/>
                  </a:lnTo>
                  <a:lnTo>
                    <a:pt x="736" y="235"/>
                  </a:lnTo>
                  <a:lnTo>
                    <a:pt x="0" y="237"/>
                  </a:lnTo>
                  <a:lnTo>
                    <a:pt x="4" y="214"/>
                  </a:lnTo>
                  <a:lnTo>
                    <a:pt x="25" y="155"/>
                  </a:lnTo>
                  <a:lnTo>
                    <a:pt x="11" y="84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39" name="Freeform 17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gray">
            <a:xfrm>
              <a:off x="2708275" y="5805487"/>
              <a:ext cx="338138" cy="403225"/>
            </a:xfrm>
            <a:custGeom>
              <a:avLst/>
              <a:gdLst>
                <a:gd name="T0" fmla="*/ 2147483647 w 323"/>
                <a:gd name="T1" fmla="*/ 2147483647 h 408"/>
                <a:gd name="T2" fmla="*/ 2147483647 w 323"/>
                <a:gd name="T3" fmla="*/ 2147483647 h 408"/>
                <a:gd name="T4" fmla="*/ 2147483647 w 323"/>
                <a:gd name="T5" fmla="*/ 2147483647 h 408"/>
                <a:gd name="T6" fmla="*/ 2147483647 w 323"/>
                <a:gd name="T7" fmla="*/ 2147483647 h 408"/>
                <a:gd name="T8" fmla="*/ 2147483647 w 323"/>
                <a:gd name="T9" fmla="*/ 2147483647 h 408"/>
                <a:gd name="T10" fmla="*/ 2147483647 w 323"/>
                <a:gd name="T11" fmla="*/ 2147483647 h 408"/>
                <a:gd name="T12" fmla="*/ 2147483647 w 323"/>
                <a:gd name="T13" fmla="*/ 2147483647 h 408"/>
                <a:gd name="T14" fmla="*/ 2147483647 w 323"/>
                <a:gd name="T15" fmla="*/ 2147483647 h 408"/>
                <a:gd name="T16" fmla="*/ 2147483647 w 323"/>
                <a:gd name="T17" fmla="*/ 2147483647 h 408"/>
                <a:gd name="T18" fmla="*/ 2147483647 w 323"/>
                <a:gd name="T19" fmla="*/ 2147483647 h 408"/>
                <a:gd name="T20" fmla="*/ 2147483647 w 323"/>
                <a:gd name="T21" fmla="*/ 2147483647 h 408"/>
                <a:gd name="T22" fmla="*/ 2147483647 w 323"/>
                <a:gd name="T23" fmla="*/ 0 h 408"/>
                <a:gd name="T24" fmla="*/ 2147483647 w 323"/>
                <a:gd name="T25" fmla="*/ 2147483647 h 408"/>
                <a:gd name="T26" fmla="*/ 2147483647 w 323"/>
                <a:gd name="T27" fmla="*/ 2147483647 h 408"/>
                <a:gd name="T28" fmla="*/ 2147483647 w 323"/>
                <a:gd name="T29" fmla="*/ 2147483647 h 408"/>
                <a:gd name="T30" fmla="*/ 2147483647 w 323"/>
                <a:gd name="T31" fmla="*/ 2147483647 h 408"/>
                <a:gd name="T32" fmla="*/ 2147483647 w 323"/>
                <a:gd name="T33" fmla="*/ 2147483647 h 408"/>
                <a:gd name="T34" fmla="*/ 2147483647 w 323"/>
                <a:gd name="T35" fmla="*/ 2147483647 h 408"/>
                <a:gd name="T36" fmla="*/ 2147483647 w 323"/>
                <a:gd name="T37" fmla="*/ 2147483647 h 408"/>
                <a:gd name="T38" fmla="*/ 2147483647 w 323"/>
                <a:gd name="T39" fmla="*/ 2147483647 h 408"/>
                <a:gd name="T40" fmla="*/ 2147483647 w 323"/>
                <a:gd name="T41" fmla="*/ 2147483647 h 408"/>
                <a:gd name="T42" fmla="*/ 2147483647 w 323"/>
                <a:gd name="T43" fmla="*/ 2147483647 h 408"/>
                <a:gd name="T44" fmla="*/ 2147483647 w 323"/>
                <a:gd name="T45" fmla="*/ 2147483647 h 408"/>
                <a:gd name="T46" fmla="*/ 2147483647 w 323"/>
                <a:gd name="T47" fmla="*/ 2147483647 h 408"/>
                <a:gd name="T48" fmla="*/ 2147483647 w 323"/>
                <a:gd name="T49" fmla="*/ 2147483647 h 408"/>
                <a:gd name="T50" fmla="*/ 2147483647 w 323"/>
                <a:gd name="T51" fmla="*/ 2147483647 h 408"/>
                <a:gd name="T52" fmla="*/ 2147483647 w 323"/>
                <a:gd name="T53" fmla="*/ 2147483647 h 408"/>
                <a:gd name="T54" fmla="*/ 2147483647 w 323"/>
                <a:gd name="T55" fmla="*/ 2147483647 h 408"/>
                <a:gd name="T56" fmla="*/ 2147483647 w 323"/>
                <a:gd name="T57" fmla="*/ 2147483647 h 408"/>
                <a:gd name="T58" fmla="*/ 2147483647 w 323"/>
                <a:gd name="T59" fmla="*/ 2147483647 h 408"/>
                <a:gd name="T60" fmla="*/ 2147483647 w 323"/>
                <a:gd name="T61" fmla="*/ 2147483647 h 408"/>
                <a:gd name="T62" fmla="*/ 2147483647 w 323"/>
                <a:gd name="T63" fmla="*/ 2147483647 h 408"/>
                <a:gd name="T64" fmla="*/ 2147483647 w 323"/>
                <a:gd name="T65" fmla="*/ 2147483647 h 408"/>
                <a:gd name="T66" fmla="*/ 2147483647 w 323"/>
                <a:gd name="T67" fmla="*/ 2147483647 h 408"/>
                <a:gd name="T68" fmla="*/ 2147483647 w 323"/>
                <a:gd name="T69" fmla="*/ 2147483647 h 408"/>
                <a:gd name="T70" fmla="*/ 2147483647 w 323"/>
                <a:gd name="T71" fmla="*/ 2147483647 h 408"/>
                <a:gd name="T72" fmla="*/ 2147483647 w 323"/>
                <a:gd name="T73" fmla="*/ 2147483647 h 408"/>
                <a:gd name="T74" fmla="*/ 2147483647 w 323"/>
                <a:gd name="T75" fmla="*/ 2147483647 h 408"/>
                <a:gd name="T76" fmla="*/ 2147483647 w 323"/>
                <a:gd name="T77" fmla="*/ 2147483647 h 408"/>
                <a:gd name="T78" fmla="*/ 2147483647 w 323"/>
                <a:gd name="T79" fmla="*/ 2147483647 h 408"/>
                <a:gd name="T80" fmla="*/ 2147483647 w 323"/>
                <a:gd name="T81" fmla="*/ 2147483647 h 408"/>
                <a:gd name="T82" fmla="*/ 2147483647 w 323"/>
                <a:gd name="T83" fmla="*/ 2147483647 h 408"/>
                <a:gd name="T84" fmla="*/ 2147483647 w 323"/>
                <a:gd name="T85" fmla="*/ 2147483647 h 408"/>
                <a:gd name="T86" fmla="*/ 2147483647 w 323"/>
                <a:gd name="T87" fmla="*/ 2147483647 h 408"/>
                <a:gd name="T88" fmla="*/ 2147483647 w 323"/>
                <a:gd name="T89" fmla="*/ 2147483647 h 408"/>
                <a:gd name="T90" fmla="*/ 2147483647 w 323"/>
                <a:gd name="T91" fmla="*/ 2147483647 h 408"/>
                <a:gd name="T92" fmla="*/ 2147483647 w 323"/>
                <a:gd name="T93" fmla="*/ 2147483647 h 408"/>
                <a:gd name="T94" fmla="*/ 2147483647 w 323"/>
                <a:gd name="T95" fmla="*/ 2147483647 h 408"/>
                <a:gd name="T96" fmla="*/ 0 w 323"/>
                <a:gd name="T97" fmla="*/ 2147483647 h 408"/>
                <a:gd name="T98" fmla="*/ 2147483647 w 323"/>
                <a:gd name="T99" fmla="*/ 2147483647 h 408"/>
                <a:gd name="T100" fmla="*/ 2147483647 w 323"/>
                <a:gd name="T101" fmla="*/ 2147483647 h 408"/>
                <a:gd name="T102" fmla="*/ 2147483647 w 323"/>
                <a:gd name="T103" fmla="*/ 2147483647 h 408"/>
                <a:gd name="T104" fmla="*/ 2147483647 w 323"/>
                <a:gd name="T105" fmla="*/ 2147483647 h 408"/>
                <a:gd name="T106" fmla="*/ 2147483647 w 323"/>
                <a:gd name="T107" fmla="*/ 2147483647 h 408"/>
                <a:gd name="T108" fmla="*/ 2147483647 w 323"/>
                <a:gd name="T109" fmla="*/ 2147483647 h 408"/>
                <a:gd name="T110" fmla="*/ 2147483647 w 323"/>
                <a:gd name="T111" fmla="*/ 2147483647 h 408"/>
                <a:gd name="T112" fmla="*/ 2147483647 w 323"/>
                <a:gd name="T113" fmla="*/ 2147483647 h 408"/>
                <a:gd name="T114" fmla="*/ 2147483647 w 323"/>
                <a:gd name="T115" fmla="*/ 2147483647 h 408"/>
                <a:gd name="T116" fmla="*/ 2147483647 w 323"/>
                <a:gd name="T117" fmla="*/ 2147483647 h 40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23"/>
                <a:gd name="T178" fmla="*/ 0 h 408"/>
                <a:gd name="T179" fmla="*/ 323 w 323"/>
                <a:gd name="T180" fmla="*/ 408 h 40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23" h="408">
                  <a:moveTo>
                    <a:pt x="163" y="91"/>
                  </a:moveTo>
                  <a:lnTo>
                    <a:pt x="166" y="71"/>
                  </a:lnTo>
                  <a:lnTo>
                    <a:pt x="200" y="67"/>
                  </a:lnTo>
                  <a:lnTo>
                    <a:pt x="209" y="67"/>
                  </a:lnTo>
                  <a:lnTo>
                    <a:pt x="193" y="55"/>
                  </a:lnTo>
                  <a:lnTo>
                    <a:pt x="169" y="49"/>
                  </a:lnTo>
                  <a:lnTo>
                    <a:pt x="169" y="37"/>
                  </a:lnTo>
                  <a:lnTo>
                    <a:pt x="218" y="25"/>
                  </a:lnTo>
                  <a:lnTo>
                    <a:pt x="258" y="21"/>
                  </a:lnTo>
                  <a:lnTo>
                    <a:pt x="285" y="9"/>
                  </a:lnTo>
                  <a:lnTo>
                    <a:pt x="303" y="16"/>
                  </a:lnTo>
                  <a:lnTo>
                    <a:pt x="323" y="0"/>
                  </a:lnTo>
                  <a:lnTo>
                    <a:pt x="319" y="360"/>
                  </a:lnTo>
                  <a:lnTo>
                    <a:pt x="292" y="374"/>
                  </a:lnTo>
                  <a:lnTo>
                    <a:pt x="289" y="381"/>
                  </a:lnTo>
                  <a:lnTo>
                    <a:pt x="268" y="387"/>
                  </a:lnTo>
                  <a:lnTo>
                    <a:pt x="265" y="387"/>
                  </a:lnTo>
                  <a:lnTo>
                    <a:pt x="242" y="408"/>
                  </a:lnTo>
                  <a:lnTo>
                    <a:pt x="228" y="408"/>
                  </a:lnTo>
                  <a:lnTo>
                    <a:pt x="222" y="392"/>
                  </a:lnTo>
                  <a:lnTo>
                    <a:pt x="212" y="390"/>
                  </a:lnTo>
                  <a:lnTo>
                    <a:pt x="200" y="381"/>
                  </a:lnTo>
                  <a:lnTo>
                    <a:pt x="196" y="369"/>
                  </a:lnTo>
                  <a:lnTo>
                    <a:pt x="169" y="365"/>
                  </a:lnTo>
                  <a:lnTo>
                    <a:pt x="155" y="360"/>
                  </a:lnTo>
                  <a:lnTo>
                    <a:pt x="153" y="353"/>
                  </a:lnTo>
                  <a:lnTo>
                    <a:pt x="135" y="353"/>
                  </a:lnTo>
                  <a:lnTo>
                    <a:pt x="122" y="341"/>
                  </a:lnTo>
                  <a:lnTo>
                    <a:pt x="118" y="335"/>
                  </a:lnTo>
                  <a:lnTo>
                    <a:pt x="104" y="341"/>
                  </a:lnTo>
                  <a:lnTo>
                    <a:pt x="91" y="338"/>
                  </a:lnTo>
                  <a:lnTo>
                    <a:pt x="85" y="335"/>
                  </a:lnTo>
                  <a:lnTo>
                    <a:pt x="87" y="323"/>
                  </a:lnTo>
                  <a:lnTo>
                    <a:pt x="67" y="310"/>
                  </a:lnTo>
                  <a:lnTo>
                    <a:pt x="71" y="301"/>
                  </a:lnTo>
                  <a:lnTo>
                    <a:pt x="77" y="296"/>
                  </a:lnTo>
                  <a:lnTo>
                    <a:pt x="57" y="283"/>
                  </a:lnTo>
                  <a:lnTo>
                    <a:pt x="6" y="265"/>
                  </a:lnTo>
                  <a:lnTo>
                    <a:pt x="14" y="247"/>
                  </a:lnTo>
                  <a:lnTo>
                    <a:pt x="30" y="247"/>
                  </a:lnTo>
                  <a:lnTo>
                    <a:pt x="37" y="259"/>
                  </a:lnTo>
                  <a:lnTo>
                    <a:pt x="34" y="241"/>
                  </a:lnTo>
                  <a:lnTo>
                    <a:pt x="44" y="226"/>
                  </a:lnTo>
                  <a:lnTo>
                    <a:pt x="51" y="210"/>
                  </a:lnTo>
                  <a:lnTo>
                    <a:pt x="34" y="198"/>
                  </a:lnTo>
                  <a:lnTo>
                    <a:pt x="20" y="186"/>
                  </a:lnTo>
                  <a:lnTo>
                    <a:pt x="20" y="174"/>
                  </a:lnTo>
                  <a:lnTo>
                    <a:pt x="6" y="174"/>
                  </a:lnTo>
                  <a:lnTo>
                    <a:pt x="0" y="171"/>
                  </a:lnTo>
                  <a:lnTo>
                    <a:pt x="4" y="143"/>
                  </a:lnTo>
                  <a:lnTo>
                    <a:pt x="27" y="103"/>
                  </a:lnTo>
                  <a:lnTo>
                    <a:pt x="30" y="103"/>
                  </a:lnTo>
                  <a:lnTo>
                    <a:pt x="51" y="103"/>
                  </a:lnTo>
                  <a:lnTo>
                    <a:pt x="67" y="110"/>
                  </a:lnTo>
                  <a:lnTo>
                    <a:pt x="77" y="110"/>
                  </a:lnTo>
                  <a:lnTo>
                    <a:pt x="77" y="98"/>
                  </a:lnTo>
                  <a:lnTo>
                    <a:pt x="97" y="94"/>
                  </a:lnTo>
                  <a:lnTo>
                    <a:pt x="135" y="94"/>
                  </a:lnTo>
                  <a:lnTo>
                    <a:pt x="163" y="91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40" name="Text Box 18"/>
            <p:cNvSpPr txBox="1">
              <a:spLocks noChangeAspect="1"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1814513" y="5395912"/>
              <a:ext cx="236537" cy="55562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90000"/>
                </a:lnSpc>
              </a:pPr>
              <a:endParaRPr lang="de-DE" sz="500" b="1" i="1">
                <a:solidFill>
                  <a:srgbClr val="004240"/>
                </a:solidFill>
              </a:endParaRPr>
            </a:p>
          </p:txBody>
        </p:sp>
        <p:sp>
          <p:nvSpPr>
            <p:cNvPr id="4141" name="Freeform 19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gray">
            <a:xfrm>
              <a:off x="1462088" y="5337175"/>
              <a:ext cx="280987" cy="155575"/>
            </a:xfrm>
            <a:custGeom>
              <a:avLst/>
              <a:gdLst>
                <a:gd name="T0" fmla="*/ 2147483647 w 308"/>
                <a:gd name="T1" fmla="*/ 2147483647 h 182"/>
                <a:gd name="T2" fmla="*/ 2147483647 w 308"/>
                <a:gd name="T3" fmla="*/ 2147483647 h 182"/>
                <a:gd name="T4" fmla="*/ 2147483647 w 308"/>
                <a:gd name="T5" fmla="*/ 2147483647 h 182"/>
                <a:gd name="T6" fmla="*/ 2147483647 w 308"/>
                <a:gd name="T7" fmla="*/ 2147483647 h 182"/>
                <a:gd name="T8" fmla="*/ 2147483647 w 308"/>
                <a:gd name="T9" fmla="*/ 0 h 182"/>
                <a:gd name="T10" fmla="*/ 2147483647 w 308"/>
                <a:gd name="T11" fmla="*/ 2147483647 h 182"/>
                <a:gd name="T12" fmla="*/ 2147483647 w 308"/>
                <a:gd name="T13" fmla="*/ 2147483647 h 182"/>
                <a:gd name="T14" fmla="*/ 2147483647 w 308"/>
                <a:gd name="T15" fmla="*/ 2147483647 h 182"/>
                <a:gd name="T16" fmla="*/ 2147483647 w 308"/>
                <a:gd name="T17" fmla="*/ 2147483647 h 182"/>
                <a:gd name="T18" fmla="*/ 2147483647 w 308"/>
                <a:gd name="T19" fmla="*/ 2147483647 h 182"/>
                <a:gd name="T20" fmla="*/ 2147483647 w 308"/>
                <a:gd name="T21" fmla="*/ 2147483647 h 182"/>
                <a:gd name="T22" fmla="*/ 2147483647 w 308"/>
                <a:gd name="T23" fmla="*/ 2147483647 h 182"/>
                <a:gd name="T24" fmla="*/ 2147483647 w 308"/>
                <a:gd name="T25" fmla="*/ 2147483647 h 182"/>
                <a:gd name="T26" fmla="*/ 2147483647 w 308"/>
                <a:gd name="T27" fmla="*/ 2147483647 h 182"/>
                <a:gd name="T28" fmla="*/ 2147483647 w 308"/>
                <a:gd name="T29" fmla="*/ 2147483647 h 182"/>
                <a:gd name="T30" fmla="*/ 2147483647 w 308"/>
                <a:gd name="T31" fmla="*/ 2147483647 h 182"/>
                <a:gd name="T32" fmla="*/ 0 w 308"/>
                <a:gd name="T33" fmla="*/ 2147483647 h 182"/>
                <a:gd name="T34" fmla="*/ 2147483647 w 308"/>
                <a:gd name="T35" fmla="*/ 2147483647 h 182"/>
                <a:gd name="T36" fmla="*/ 2147483647 w 308"/>
                <a:gd name="T37" fmla="*/ 2147483647 h 182"/>
                <a:gd name="T38" fmla="*/ 2147483647 w 308"/>
                <a:gd name="T39" fmla="*/ 2147483647 h 182"/>
                <a:gd name="T40" fmla="*/ 2147483647 w 308"/>
                <a:gd name="T41" fmla="*/ 2147483647 h 182"/>
                <a:gd name="T42" fmla="*/ 2147483647 w 308"/>
                <a:gd name="T43" fmla="*/ 2147483647 h 182"/>
                <a:gd name="T44" fmla="*/ 2147483647 w 308"/>
                <a:gd name="T45" fmla="*/ 2147483647 h 182"/>
                <a:gd name="T46" fmla="*/ 2147483647 w 308"/>
                <a:gd name="T47" fmla="*/ 2147483647 h 182"/>
                <a:gd name="T48" fmla="*/ 2147483647 w 308"/>
                <a:gd name="T49" fmla="*/ 2147483647 h 182"/>
                <a:gd name="T50" fmla="*/ 2147483647 w 308"/>
                <a:gd name="T51" fmla="*/ 2147483647 h 182"/>
                <a:gd name="T52" fmla="*/ 2147483647 w 308"/>
                <a:gd name="T53" fmla="*/ 2147483647 h 182"/>
                <a:gd name="T54" fmla="*/ 2147483647 w 308"/>
                <a:gd name="T55" fmla="*/ 2147483647 h 182"/>
                <a:gd name="T56" fmla="*/ 2147483647 w 308"/>
                <a:gd name="T57" fmla="*/ 2147483647 h 182"/>
                <a:gd name="T58" fmla="*/ 2147483647 w 308"/>
                <a:gd name="T59" fmla="*/ 2147483647 h 182"/>
                <a:gd name="T60" fmla="*/ 2147483647 w 308"/>
                <a:gd name="T61" fmla="*/ 2147483647 h 182"/>
                <a:gd name="T62" fmla="*/ 2147483647 w 308"/>
                <a:gd name="T63" fmla="*/ 2147483647 h 182"/>
                <a:gd name="T64" fmla="*/ 2147483647 w 308"/>
                <a:gd name="T65" fmla="*/ 2147483647 h 182"/>
                <a:gd name="T66" fmla="*/ 2147483647 w 308"/>
                <a:gd name="T67" fmla="*/ 2147483647 h 182"/>
                <a:gd name="T68" fmla="*/ 2147483647 w 308"/>
                <a:gd name="T69" fmla="*/ 2147483647 h 182"/>
                <a:gd name="T70" fmla="*/ 2147483647 w 308"/>
                <a:gd name="T71" fmla="*/ 2147483647 h 182"/>
                <a:gd name="T72" fmla="*/ 2147483647 w 308"/>
                <a:gd name="T73" fmla="*/ 2147483647 h 182"/>
                <a:gd name="T74" fmla="*/ 2147483647 w 308"/>
                <a:gd name="T75" fmla="*/ 2147483647 h 182"/>
                <a:gd name="T76" fmla="*/ 2147483647 w 308"/>
                <a:gd name="T77" fmla="*/ 2147483647 h 182"/>
                <a:gd name="T78" fmla="*/ 2147483647 w 308"/>
                <a:gd name="T79" fmla="*/ 2147483647 h 182"/>
                <a:gd name="T80" fmla="*/ 2147483647 w 308"/>
                <a:gd name="T81" fmla="*/ 2147483647 h 182"/>
                <a:gd name="T82" fmla="*/ 2147483647 w 308"/>
                <a:gd name="T83" fmla="*/ 2147483647 h 182"/>
                <a:gd name="T84" fmla="*/ 2147483647 w 308"/>
                <a:gd name="T85" fmla="*/ 2147483647 h 182"/>
                <a:gd name="T86" fmla="*/ 2147483647 w 308"/>
                <a:gd name="T87" fmla="*/ 2147483647 h 182"/>
                <a:gd name="T88" fmla="*/ 2147483647 w 308"/>
                <a:gd name="T89" fmla="*/ 2147483647 h 182"/>
                <a:gd name="T90" fmla="*/ 2147483647 w 308"/>
                <a:gd name="T91" fmla="*/ 2147483647 h 182"/>
                <a:gd name="T92" fmla="*/ 2147483647 w 308"/>
                <a:gd name="T93" fmla="*/ 2147483647 h 182"/>
                <a:gd name="T94" fmla="*/ 2147483647 w 308"/>
                <a:gd name="T95" fmla="*/ 2147483647 h 182"/>
                <a:gd name="T96" fmla="*/ 2147483647 w 308"/>
                <a:gd name="T97" fmla="*/ 2147483647 h 182"/>
                <a:gd name="T98" fmla="*/ 2147483647 w 308"/>
                <a:gd name="T99" fmla="*/ 2147483647 h 182"/>
                <a:gd name="T100" fmla="*/ 2147483647 w 308"/>
                <a:gd name="T101" fmla="*/ 2147483647 h 182"/>
                <a:gd name="T102" fmla="*/ 2147483647 w 308"/>
                <a:gd name="T103" fmla="*/ 2147483647 h 182"/>
                <a:gd name="T104" fmla="*/ 2147483647 w 308"/>
                <a:gd name="T105" fmla="*/ 2147483647 h 182"/>
                <a:gd name="T106" fmla="*/ 2147483647 w 308"/>
                <a:gd name="T107" fmla="*/ 2147483647 h 182"/>
                <a:gd name="T108" fmla="*/ 2147483647 w 308"/>
                <a:gd name="T109" fmla="*/ 2147483647 h 182"/>
                <a:gd name="T110" fmla="*/ 2147483647 w 308"/>
                <a:gd name="T111" fmla="*/ 2147483647 h 182"/>
                <a:gd name="T112" fmla="*/ 2147483647 w 308"/>
                <a:gd name="T113" fmla="*/ 2147483647 h 182"/>
                <a:gd name="T114" fmla="*/ 2147483647 w 308"/>
                <a:gd name="T115" fmla="*/ 2147483647 h 182"/>
                <a:gd name="T116" fmla="*/ 2147483647 w 308"/>
                <a:gd name="T117" fmla="*/ 2147483647 h 182"/>
                <a:gd name="T118" fmla="*/ 2147483647 w 308"/>
                <a:gd name="T119" fmla="*/ 2147483647 h 1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08"/>
                <a:gd name="T181" fmla="*/ 0 h 182"/>
                <a:gd name="T182" fmla="*/ 308 w 308"/>
                <a:gd name="T183" fmla="*/ 182 h 18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08" h="182">
                  <a:moveTo>
                    <a:pt x="161" y="35"/>
                  </a:moveTo>
                  <a:lnTo>
                    <a:pt x="146" y="23"/>
                  </a:lnTo>
                  <a:lnTo>
                    <a:pt x="148" y="18"/>
                  </a:lnTo>
                  <a:lnTo>
                    <a:pt x="138" y="10"/>
                  </a:lnTo>
                  <a:lnTo>
                    <a:pt x="130" y="0"/>
                  </a:lnTo>
                  <a:lnTo>
                    <a:pt x="121" y="10"/>
                  </a:lnTo>
                  <a:lnTo>
                    <a:pt x="115" y="7"/>
                  </a:lnTo>
                  <a:lnTo>
                    <a:pt x="103" y="16"/>
                  </a:lnTo>
                  <a:lnTo>
                    <a:pt x="103" y="21"/>
                  </a:lnTo>
                  <a:lnTo>
                    <a:pt x="90" y="26"/>
                  </a:lnTo>
                  <a:lnTo>
                    <a:pt x="56" y="51"/>
                  </a:lnTo>
                  <a:lnTo>
                    <a:pt x="47" y="61"/>
                  </a:lnTo>
                  <a:lnTo>
                    <a:pt x="47" y="73"/>
                  </a:lnTo>
                  <a:lnTo>
                    <a:pt x="34" y="77"/>
                  </a:lnTo>
                  <a:lnTo>
                    <a:pt x="9" y="101"/>
                  </a:lnTo>
                  <a:lnTo>
                    <a:pt x="9" y="110"/>
                  </a:lnTo>
                  <a:lnTo>
                    <a:pt x="0" y="120"/>
                  </a:lnTo>
                  <a:lnTo>
                    <a:pt x="4" y="132"/>
                  </a:lnTo>
                  <a:lnTo>
                    <a:pt x="16" y="126"/>
                  </a:lnTo>
                  <a:lnTo>
                    <a:pt x="27" y="114"/>
                  </a:lnTo>
                  <a:lnTo>
                    <a:pt x="44" y="112"/>
                  </a:lnTo>
                  <a:lnTo>
                    <a:pt x="56" y="114"/>
                  </a:lnTo>
                  <a:lnTo>
                    <a:pt x="60" y="132"/>
                  </a:lnTo>
                  <a:lnTo>
                    <a:pt x="58" y="144"/>
                  </a:lnTo>
                  <a:lnTo>
                    <a:pt x="65" y="153"/>
                  </a:lnTo>
                  <a:lnTo>
                    <a:pt x="74" y="159"/>
                  </a:lnTo>
                  <a:lnTo>
                    <a:pt x="94" y="160"/>
                  </a:lnTo>
                  <a:lnTo>
                    <a:pt x="136" y="165"/>
                  </a:lnTo>
                  <a:lnTo>
                    <a:pt x="146" y="160"/>
                  </a:lnTo>
                  <a:lnTo>
                    <a:pt x="152" y="153"/>
                  </a:lnTo>
                  <a:lnTo>
                    <a:pt x="156" y="137"/>
                  </a:lnTo>
                  <a:lnTo>
                    <a:pt x="172" y="136"/>
                  </a:lnTo>
                  <a:lnTo>
                    <a:pt x="177" y="146"/>
                  </a:lnTo>
                  <a:lnTo>
                    <a:pt x="177" y="170"/>
                  </a:lnTo>
                  <a:lnTo>
                    <a:pt x="196" y="182"/>
                  </a:lnTo>
                  <a:lnTo>
                    <a:pt x="211" y="161"/>
                  </a:lnTo>
                  <a:lnTo>
                    <a:pt x="226" y="155"/>
                  </a:lnTo>
                  <a:lnTo>
                    <a:pt x="244" y="157"/>
                  </a:lnTo>
                  <a:lnTo>
                    <a:pt x="257" y="163"/>
                  </a:lnTo>
                  <a:lnTo>
                    <a:pt x="263" y="169"/>
                  </a:lnTo>
                  <a:lnTo>
                    <a:pt x="267" y="151"/>
                  </a:lnTo>
                  <a:lnTo>
                    <a:pt x="277" y="130"/>
                  </a:lnTo>
                  <a:lnTo>
                    <a:pt x="301" y="127"/>
                  </a:lnTo>
                  <a:lnTo>
                    <a:pt x="308" y="114"/>
                  </a:lnTo>
                  <a:lnTo>
                    <a:pt x="301" y="102"/>
                  </a:lnTo>
                  <a:lnTo>
                    <a:pt x="283" y="96"/>
                  </a:lnTo>
                  <a:lnTo>
                    <a:pt x="265" y="94"/>
                  </a:lnTo>
                  <a:lnTo>
                    <a:pt x="260" y="81"/>
                  </a:lnTo>
                  <a:lnTo>
                    <a:pt x="264" y="71"/>
                  </a:lnTo>
                  <a:lnTo>
                    <a:pt x="259" y="55"/>
                  </a:lnTo>
                  <a:lnTo>
                    <a:pt x="242" y="47"/>
                  </a:lnTo>
                  <a:lnTo>
                    <a:pt x="233" y="51"/>
                  </a:lnTo>
                  <a:lnTo>
                    <a:pt x="217" y="40"/>
                  </a:lnTo>
                  <a:lnTo>
                    <a:pt x="215" y="33"/>
                  </a:lnTo>
                  <a:lnTo>
                    <a:pt x="209" y="24"/>
                  </a:lnTo>
                  <a:lnTo>
                    <a:pt x="209" y="21"/>
                  </a:lnTo>
                  <a:lnTo>
                    <a:pt x="192" y="16"/>
                  </a:lnTo>
                  <a:lnTo>
                    <a:pt x="186" y="23"/>
                  </a:lnTo>
                  <a:lnTo>
                    <a:pt x="175" y="30"/>
                  </a:lnTo>
                  <a:lnTo>
                    <a:pt x="161" y="35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42" name="Freeform 20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 bwMode="gray">
            <a:xfrm>
              <a:off x="2273300" y="4489450"/>
              <a:ext cx="26988" cy="20638"/>
            </a:xfrm>
            <a:custGeom>
              <a:avLst/>
              <a:gdLst>
                <a:gd name="T0" fmla="*/ 2147483647 w 29"/>
                <a:gd name="T1" fmla="*/ 0 h 26"/>
                <a:gd name="T2" fmla="*/ 2147483647 w 29"/>
                <a:gd name="T3" fmla="*/ 2147483647 h 26"/>
                <a:gd name="T4" fmla="*/ 0 w 29"/>
                <a:gd name="T5" fmla="*/ 2147483647 h 26"/>
                <a:gd name="T6" fmla="*/ 2147483647 w 29"/>
                <a:gd name="T7" fmla="*/ 2147483647 h 26"/>
                <a:gd name="T8" fmla="*/ 2147483647 w 29"/>
                <a:gd name="T9" fmla="*/ 2147483647 h 26"/>
                <a:gd name="T10" fmla="*/ 2147483647 w 29"/>
                <a:gd name="T11" fmla="*/ 2147483647 h 26"/>
                <a:gd name="T12" fmla="*/ 2147483647 w 29"/>
                <a:gd name="T13" fmla="*/ 0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"/>
                <a:gd name="T22" fmla="*/ 0 h 26"/>
                <a:gd name="T23" fmla="*/ 29 w 29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" h="26">
                  <a:moveTo>
                    <a:pt x="25" y="0"/>
                  </a:moveTo>
                  <a:lnTo>
                    <a:pt x="14" y="6"/>
                  </a:lnTo>
                  <a:lnTo>
                    <a:pt x="0" y="17"/>
                  </a:lnTo>
                  <a:lnTo>
                    <a:pt x="2" y="26"/>
                  </a:lnTo>
                  <a:lnTo>
                    <a:pt x="10" y="26"/>
                  </a:lnTo>
                  <a:lnTo>
                    <a:pt x="29" y="13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43" name="Freeform 21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gray">
            <a:xfrm>
              <a:off x="2016125" y="4586287"/>
              <a:ext cx="57150" cy="79375"/>
            </a:xfrm>
            <a:custGeom>
              <a:avLst/>
              <a:gdLst>
                <a:gd name="T0" fmla="*/ 2147483647 w 60"/>
                <a:gd name="T1" fmla="*/ 0 h 97"/>
                <a:gd name="T2" fmla="*/ 2147483647 w 60"/>
                <a:gd name="T3" fmla="*/ 2147483647 h 97"/>
                <a:gd name="T4" fmla="*/ 2147483647 w 60"/>
                <a:gd name="T5" fmla="*/ 2147483647 h 97"/>
                <a:gd name="T6" fmla="*/ 2147483647 w 60"/>
                <a:gd name="T7" fmla="*/ 2147483647 h 97"/>
                <a:gd name="T8" fmla="*/ 2147483647 w 60"/>
                <a:gd name="T9" fmla="*/ 2147483647 h 97"/>
                <a:gd name="T10" fmla="*/ 2147483647 w 60"/>
                <a:gd name="T11" fmla="*/ 2147483647 h 97"/>
                <a:gd name="T12" fmla="*/ 2147483647 w 60"/>
                <a:gd name="T13" fmla="*/ 2147483647 h 97"/>
                <a:gd name="T14" fmla="*/ 0 w 60"/>
                <a:gd name="T15" fmla="*/ 2147483647 h 97"/>
                <a:gd name="T16" fmla="*/ 2147483647 w 60"/>
                <a:gd name="T17" fmla="*/ 2147483647 h 97"/>
                <a:gd name="T18" fmla="*/ 2147483647 w 60"/>
                <a:gd name="T19" fmla="*/ 2147483647 h 97"/>
                <a:gd name="T20" fmla="*/ 2147483647 w 60"/>
                <a:gd name="T21" fmla="*/ 2147483647 h 97"/>
                <a:gd name="T22" fmla="*/ 2147483647 w 60"/>
                <a:gd name="T23" fmla="*/ 2147483647 h 97"/>
                <a:gd name="T24" fmla="*/ 2147483647 w 60"/>
                <a:gd name="T25" fmla="*/ 2147483647 h 97"/>
                <a:gd name="T26" fmla="*/ 2147483647 w 60"/>
                <a:gd name="T27" fmla="*/ 2147483647 h 97"/>
                <a:gd name="T28" fmla="*/ 2147483647 w 60"/>
                <a:gd name="T29" fmla="*/ 2147483647 h 97"/>
                <a:gd name="T30" fmla="*/ 2147483647 w 60"/>
                <a:gd name="T31" fmla="*/ 0 h 9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0"/>
                <a:gd name="T49" fmla="*/ 0 h 97"/>
                <a:gd name="T50" fmla="*/ 60 w 60"/>
                <a:gd name="T51" fmla="*/ 97 h 9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0" h="97">
                  <a:moveTo>
                    <a:pt x="53" y="0"/>
                  </a:moveTo>
                  <a:lnTo>
                    <a:pt x="53" y="17"/>
                  </a:lnTo>
                  <a:lnTo>
                    <a:pt x="60" y="32"/>
                  </a:lnTo>
                  <a:lnTo>
                    <a:pt x="53" y="49"/>
                  </a:lnTo>
                  <a:lnTo>
                    <a:pt x="43" y="63"/>
                  </a:lnTo>
                  <a:lnTo>
                    <a:pt x="24" y="80"/>
                  </a:lnTo>
                  <a:lnTo>
                    <a:pt x="9" y="97"/>
                  </a:lnTo>
                  <a:lnTo>
                    <a:pt x="0" y="80"/>
                  </a:lnTo>
                  <a:lnTo>
                    <a:pt x="6" y="73"/>
                  </a:lnTo>
                  <a:lnTo>
                    <a:pt x="24" y="54"/>
                  </a:lnTo>
                  <a:lnTo>
                    <a:pt x="23" y="43"/>
                  </a:lnTo>
                  <a:lnTo>
                    <a:pt x="32" y="28"/>
                  </a:lnTo>
                  <a:lnTo>
                    <a:pt x="54" y="9"/>
                  </a:lnTo>
                  <a:lnTo>
                    <a:pt x="54" y="15"/>
                  </a:lnTo>
                  <a:lnTo>
                    <a:pt x="58" y="24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44" name="Freeform 22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 bwMode="gray">
            <a:xfrm>
              <a:off x="2016125" y="4586287"/>
              <a:ext cx="57150" cy="79375"/>
            </a:xfrm>
            <a:custGeom>
              <a:avLst/>
              <a:gdLst>
                <a:gd name="T0" fmla="*/ 2147483647 w 60"/>
                <a:gd name="T1" fmla="*/ 0 h 97"/>
                <a:gd name="T2" fmla="*/ 2147483647 w 60"/>
                <a:gd name="T3" fmla="*/ 2147483647 h 97"/>
                <a:gd name="T4" fmla="*/ 2147483647 w 60"/>
                <a:gd name="T5" fmla="*/ 2147483647 h 97"/>
                <a:gd name="T6" fmla="*/ 2147483647 w 60"/>
                <a:gd name="T7" fmla="*/ 2147483647 h 97"/>
                <a:gd name="T8" fmla="*/ 2147483647 w 60"/>
                <a:gd name="T9" fmla="*/ 2147483647 h 97"/>
                <a:gd name="T10" fmla="*/ 2147483647 w 60"/>
                <a:gd name="T11" fmla="*/ 2147483647 h 97"/>
                <a:gd name="T12" fmla="*/ 2147483647 w 60"/>
                <a:gd name="T13" fmla="*/ 2147483647 h 97"/>
                <a:gd name="T14" fmla="*/ 0 w 60"/>
                <a:gd name="T15" fmla="*/ 2147483647 h 97"/>
                <a:gd name="T16" fmla="*/ 2147483647 w 60"/>
                <a:gd name="T17" fmla="*/ 2147483647 h 97"/>
                <a:gd name="T18" fmla="*/ 2147483647 w 60"/>
                <a:gd name="T19" fmla="*/ 2147483647 h 97"/>
                <a:gd name="T20" fmla="*/ 2147483647 w 60"/>
                <a:gd name="T21" fmla="*/ 2147483647 h 97"/>
                <a:gd name="T22" fmla="*/ 2147483647 w 60"/>
                <a:gd name="T23" fmla="*/ 2147483647 h 97"/>
                <a:gd name="T24" fmla="*/ 2147483647 w 60"/>
                <a:gd name="T25" fmla="*/ 2147483647 h 97"/>
                <a:gd name="T26" fmla="*/ 2147483647 w 60"/>
                <a:gd name="T27" fmla="*/ 2147483647 h 97"/>
                <a:gd name="T28" fmla="*/ 2147483647 w 60"/>
                <a:gd name="T29" fmla="*/ 2147483647 h 9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0"/>
                <a:gd name="T46" fmla="*/ 0 h 97"/>
                <a:gd name="T47" fmla="*/ 60 w 60"/>
                <a:gd name="T48" fmla="*/ 97 h 9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0" h="97">
                  <a:moveTo>
                    <a:pt x="53" y="0"/>
                  </a:moveTo>
                  <a:lnTo>
                    <a:pt x="53" y="17"/>
                  </a:lnTo>
                  <a:lnTo>
                    <a:pt x="60" y="32"/>
                  </a:lnTo>
                  <a:lnTo>
                    <a:pt x="53" y="49"/>
                  </a:lnTo>
                  <a:lnTo>
                    <a:pt x="43" y="63"/>
                  </a:lnTo>
                  <a:lnTo>
                    <a:pt x="24" y="80"/>
                  </a:lnTo>
                  <a:lnTo>
                    <a:pt x="9" y="97"/>
                  </a:lnTo>
                  <a:lnTo>
                    <a:pt x="0" y="80"/>
                  </a:lnTo>
                  <a:lnTo>
                    <a:pt x="6" y="73"/>
                  </a:lnTo>
                  <a:lnTo>
                    <a:pt x="24" y="54"/>
                  </a:lnTo>
                  <a:lnTo>
                    <a:pt x="23" y="43"/>
                  </a:lnTo>
                  <a:lnTo>
                    <a:pt x="32" y="28"/>
                  </a:lnTo>
                  <a:lnTo>
                    <a:pt x="54" y="9"/>
                  </a:lnTo>
                  <a:lnTo>
                    <a:pt x="54" y="15"/>
                  </a:lnTo>
                  <a:lnTo>
                    <a:pt x="58" y="24"/>
                  </a:lnTo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45" name="Freeform 23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gray">
            <a:xfrm>
              <a:off x="1952625" y="4552950"/>
              <a:ext cx="73025" cy="61913"/>
            </a:xfrm>
            <a:custGeom>
              <a:avLst/>
              <a:gdLst>
                <a:gd name="T0" fmla="*/ 2147483647 w 76"/>
                <a:gd name="T1" fmla="*/ 0 h 78"/>
                <a:gd name="T2" fmla="*/ 2147483647 w 76"/>
                <a:gd name="T3" fmla="*/ 2147483647 h 78"/>
                <a:gd name="T4" fmla="*/ 2147483647 w 76"/>
                <a:gd name="T5" fmla="*/ 2147483647 h 78"/>
                <a:gd name="T6" fmla="*/ 2147483647 w 76"/>
                <a:gd name="T7" fmla="*/ 2147483647 h 78"/>
                <a:gd name="T8" fmla="*/ 2147483647 w 76"/>
                <a:gd name="T9" fmla="*/ 2147483647 h 78"/>
                <a:gd name="T10" fmla="*/ 2147483647 w 76"/>
                <a:gd name="T11" fmla="*/ 2147483647 h 78"/>
                <a:gd name="T12" fmla="*/ 2147483647 w 76"/>
                <a:gd name="T13" fmla="*/ 2147483647 h 78"/>
                <a:gd name="T14" fmla="*/ 2147483647 w 76"/>
                <a:gd name="T15" fmla="*/ 2147483647 h 78"/>
                <a:gd name="T16" fmla="*/ 2147483647 w 76"/>
                <a:gd name="T17" fmla="*/ 2147483647 h 78"/>
                <a:gd name="T18" fmla="*/ 2147483647 w 76"/>
                <a:gd name="T19" fmla="*/ 2147483647 h 78"/>
                <a:gd name="T20" fmla="*/ 2147483647 w 76"/>
                <a:gd name="T21" fmla="*/ 2147483647 h 78"/>
                <a:gd name="T22" fmla="*/ 2147483647 w 76"/>
                <a:gd name="T23" fmla="*/ 2147483647 h 78"/>
                <a:gd name="T24" fmla="*/ 2147483647 w 76"/>
                <a:gd name="T25" fmla="*/ 2147483647 h 78"/>
                <a:gd name="T26" fmla="*/ 0 w 76"/>
                <a:gd name="T27" fmla="*/ 2147483647 h 78"/>
                <a:gd name="T28" fmla="*/ 2147483647 w 76"/>
                <a:gd name="T29" fmla="*/ 2147483647 h 78"/>
                <a:gd name="T30" fmla="*/ 2147483647 w 76"/>
                <a:gd name="T31" fmla="*/ 2147483647 h 78"/>
                <a:gd name="T32" fmla="*/ 2147483647 w 76"/>
                <a:gd name="T33" fmla="*/ 2147483647 h 78"/>
                <a:gd name="T34" fmla="*/ 2147483647 w 76"/>
                <a:gd name="T35" fmla="*/ 2147483647 h 78"/>
                <a:gd name="T36" fmla="*/ 2147483647 w 76"/>
                <a:gd name="T37" fmla="*/ 2147483647 h 78"/>
                <a:gd name="T38" fmla="*/ 2147483647 w 76"/>
                <a:gd name="T39" fmla="*/ 2147483647 h 78"/>
                <a:gd name="T40" fmla="*/ 2147483647 w 76"/>
                <a:gd name="T41" fmla="*/ 2147483647 h 78"/>
                <a:gd name="T42" fmla="*/ 2147483647 w 76"/>
                <a:gd name="T43" fmla="*/ 2147483647 h 78"/>
                <a:gd name="T44" fmla="*/ 2147483647 w 76"/>
                <a:gd name="T45" fmla="*/ 2147483647 h 78"/>
                <a:gd name="T46" fmla="*/ 2147483647 w 76"/>
                <a:gd name="T47" fmla="*/ 2147483647 h 78"/>
                <a:gd name="T48" fmla="*/ 2147483647 w 76"/>
                <a:gd name="T49" fmla="*/ 2147483647 h 78"/>
                <a:gd name="T50" fmla="*/ 2147483647 w 76"/>
                <a:gd name="T51" fmla="*/ 0 h 7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6"/>
                <a:gd name="T79" fmla="*/ 0 h 78"/>
                <a:gd name="T80" fmla="*/ 76 w 76"/>
                <a:gd name="T81" fmla="*/ 78 h 7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6" h="78">
                  <a:moveTo>
                    <a:pt x="59" y="0"/>
                  </a:moveTo>
                  <a:lnTo>
                    <a:pt x="50" y="11"/>
                  </a:lnTo>
                  <a:lnTo>
                    <a:pt x="35" y="9"/>
                  </a:lnTo>
                  <a:lnTo>
                    <a:pt x="26" y="7"/>
                  </a:lnTo>
                  <a:lnTo>
                    <a:pt x="30" y="20"/>
                  </a:lnTo>
                  <a:lnTo>
                    <a:pt x="32" y="30"/>
                  </a:lnTo>
                  <a:lnTo>
                    <a:pt x="33" y="37"/>
                  </a:lnTo>
                  <a:lnTo>
                    <a:pt x="28" y="39"/>
                  </a:lnTo>
                  <a:lnTo>
                    <a:pt x="19" y="35"/>
                  </a:lnTo>
                  <a:lnTo>
                    <a:pt x="19" y="30"/>
                  </a:lnTo>
                  <a:lnTo>
                    <a:pt x="11" y="30"/>
                  </a:lnTo>
                  <a:lnTo>
                    <a:pt x="13" y="39"/>
                  </a:lnTo>
                  <a:lnTo>
                    <a:pt x="9" y="48"/>
                  </a:lnTo>
                  <a:lnTo>
                    <a:pt x="0" y="61"/>
                  </a:lnTo>
                  <a:lnTo>
                    <a:pt x="4" y="72"/>
                  </a:lnTo>
                  <a:lnTo>
                    <a:pt x="13" y="78"/>
                  </a:lnTo>
                  <a:lnTo>
                    <a:pt x="22" y="72"/>
                  </a:lnTo>
                  <a:lnTo>
                    <a:pt x="33" y="65"/>
                  </a:lnTo>
                  <a:lnTo>
                    <a:pt x="54" y="59"/>
                  </a:lnTo>
                  <a:lnTo>
                    <a:pt x="63" y="61"/>
                  </a:lnTo>
                  <a:lnTo>
                    <a:pt x="59" y="48"/>
                  </a:lnTo>
                  <a:lnTo>
                    <a:pt x="67" y="41"/>
                  </a:lnTo>
                  <a:lnTo>
                    <a:pt x="76" y="28"/>
                  </a:lnTo>
                  <a:lnTo>
                    <a:pt x="72" y="20"/>
                  </a:lnTo>
                  <a:lnTo>
                    <a:pt x="65" y="11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46" name="Freeform 24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 bwMode="gray">
            <a:xfrm>
              <a:off x="1652588" y="4037012"/>
              <a:ext cx="485775" cy="587375"/>
            </a:xfrm>
            <a:custGeom>
              <a:avLst/>
              <a:gdLst>
                <a:gd name="T0" fmla="*/ 2147483647 w 533"/>
                <a:gd name="T1" fmla="*/ 2147483647 h 684"/>
                <a:gd name="T2" fmla="*/ 2147483647 w 533"/>
                <a:gd name="T3" fmla="*/ 2147483647 h 684"/>
                <a:gd name="T4" fmla="*/ 2147483647 w 533"/>
                <a:gd name="T5" fmla="*/ 2147483647 h 684"/>
                <a:gd name="T6" fmla="*/ 2147483647 w 533"/>
                <a:gd name="T7" fmla="*/ 2147483647 h 684"/>
                <a:gd name="T8" fmla="*/ 2147483647 w 533"/>
                <a:gd name="T9" fmla="*/ 2147483647 h 684"/>
                <a:gd name="T10" fmla="*/ 2147483647 w 533"/>
                <a:gd name="T11" fmla="*/ 2147483647 h 684"/>
                <a:gd name="T12" fmla="*/ 2147483647 w 533"/>
                <a:gd name="T13" fmla="*/ 2147483647 h 684"/>
                <a:gd name="T14" fmla="*/ 2147483647 w 533"/>
                <a:gd name="T15" fmla="*/ 2147483647 h 684"/>
                <a:gd name="T16" fmla="*/ 2147483647 w 533"/>
                <a:gd name="T17" fmla="*/ 2147483647 h 684"/>
                <a:gd name="T18" fmla="*/ 2147483647 w 533"/>
                <a:gd name="T19" fmla="*/ 2147483647 h 684"/>
                <a:gd name="T20" fmla="*/ 2147483647 w 533"/>
                <a:gd name="T21" fmla="*/ 2147483647 h 684"/>
                <a:gd name="T22" fmla="*/ 2147483647 w 533"/>
                <a:gd name="T23" fmla="*/ 2147483647 h 684"/>
                <a:gd name="T24" fmla="*/ 2147483647 w 533"/>
                <a:gd name="T25" fmla="*/ 2147483647 h 684"/>
                <a:gd name="T26" fmla="*/ 2147483647 w 533"/>
                <a:gd name="T27" fmla="*/ 2147483647 h 684"/>
                <a:gd name="T28" fmla="*/ 2147483647 w 533"/>
                <a:gd name="T29" fmla="*/ 2147483647 h 684"/>
                <a:gd name="T30" fmla="*/ 2147483647 w 533"/>
                <a:gd name="T31" fmla="*/ 2147483647 h 684"/>
                <a:gd name="T32" fmla="*/ 2147483647 w 533"/>
                <a:gd name="T33" fmla="*/ 2147483647 h 684"/>
                <a:gd name="T34" fmla="*/ 2147483647 w 533"/>
                <a:gd name="T35" fmla="*/ 2147483647 h 684"/>
                <a:gd name="T36" fmla="*/ 2147483647 w 533"/>
                <a:gd name="T37" fmla="*/ 2147483647 h 684"/>
                <a:gd name="T38" fmla="*/ 2147483647 w 533"/>
                <a:gd name="T39" fmla="*/ 2147483647 h 684"/>
                <a:gd name="T40" fmla="*/ 2147483647 w 533"/>
                <a:gd name="T41" fmla="*/ 2147483647 h 684"/>
                <a:gd name="T42" fmla="*/ 2147483647 w 533"/>
                <a:gd name="T43" fmla="*/ 2147483647 h 684"/>
                <a:gd name="T44" fmla="*/ 2147483647 w 533"/>
                <a:gd name="T45" fmla="*/ 2147483647 h 684"/>
                <a:gd name="T46" fmla="*/ 2147483647 w 533"/>
                <a:gd name="T47" fmla="*/ 2147483647 h 684"/>
                <a:gd name="T48" fmla="*/ 2147483647 w 533"/>
                <a:gd name="T49" fmla="*/ 2147483647 h 684"/>
                <a:gd name="T50" fmla="*/ 2147483647 w 533"/>
                <a:gd name="T51" fmla="*/ 2147483647 h 684"/>
                <a:gd name="T52" fmla="*/ 2147483647 w 533"/>
                <a:gd name="T53" fmla="*/ 2147483647 h 684"/>
                <a:gd name="T54" fmla="*/ 2147483647 w 533"/>
                <a:gd name="T55" fmla="*/ 2147483647 h 684"/>
                <a:gd name="T56" fmla="*/ 2147483647 w 533"/>
                <a:gd name="T57" fmla="*/ 2147483647 h 684"/>
                <a:gd name="T58" fmla="*/ 2147483647 w 533"/>
                <a:gd name="T59" fmla="*/ 2147483647 h 684"/>
                <a:gd name="T60" fmla="*/ 2147483647 w 533"/>
                <a:gd name="T61" fmla="*/ 2147483647 h 684"/>
                <a:gd name="T62" fmla="*/ 2147483647 w 533"/>
                <a:gd name="T63" fmla="*/ 2147483647 h 684"/>
                <a:gd name="T64" fmla="*/ 2147483647 w 533"/>
                <a:gd name="T65" fmla="*/ 2147483647 h 684"/>
                <a:gd name="T66" fmla="*/ 2147483647 w 533"/>
                <a:gd name="T67" fmla="*/ 2147483647 h 684"/>
                <a:gd name="T68" fmla="*/ 2147483647 w 533"/>
                <a:gd name="T69" fmla="*/ 2147483647 h 684"/>
                <a:gd name="T70" fmla="*/ 2147483647 w 533"/>
                <a:gd name="T71" fmla="*/ 2147483647 h 684"/>
                <a:gd name="T72" fmla="*/ 2147483647 w 533"/>
                <a:gd name="T73" fmla="*/ 2147483647 h 684"/>
                <a:gd name="T74" fmla="*/ 2147483647 w 533"/>
                <a:gd name="T75" fmla="*/ 2147483647 h 684"/>
                <a:gd name="T76" fmla="*/ 2147483647 w 533"/>
                <a:gd name="T77" fmla="*/ 2147483647 h 684"/>
                <a:gd name="T78" fmla="*/ 2147483647 w 533"/>
                <a:gd name="T79" fmla="*/ 2147483647 h 684"/>
                <a:gd name="T80" fmla="*/ 2147483647 w 533"/>
                <a:gd name="T81" fmla="*/ 2147483647 h 684"/>
                <a:gd name="T82" fmla="*/ 0 w 533"/>
                <a:gd name="T83" fmla="*/ 2147483647 h 684"/>
                <a:gd name="T84" fmla="*/ 2147483647 w 533"/>
                <a:gd name="T85" fmla="*/ 2147483647 h 684"/>
                <a:gd name="T86" fmla="*/ 2147483647 w 533"/>
                <a:gd name="T87" fmla="*/ 2147483647 h 684"/>
                <a:gd name="T88" fmla="*/ 2147483647 w 533"/>
                <a:gd name="T89" fmla="*/ 2147483647 h 684"/>
                <a:gd name="T90" fmla="*/ 2147483647 w 533"/>
                <a:gd name="T91" fmla="*/ 2147483647 h 684"/>
                <a:gd name="T92" fmla="*/ 2147483647 w 533"/>
                <a:gd name="T93" fmla="*/ 2147483647 h 684"/>
                <a:gd name="T94" fmla="*/ 2147483647 w 533"/>
                <a:gd name="T95" fmla="*/ 2147483647 h 684"/>
                <a:gd name="T96" fmla="*/ 2147483647 w 533"/>
                <a:gd name="T97" fmla="*/ 2147483647 h 68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3"/>
                <a:gd name="T148" fmla="*/ 0 h 684"/>
                <a:gd name="T149" fmla="*/ 533 w 533"/>
                <a:gd name="T150" fmla="*/ 684 h 68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3" h="684">
                  <a:moveTo>
                    <a:pt x="285" y="623"/>
                  </a:moveTo>
                  <a:lnTo>
                    <a:pt x="289" y="621"/>
                  </a:lnTo>
                  <a:lnTo>
                    <a:pt x="300" y="617"/>
                  </a:lnTo>
                  <a:lnTo>
                    <a:pt x="308" y="607"/>
                  </a:lnTo>
                  <a:lnTo>
                    <a:pt x="312" y="593"/>
                  </a:lnTo>
                  <a:lnTo>
                    <a:pt x="315" y="586"/>
                  </a:lnTo>
                  <a:lnTo>
                    <a:pt x="312" y="564"/>
                  </a:lnTo>
                  <a:lnTo>
                    <a:pt x="315" y="550"/>
                  </a:lnTo>
                  <a:lnTo>
                    <a:pt x="327" y="544"/>
                  </a:lnTo>
                  <a:lnTo>
                    <a:pt x="354" y="533"/>
                  </a:lnTo>
                  <a:lnTo>
                    <a:pt x="359" y="523"/>
                  </a:lnTo>
                  <a:lnTo>
                    <a:pt x="354" y="487"/>
                  </a:lnTo>
                  <a:lnTo>
                    <a:pt x="351" y="480"/>
                  </a:lnTo>
                  <a:lnTo>
                    <a:pt x="351" y="460"/>
                  </a:lnTo>
                  <a:lnTo>
                    <a:pt x="343" y="453"/>
                  </a:lnTo>
                  <a:lnTo>
                    <a:pt x="347" y="435"/>
                  </a:lnTo>
                  <a:lnTo>
                    <a:pt x="354" y="435"/>
                  </a:lnTo>
                  <a:lnTo>
                    <a:pt x="374" y="425"/>
                  </a:lnTo>
                  <a:lnTo>
                    <a:pt x="359" y="393"/>
                  </a:lnTo>
                  <a:lnTo>
                    <a:pt x="351" y="382"/>
                  </a:lnTo>
                  <a:lnTo>
                    <a:pt x="351" y="379"/>
                  </a:lnTo>
                  <a:lnTo>
                    <a:pt x="351" y="353"/>
                  </a:lnTo>
                  <a:lnTo>
                    <a:pt x="362" y="332"/>
                  </a:lnTo>
                  <a:lnTo>
                    <a:pt x="366" y="310"/>
                  </a:lnTo>
                  <a:lnTo>
                    <a:pt x="370" y="285"/>
                  </a:lnTo>
                  <a:lnTo>
                    <a:pt x="366" y="264"/>
                  </a:lnTo>
                  <a:lnTo>
                    <a:pt x="374" y="250"/>
                  </a:lnTo>
                  <a:lnTo>
                    <a:pt x="378" y="240"/>
                  </a:lnTo>
                  <a:lnTo>
                    <a:pt x="401" y="226"/>
                  </a:lnTo>
                  <a:lnTo>
                    <a:pt x="424" y="219"/>
                  </a:lnTo>
                  <a:lnTo>
                    <a:pt x="444" y="226"/>
                  </a:lnTo>
                  <a:lnTo>
                    <a:pt x="452" y="229"/>
                  </a:lnTo>
                  <a:lnTo>
                    <a:pt x="463" y="214"/>
                  </a:lnTo>
                  <a:lnTo>
                    <a:pt x="463" y="198"/>
                  </a:lnTo>
                  <a:lnTo>
                    <a:pt x="452" y="166"/>
                  </a:lnTo>
                  <a:lnTo>
                    <a:pt x="447" y="152"/>
                  </a:lnTo>
                  <a:lnTo>
                    <a:pt x="452" y="145"/>
                  </a:lnTo>
                  <a:lnTo>
                    <a:pt x="459" y="145"/>
                  </a:lnTo>
                  <a:lnTo>
                    <a:pt x="467" y="135"/>
                  </a:lnTo>
                  <a:lnTo>
                    <a:pt x="472" y="114"/>
                  </a:lnTo>
                  <a:lnTo>
                    <a:pt x="475" y="85"/>
                  </a:lnTo>
                  <a:lnTo>
                    <a:pt x="478" y="58"/>
                  </a:lnTo>
                  <a:lnTo>
                    <a:pt x="490" y="46"/>
                  </a:lnTo>
                  <a:lnTo>
                    <a:pt x="513" y="34"/>
                  </a:lnTo>
                  <a:lnTo>
                    <a:pt x="529" y="26"/>
                  </a:lnTo>
                  <a:lnTo>
                    <a:pt x="533" y="1"/>
                  </a:lnTo>
                  <a:lnTo>
                    <a:pt x="458" y="0"/>
                  </a:lnTo>
                  <a:lnTo>
                    <a:pt x="453" y="7"/>
                  </a:lnTo>
                  <a:lnTo>
                    <a:pt x="431" y="26"/>
                  </a:lnTo>
                  <a:lnTo>
                    <a:pt x="431" y="36"/>
                  </a:lnTo>
                  <a:lnTo>
                    <a:pt x="436" y="46"/>
                  </a:lnTo>
                  <a:lnTo>
                    <a:pt x="420" y="58"/>
                  </a:lnTo>
                  <a:lnTo>
                    <a:pt x="424" y="72"/>
                  </a:lnTo>
                  <a:lnTo>
                    <a:pt x="408" y="96"/>
                  </a:lnTo>
                  <a:lnTo>
                    <a:pt x="397" y="99"/>
                  </a:lnTo>
                  <a:lnTo>
                    <a:pt x="397" y="118"/>
                  </a:lnTo>
                  <a:lnTo>
                    <a:pt x="406" y="128"/>
                  </a:lnTo>
                  <a:lnTo>
                    <a:pt x="393" y="138"/>
                  </a:lnTo>
                  <a:lnTo>
                    <a:pt x="385" y="130"/>
                  </a:lnTo>
                  <a:lnTo>
                    <a:pt x="370" y="138"/>
                  </a:lnTo>
                  <a:lnTo>
                    <a:pt x="374" y="159"/>
                  </a:lnTo>
                  <a:lnTo>
                    <a:pt x="359" y="166"/>
                  </a:lnTo>
                  <a:lnTo>
                    <a:pt x="336" y="170"/>
                  </a:lnTo>
                  <a:lnTo>
                    <a:pt x="320" y="188"/>
                  </a:lnTo>
                  <a:lnTo>
                    <a:pt x="315" y="204"/>
                  </a:lnTo>
                  <a:lnTo>
                    <a:pt x="300" y="219"/>
                  </a:lnTo>
                  <a:lnTo>
                    <a:pt x="300" y="229"/>
                  </a:lnTo>
                  <a:lnTo>
                    <a:pt x="320" y="214"/>
                  </a:lnTo>
                  <a:lnTo>
                    <a:pt x="343" y="201"/>
                  </a:lnTo>
                  <a:lnTo>
                    <a:pt x="351" y="204"/>
                  </a:lnTo>
                  <a:lnTo>
                    <a:pt x="343" y="226"/>
                  </a:lnTo>
                  <a:lnTo>
                    <a:pt x="324" y="236"/>
                  </a:lnTo>
                  <a:lnTo>
                    <a:pt x="304" y="233"/>
                  </a:lnTo>
                  <a:lnTo>
                    <a:pt x="308" y="247"/>
                  </a:lnTo>
                  <a:lnTo>
                    <a:pt x="281" y="257"/>
                  </a:lnTo>
                  <a:lnTo>
                    <a:pt x="277" y="236"/>
                  </a:lnTo>
                  <a:lnTo>
                    <a:pt x="266" y="229"/>
                  </a:lnTo>
                  <a:lnTo>
                    <a:pt x="250" y="250"/>
                  </a:lnTo>
                  <a:lnTo>
                    <a:pt x="233" y="250"/>
                  </a:lnTo>
                  <a:lnTo>
                    <a:pt x="217" y="254"/>
                  </a:lnTo>
                  <a:lnTo>
                    <a:pt x="215" y="272"/>
                  </a:lnTo>
                  <a:lnTo>
                    <a:pt x="206" y="274"/>
                  </a:lnTo>
                  <a:lnTo>
                    <a:pt x="206" y="283"/>
                  </a:lnTo>
                  <a:lnTo>
                    <a:pt x="197" y="280"/>
                  </a:lnTo>
                  <a:lnTo>
                    <a:pt x="183" y="273"/>
                  </a:lnTo>
                  <a:lnTo>
                    <a:pt x="162" y="274"/>
                  </a:lnTo>
                  <a:lnTo>
                    <a:pt x="162" y="285"/>
                  </a:lnTo>
                  <a:lnTo>
                    <a:pt x="164" y="294"/>
                  </a:lnTo>
                  <a:lnTo>
                    <a:pt x="156" y="297"/>
                  </a:lnTo>
                  <a:lnTo>
                    <a:pt x="137" y="289"/>
                  </a:lnTo>
                  <a:lnTo>
                    <a:pt x="120" y="301"/>
                  </a:lnTo>
                  <a:lnTo>
                    <a:pt x="124" y="311"/>
                  </a:lnTo>
                  <a:lnTo>
                    <a:pt x="122" y="319"/>
                  </a:lnTo>
                  <a:lnTo>
                    <a:pt x="104" y="311"/>
                  </a:lnTo>
                  <a:lnTo>
                    <a:pt x="99" y="320"/>
                  </a:lnTo>
                  <a:lnTo>
                    <a:pt x="92" y="327"/>
                  </a:lnTo>
                  <a:lnTo>
                    <a:pt x="70" y="324"/>
                  </a:lnTo>
                  <a:lnTo>
                    <a:pt x="59" y="326"/>
                  </a:lnTo>
                  <a:lnTo>
                    <a:pt x="56" y="340"/>
                  </a:lnTo>
                  <a:lnTo>
                    <a:pt x="48" y="343"/>
                  </a:lnTo>
                  <a:lnTo>
                    <a:pt x="37" y="359"/>
                  </a:lnTo>
                  <a:lnTo>
                    <a:pt x="39" y="379"/>
                  </a:lnTo>
                  <a:lnTo>
                    <a:pt x="35" y="407"/>
                  </a:lnTo>
                  <a:lnTo>
                    <a:pt x="30" y="435"/>
                  </a:lnTo>
                  <a:lnTo>
                    <a:pt x="25" y="462"/>
                  </a:lnTo>
                  <a:lnTo>
                    <a:pt x="21" y="475"/>
                  </a:lnTo>
                  <a:lnTo>
                    <a:pt x="31" y="487"/>
                  </a:lnTo>
                  <a:lnTo>
                    <a:pt x="48" y="477"/>
                  </a:lnTo>
                  <a:lnTo>
                    <a:pt x="60" y="483"/>
                  </a:lnTo>
                  <a:lnTo>
                    <a:pt x="60" y="493"/>
                  </a:lnTo>
                  <a:lnTo>
                    <a:pt x="43" y="501"/>
                  </a:lnTo>
                  <a:lnTo>
                    <a:pt x="41" y="519"/>
                  </a:lnTo>
                  <a:lnTo>
                    <a:pt x="37" y="527"/>
                  </a:lnTo>
                  <a:lnTo>
                    <a:pt x="20" y="526"/>
                  </a:lnTo>
                  <a:lnTo>
                    <a:pt x="14" y="547"/>
                  </a:lnTo>
                  <a:lnTo>
                    <a:pt x="21" y="553"/>
                  </a:lnTo>
                  <a:lnTo>
                    <a:pt x="37" y="549"/>
                  </a:lnTo>
                  <a:lnTo>
                    <a:pt x="45" y="559"/>
                  </a:lnTo>
                  <a:lnTo>
                    <a:pt x="46" y="563"/>
                  </a:lnTo>
                  <a:lnTo>
                    <a:pt x="33" y="570"/>
                  </a:lnTo>
                  <a:lnTo>
                    <a:pt x="35" y="583"/>
                  </a:lnTo>
                  <a:lnTo>
                    <a:pt x="20" y="586"/>
                  </a:lnTo>
                  <a:lnTo>
                    <a:pt x="9" y="579"/>
                  </a:lnTo>
                  <a:lnTo>
                    <a:pt x="12" y="597"/>
                  </a:lnTo>
                  <a:lnTo>
                    <a:pt x="9" y="608"/>
                  </a:lnTo>
                  <a:lnTo>
                    <a:pt x="0" y="608"/>
                  </a:lnTo>
                  <a:lnTo>
                    <a:pt x="23" y="630"/>
                  </a:lnTo>
                  <a:lnTo>
                    <a:pt x="35" y="643"/>
                  </a:lnTo>
                  <a:lnTo>
                    <a:pt x="41" y="660"/>
                  </a:lnTo>
                  <a:lnTo>
                    <a:pt x="64" y="671"/>
                  </a:lnTo>
                  <a:lnTo>
                    <a:pt x="89" y="684"/>
                  </a:lnTo>
                  <a:lnTo>
                    <a:pt x="114" y="684"/>
                  </a:lnTo>
                  <a:lnTo>
                    <a:pt x="148" y="663"/>
                  </a:lnTo>
                  <a:lnTo>
                    <a:pt x="183" y="640"/>
                  </a:lnTo>
                  <a:lnTo>
                    <a:pt x="215" y="602"/>
                  </a:lnTo>
                  <a:lnTo>
                    <a:pt x="220" y="598"/>
                  </a:lnTo>
                  <a:lnTo>
                    <a:pt x="229" y="610"/>
                  </a:lnTo>
                  <a:lnTo>
                    <a:pt x="244" y="602"/>
                  </a:lnTo>
                  <a:lnTo>
                    <a:pt x="250" y="587"/>
                  </a:lnTo>
                  <a:lnTo>
                    <a:pt x="252" y="570"/>
                  </a:lnTo>
                  <a:lnTo>
                    <a:pt x="267" y="549"/>
                  </a:lnTo>
                  <a:lnTo>
                    <a:pt x="261" y="574"/>
                  </a:lnTo>
                  <a:lnTo>
                    <a:pt x="269" y="577"/>
                  </a:lnTo>
                  <a:lnTo>
                    <a:pt x="266" y="587"/>
                  </a:lnTo>
                  <a:lnTo>
                    <a:pt x="269" y="607"/>
                  </a:lnTo>
                  <a:lnTo>
                    <a:pt x="277" y="623"/>
                  </a:lnTo>
                  <a:lnTo>
                    <a:pt x="286" y="617"/>
                  </a:lnTo>
                  <a:lnTo>
                    <a:pt x="285" y="62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47" name="Freeform 25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 bwMode="gray">
            <a:xfrm>
              <a:off x="1841500" y="4221162"/>
              <a:ext cx="33338" cy="15875"/>
            </a:xfrm>
            <a:custGeom>
              <a:avLst/>
              <a:gdLst>
                <a:gd name="T0" fmla="*/ 2147483647 w 36"/>
                <a:gd name="T1" fmla="*/ 2147483647 h 21"/>
                <a:gd name="T2" fmla="*/ 2147483647 w 36"/>
                <a:gd name="T3" fmla="*/ 0 h 21"/>
                <a:gd name="T4" fmla="*/ 0 w 36"/>
                <a:gd name="T5" fmla="*/ 2147483647 h 21"/>
                <a:gd name="T6" fmla="*/ 2147483647 w 36"/>
                <a:gd name="T7" fmla="*/ 2147483647 h 21"/>
                <a:gd name="T8" fmla="*/ 2147483647 w 36"/>
                <a:gd name="T9" fmla="*/ 2147483647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6"/>
                <a:gd name="T16" fmla="*/ 0 h 21"/>
                <a:gd name="T17" fmla="*/ 36 w 36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6" h="21">
                  <a:moveTo>
                    <a:pt x="36" y="12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3" y="21"/>
                  </a:lnTo>
                  <a:lnTo>
                    <a:pt x="36" y="12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48" name="Freeform 26"/>
            <p:cNvSpPr>
              <a:spLocks noChangeAspect="1"/>
            </p:cNvSpPr>
            <p:nvPr>
              <p:custDataLst>
                <p:tags r:id="rId50"/>
              </p:custDataLst>
            </p:nvPr>
          </p:nvSpPr>
          <p:spPr bwMode="gray">
            <a:xfrm>
              <a:off x="1690688" y="5318125"/>
              <a:ext cx="430212" cy="166688"/>
            </a:xfrm>
            <a:custGeom>
              <a:avLst/>
              <a:gdLst>
                <a:gd name="T0" fmla="*/ 2147483647 w 453"/>
                <a:gd name="T1" fmla="*/ 2147483647 h 206"/>
                <a:gd name="T2" fmla="*/ 2147483647 w 453"/>
                <a:gd name="T3" fmla="*/ 2147483647 h 206"/>
                <a:gd name="T4" fmla="*/ 2147483647 w 453"/>
                <a:gd name="T5" fmla="*/ 2147483647 h 206"/>
                <a:gd name="T6" fmla="*/ 2147483647 w 453"/>
                <a:gd name="T7" fmla="*/ 2147483647 h 206"/>
                <a:gd name="T8" fmla="*/ 2147483647 w 453"/>
                <a:gd name="T9" fmla="*/ 2147483647 h 206"/>
                <a:gd name="T10" fmla="*/ 2147483647 w 453"/>
                <a:gd name="T11" fmla="*/ 2147483647 h 206"/>
                <a:gd name="T12" fmla="*/ 2147483647 w 453"/>
                <a:gd name="T13" fmla="*/ 2147483647 h 206"/>
                <a:gd name="T14" fmla="*/ 2147483647 w 453"/>
                <a:gd name="T15" fmla="*/ 2147483647 h 206"/>
                <a:gd name="T16" fmla="*/ 2147483647 w 453"/>
                <a:gd name="T17" fmla="*/ 2147483647 h 206"/>
                <a:gd name="T18" fmla="*/ 2147483647 w 453"/>
                <a:gd name="T19" fmla="*/ 2147483647 h 206"/>
                <a:gd name="T20" fmla="*/ 2147483647 w 453"/>
                <a:gd name="T21" fmla="*/ 2147483647 h 206"/>
                <a:gd name="T22" fmla="*/ 2147483647 w 453"/>
                <a:gd name="T23" fmla="*/ 2147483647 h 206"/>
                <a:gd name="T24" fmla="*/ 2147483647 w 453"/>
                <a:gd name="T25" fmla="*/ 2147483647 h 206"/>
                <a:gd name="T26" fmla="*/ 2147483647 w 453"/>
                <a:gd name="T27" fmla="*/ 2147483647 h 206"/>
                <a:gd name="T28" fmla="*/ 2147483647 w 453"/>
                <a:gd name="T29" fmla="*/ 2147483647 h 206"/>
                <a:gd name="T30" fmla="*/ 2147483647 w 453"/>
                <a:gd name="T31" fmla="*/ 2147483647 h 206"/>
                <a:gd name="T32" fmla="*/ 2147483647 w 453"/>
                <a:gd name="T33" fmla="*/ 2147483647 h 206"/>
                <a:gd name="T34" fmla="*/ 2147483647 w 453"/>
                <a:gd name="T35" fmla="*/ 2147483647 h 206"/>
                <a:gd name="T36" fmla="*/ 2147483647 w 453"/>
                <a:gd name="T37" fmla="*/ 2147483647 h 206"/>
                <a:gd name="T38" fmla="*/ 2147483647 w 453"/>
                <a:gd name="T39" fmla="*/ 2147483647 h 206"/>
                <a:gd name="T40" fmla="*/ 2147483647 w 453"/>
                <a:gd name="T41" fmla="*/ 2147483647 h 206"/>
                <a:gd name="T42" fmla="*/ 2147483647 w 453"/>
                <a:gd name="T43" fmla="*/ 2147483647 h 206"/>
                <a:gd name="T44" fmla="*/ 2147483647 w 453"/>
                <a:gd name="T45" fmla="*/ 2147483647 h 206"/>
                <a:gd name="T46" fmla="*/ 2147483647 w 453"/>
                <a:gd name="T47" fmla="*/ 2147483647 h 206"/>
                <a:gd name="T48" fmla="*/ 2147483647 w 453"/>
                <a:gd name="T49" fmla="*/ 2147483647 h 206"/>
                <a:gd name="T50" fmla="*/ 2147483647 w 453"/>
                <a:gd name="T51" fmla="*/ 2147483647 h 206"/>
                <a:gd name="T52" fmla="*/ 2147483647 w 453"/>
                <a:gd name="T53" fmla="*/ 2147483647 h 206"/>
                <a:gd name="T54" fmla="*/ 2147483647 w 453"/>
                <a:gd name="T55" fmla="*/ 2147483647 h 206"/>
                <a:gd name="T56" fmla="*/ 2147483647 w 453"/>
                <a:gd name="T57" fmla="*/ 2147483647 h 206"/>
                <a:gd name="T58" fmla="*/ 2147483647 w 453"/>
                <a:gd name="T59" fmla="*/ 2147483647 h 206"/>
                <a:gd name="T60" fmla="*/ 2147483647 w 453"/>
                <a:gd name="T61" fmla="*/ 2147483647 h 206"/>
                <a:gd name="T62" fmla="*/ 0 w 453"/>
                <a:gd name="T63" fmla="*/ 2147483647 h 20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53"/>
                <a:gd name="T97" fmla="*/ 0 h 206"/>
                <a:gd name="T98" fmla="*/ 453 w 453"/>
                <a:gd name="T99" fmla="*/ 206 h 20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53" h="206">
                  <a:moveTo>
                    <a:pt x="0" y="74"/>
                  </a:moveTo>
                  <a:lnTo>
                    <a:pt x="19" y="72"/>
                  </a:lnTo>
                  <a:lnTo>
                    <a:pt x="26" y="70"/>
                  </a:lnTo>
                  <a:lnTo>
                    <a:pt x="36" y="82"/>
                  </a:lnTo>
                  <a:lnTo>
                    <a:pt x="49" y="78"/>
                  </a:lnTo>
                  <a:lnTo>
                    <a:pt x="64" y="80"/>
                  </a:lnTo>
                  <a:lnTo>
                    <a:pt x="73" y="87"/>
                  </a:lnTo>
                  <a:lnTo>
                    <a:pt x="89" y="78"/>
                  </a:lnTo>
                  <a:lnTo>
                    <a:pt x="110" y="79"/>
                  </a:lnTo>
                  <a:lnTo>
                    <a:pt x="119" y="88"/>
                  </a:lnTo>
                  <a:lnTo>
                    <a:pt x="132" y="91"/>
                  </a:lnTo>
                  <a:lnTo>
                    <a:pt x="139" y="85"/>
                  </a:lnTo>
                  <a:lnTo>
                    <a:pt x="162" y="81"/>
                  </a:lnTo>
                  <a:lnTo>
                    <a:pt x="173" y="81"/>
                  </a:lnTo>
                  <a:lnTo>
                    <a:pt x="190" y="87"/>
                  </a:lnTo>
                  <a:lnTo>
                    <a:pt x="210" y="100"/>
                  </a:lnTo>
                  <a:lnTo>
                    <a:pt x="225" y="94"/>
                  </a:lnTo>
                  <a:lnTo>
                    <a:pt x="228" y="81"/>
                  </a:lnTo>
                  <a:lnTo>
                    <a:pt x="218" y="64"/>
                  </a:lnTo>
                  <a:lnTo>
                    <a:pt x="213" y="40"/>
                  </a:lnTo>
                  <a:lnTo>
                    <a:pt x="264" y="5"/>
                  </a:lnTo>
                  <a:lnTo>
                    <a:pt x="275" y="5"/>
                  </a:lnTo>
                  <a:lnTo>
                    <a:pt x="277" y="17"/>
                  </a:lnTo>
                  <a:lnTo>
                    <a:pt x="292" y="20"/>
                  </a:lnTo>
                  <a:lnTo>
                    <a:pt x="324" y="16"/>
                  </a:lnTo>
                  <a:lnTo>
                    <a:pt x="337" y="2"/>
                  </a:lnTo>
                  <a:lnTo>
                    <a:pt x="377" y="0"/>
                  </a:lnTo>
                  <a:lnTo>
                    <a:pt x="386" y="17"/>
                  </a:lnTo>
                  <a:lnTo>
                    <a:pt x="402" y="17"/>
                  </a:lnTo>
                  <a:lnTo>
                    <a:pt x="417" y="8"/>
                  </a:lnTo>
                  <a:lnTo>
                    <a:pt x="442" y="24"/>
                  </a:lnTo>
                  <a:lnTo>
                    <a:pt x="442" y="52"/>
                  </a:lnTo>
                  <a:lnTo>
                    <a:pt x="453" y="64"/>
                  </a:lnTo>
                  <a:lnTo>
                    <a:pt x="450" y="82"/>
                  </a:lnTo>
                  <a:lnTo>
                    <a:pt x="442" y="100"/>
                  </a:lnTo>
                  <a:lnTo>
                    <a:pt x="429" y="100"/>
                  </a:lnTo>
                  <a:lnTo>
                    <a:pt x="424" y="105"/>
                  </a:lnTo>
                  <a:lnTo>
                    <a:pt x="432" y="120"/>
                  </a:lnTo>
                  <a:lnTo>
                    <a:pt x="432" y="135"/>
                  </a:lnTo>
                  <a:lnTo>
                    <a:pt x="424" y="148"/>
                  </a:lnTo>
                  <a:lnTo>
                    <a:pt x="402" y="159"/>
                  </a:lnTo>
                  <a:lnTo>
                    <a:pt x="401" y="172"/>
                  </a:lnTo>
                  <a:lnTo>
                    <a:pt x="401" y="185"/>
                  </a:lnTo>
                  <a:lnTo>
                    <a:pt x="381" y="189"/>
                  </a:lnTo>
                  <a:lnTo>
                    <a:pt x="347" y="187"/>
                  </a:lnTo>
                  <a:lnTo>
                    <a:pt x="331" y="192"/>
                  </a:lnTo>
                  <a:lnTo>
                    <a:pt x="302" y="192"/>
                  </a:lnTo>
                  <a:lnTo>
                    <a:pt x="290" y="206"/>
                  </a:lnTo>
                  <a:lnTo>
                    <a:pt x="244" y="191"/>
                  </a:lnTo>
                  <a:lnTo>
                    <a:pt x="221" y="192"/>
                  </a:lnTo>
                  <a:lnTo>
                    <a:pt x="163" y="179"/>
                  </a:lnTo>
                  <a:lnTo>
                    <a:pt x="155" y="165"/>
                  </a:lnTo>
                  <a:lnTo>
                    <a:pt x="155" y="150"/>
                  </a:lnTo>
                  <a:lnTo>
                    <a:pt x="151" y="141"/>
                  </a:lnTo>
                  <a:lnTo>
                    <a:pt x="144" y="137"/>
                  </a:lnTo>
                  <a:lnTo>
                    <a:pt x="108" y="139"/>
                  </a:lnTo>
                  <a:lnTo>
                    <a:pt x="58" y="144"/>
                  </a:lnTo>
                  <a:lnTo>
                    <a:pt x="53" y="132"/>
                  </a:lnTo>
                  <a:lnTo>
                    <a:pt x="43" y="128"/>
                  </a:lnTo>
                  <a:lnTo>
                    <a:pt x="28" y="123"/>
                  </a:lnTo>
                  <a:lnTo>
                    <a:pt x="13" y="119"/>
                  </a:lnTo>
                  <a:lnTo>
                    <a:pt x="13" y="105"/>
                  </a:lnTo>
                  <a:lnTo>
                    <a:pt x="13" y="85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49" name="Freeform 27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gray">
            <a:xfrm>
              <a:off x="2314575" y="6075362"/>
              <a:ext cx="25400" cy="22225"/>
            </a:xfrm>
            <a:custGeom>
              <a:avLst/>
              <a:gdLst>
                <a:gd name="T0" fmla="*/ 2147483647 w 24"/>
                <a:gd name="T1" fmla="*/ 0 h 25"/>
                <a:gd name="T2" fmla="*/ 2147483647 w 24"/>
                <a:gd name="T3" fmla="*/ 2147483647 h 25"/>
                <a:gd name="T4" fmla="*/ 2147483647 w 24"/>
                <a:gd name="T5" fmla="*/ 2147483647 h 25"/>
                <a:gd name="T6" fmla="*/ 2147483647 w 24"/>
                <a:gd name="T7" fmla="*/ 2147483647 h 25"/>
                <a:gd name="T8" fmla="*/ 2147483647 w 24"/>
                <a:gd name="T9" fmla="*/ 2147483647 h 25"/>
                <a:gd name="T10" fmla="*/ 2147483647 w 24"/>
                <a:gd name="T11" fmla="*/ 2147483647 h 25"/>
                <a:gd name="T12" fmla="*/ 0 w 24"/>
                <a:gd name="T13" fmla="*/ 2147483647 h 25"/>
                <a:gd name="T14" fmla="*/ 2147483647 w 24"/>
                <a:gd name="T15" fmla="*/ 0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25"/>
                <a:gd name="T26" fmla="*/ 24 w 2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25">
                  <a:moveTo>
                    <a:pt x="18" y="0"/>
                  </a:moveTo>
                  <a:lnTo>
                    <a:pt x="24" y="7"/>
                  </a:lnTo>
                  <a:lnTo>
                    <a:pt x="22" y="16"/>
                  </a:lnTo>
                  <a:lnTo>
                    <a:pt x="24" y="23"/>
                  </a:lnTo>
                  <a:lnTo>
                    <a:pt x="18" y="25"/>
                  </a:lnTo>
                  <a:lnTo>
                    <a:pt x="7" y="23"/>
                  </a:lnTo>
                  <a:lnTo>
                    <a:pt x="0" y="1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50" name="Freeform 28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 bwMode="gray">
            <a:xfrm>
              <a:off x="2360613" y="6084887"/>
              <a:ext cx="174625" cy="131762"/>
            </a:xfrm>
            <a:custGeom>
              <a:avLst/>
              <a:gdLst>
                <a:gd name="T0" fmla="*/ 2147483647 w 184"/>
                <a:gd name="T1" fmla="*/ 2147483647 h 163"/>
                <a:gd name="T2" fmla="*/ 2147483647 w 184"/>
                <a:gd name="T3" fmla="*/ 2147483647 h 163"/>
                <a:gd name="T4" fmla="*/ 2147483647 w 184"/>
                <a:gd name="T5" fmla="*/ 2147483647 h 163"/>
                <a:gd name="T6" fmla="*/ 2147483647 w 184"/>
                <a:gd name="T7" fmla="*/ 2147483647 h 163"/>
                <a:gd name="T8" fmla="*/ 2147483647 w 184"/>
                <a:gd name="T9" fmla="*/ 2147483647 h 163"/>
                <a:gd name="T10" fmla="*/ 0 w 184"/>
                <a:gd name="T11" fmla="*/ 2147483647 h 163"/>
                <a:gd name="T12" fmla="*/ 2147483647 w 184"/>
                <a:gd name="T13" fmla="*/ 2147483647 h 163"/>
                <a:gd name="T14" fmla="*/ 2147483647 w 184"/>
                <a:gd name="T15" fmla="*/ 2147483647 h 163"/>
                <a:gd name="T16" fmla="*/ 2147483647 w 184"/>
                <a:gd name="T17" fmla="*/ 2147483647 h 163"/>
                <a:gd name="T18" fmla="*/ 2147483647 w 184"/>
                <a:gd name="T19" fmla="*/ 2147483647 h 163"/>
                <a:gd name="T20" fmla="*/ 2147483647 w 184"/>
                <a:gd name="T21" fmla="*/ 2147483647 h 163"/>
                <a:gd name="T22" fmla="*/ 2147483647 w 184"/>
                <a:gd name="T23" fmla="*/ 2147483647 h 163"/>
                <a:gd name="T24" fmla="*/ 2147483647 w 184"/>
                <a:gd name="T25" fmla="*/ 2147483647 h 163"/>
                <a:gd name="T26" fmla="*/ 2147483647 w 184"/>
                <a:gd name="T27" fmla="*/ 2147483647 h 163"/>
                <a:gd name="T28" fmla="*/ 2147483647 w 184"/>
                <a:gd name="T29" fmla="*/ 2147483647 h 163"/>
                <a:gd name="T30" fmla="*/ 2147483647 w 184"/>
                <a:gd name="T31" fmla="*/ 2147483647 h 163"/>
                <a:gd name="T32" fmla="*/ 2147483647 w 184"/>
                <a:gd name="T33" fmla="*/ 2147483647 h 163"/>
                <a:gd name="T34" fmla="*/ 2147483647 w 184"/>
                <a:gd name="T35" fmla="*/ 2147483647 h 163"/>
                <a:gd name="T36" fmla="*/ 2147483647 w 184"/>
                <a:gd name="T37" fmla="*/ 2147483647 h 163"/>
                <a:gd name="T38" fmla="*/ 2147483647 w 184"/>
                <a:gd name="T39" fmla="*/ 2147483647 h 163"/>
                <a:gd name="T40" fmla="*/ 2147483647 w 184"/>
                <a:gd name="T41" fmla="*/ 2147483647 h 163"/>
                <a:gd name="T42" fmla="*/ 2147483647 w 184"/>
                <a:gd name="T43" fmla="*/ 2147483647 h 163"/>
                <a:gd name="T44" fmla="*/ 2147483647 w 184"/>
                <a:gd name="T45" fmla="*/ 2147483647 h 163"/>
                <a:gd name="T46" fmla="*/ 2147483647 w 184"/>
                <a:gd name="T47" fmla="*/ 2147483647 h 163"/>
                <a:gd name="T48" fmla="*/ 2147483647 w 184"/>
                <a:gd name="T49" fmla="*/ 2147483647 h 163"/>
                <a:gd name="T50" fmla="*/ 2147483647 w 184"/>
                <a:gd name="T51" fmla="*/ 2147483647 h 163"/>
                <a:gd name="T52" fmla="*/ 2147483647 w 184"/>
                <a:gd name="T53" fmla="*/ 2147483647 h 163"/>
                <a:gd name="T54" fmla="*/ 2147483647 w 184"/>
                <a:gd name="T55" fmla="*/ 2147483647 h 163"/>
                <a:gd name="T56" fmla="*/ 2147483647 w 184"/>
                <a:gd name="T57" fmla="*/ 2147483647 h 163"/>
                <a:gd name="T58" fmla="*/ 2147483647 w 184"/>
                <a:gd name="T59" fmla="*/ 2147483647 h 163"/>
                <a:gd name="T60" fmla="*/ 2147483647 w 184"/>
                <a:gd name="T61" fmla="*/ 2147483647 h 163"/>
                <a:gd name="T62" fmla="*/ 2147483647 w 184"/>
                <a:gd name="T63" fmla="*/ 2147483647 h 163"/>
                <a:gd name="T64" fmla="*/ 2147483647 w 184"/>
                <a:gd name="T65" fmla="*/ 2147483647 h 163"/>
                <a:gd name="T66" fmla="*/ 2147483647 w 184"/>
                <a:gd name="T67" fmla="*/ 2147483647 h 163"/>
                <a:gd name="T68" fmla="*/ 2147483647 w 184"/>
                <a:gd name="T69" fmla="*/ 2147483647 h 163"/>
                <a:gd name="T70" fmla="*/ 2147483647 w 184"/>
                <a:gd name="T71" fmla="*/ 2147483647 h 163"/>
                <a:gd name="T72" fmla="*/ 2147483647 w 184"/>
                <a:gd name="T73" fmla="*/ 2147483647 h 163"/>
                <a:gd name="T74" fmla="*/ 2147483647 w 184"/>
                <a:gd name="T75" fmla="*/ 2147483647 h 163"/>
                <a:gd name="T76" fmla="*/ 2147483647 w 184"/>
                <a:gd name="T77" fmla="*/ 2147483647 h 163"/>
                <a:gd name="T78" fmla="*/ 2147483647 w 184"/>
                <a:gd name="T79" fmla="*/ 0 h 163"/>
                <a:gd name="T80" fmla="*/ 2147483647 w 184"/>
                <a:gd name="T81" fmla="*/ 2147483647 h 163"/>
                <a:gd name="T82" fmla="*/ 2147483647 w 184"/>
                <a:gd name="T83" fmla="*/ 2147483647 h 16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4"/>
                <a:gd name="T127" fmla="*/ 0 h 163"/>
                <a:gd name="T128" fmla="*/ 184 w 184"/>
                <a:gd name="T129" fmla="*/ 163 h 16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4" h="163">
                  <a:moveTo>
                    <a:pt x="26" y="7"/>
                  </a:moveTo>
                  <a:lnTo>
                    <a:pt x="17" y="11"/>
                  </a:lnTo>
                  <a:lnTo>
                    <a:pt x="20" y="20"/>
                  </a:lnTo>
                  <a:lnTo>
                    <a:pt x="11" y="31"/>
                  </a:lnTo>
                  <a:lnTo>
                    <a:pt x="4" y="30"/>
                  </a:lnTo>
                  <a:lnTo>
                    <a:pt x="0" y="35"/>
                  </a:lnTo>
                  <a:lnTo>
                    <a:pt x="2" y="46"/>
                  </a:lnTo>
                  <a:lnTo>
                    <a:pt x="32" y="57"/>
                  </a:lnTo>
                  <a:lnTo>
                    <a:pt x="39" y="82"/>
                  </a:lnTo>
                  <a:lnTo>
                    <a:pt x="48" y="113"/>
                  </a:lnTo>
                  <a:lnTo>
                    <a:pt x="59" y="130"/>
                  </a:lnTo>
                  <a:lnTo>
                    <a:pt x="72" y="119"/>
                  </a:lnTo>
                  <a:lnTo>
                    <a:pt x="89" y="141"/>
                  </a:lnTo>
                  <a:lnTo>
                    <a:pt x="106" y="163"/>
                  </a:lnTo>
                  <a:lnTo>
                    <a:pt x="113" y="146"/>
                  </a:lnTo>
                  <a:lnTo>
                    <a:pt x="108" y="135"/>
                  </a:lnTo>
                  <a:lnTo>
                    <a:pt x="115" y="130"/>
                  </a:lnTo>
                  <a:lnTo>
                    <a:pt x="141" y="150"/>
                  </a:lnTo>
                  <a:lnTo>
                    <a:pt x="149" y="144"/>
                  </a:lnTo>
                  <a:lnTo>
                    <a:pt x="151" y="137"/>
                  </a:lnTo>
                  <a:lnTo>
                    <a:pt x="138" y="111"/>
                  </a:lnTo>
                  <a:lnTo>
                    <a:pt x="138" y="106"/>
                  </a:lnTo>
                  <a:lnTo>
                    <a:pt x="126" y="85"/>
                  </a:lnTo>
                  <a:lnTo>
                    <a:pt x="121" y="70"/>
                  </a:lnTo>
                  <a:lnTo>
                    <a:pt x="126" y="69"/>
                  </a:lnTo>
                  <a:lnTo>
                    <a:pt x="141" y="72"/>
                  </a:lnTo>
                  <a:lnTo>
                    <a:pt x="158" y="87"/>
                  </a:lnTo>
                  <a:lnTo>
                    <a:pt x="167" y="76"/>
                  </a:lnTo>
                  <a:lnTo>
                    <a:pt x="182" y="78"/>
                  </a:lnTo>
                  <a:lnTo>
                    <a:pt x="184" y="74"/>
                  </a:lnTo>
                  <a:lnTo>
                    <a:pt x="165" y="50"/>
                  </a:lnTo>
                  <a:lnTo>
                    <a:pt x="151" y="52"/>
                  </a:lnTo>
                  <a:lnTo>
                    <a:pt x="147" y="44"/>
                  </a:lnTo>
                  <a:lnTo>
                    <a:pt x="138" y="26"/>
                  </a:lnTo>
                  <a:lnTo>
                    <a:pt x="130" y="33"/>
                  </a:lnTo>
                  <a:lnTo>
                    <a:pt x="112" y="26"/>
                  </a:lnTo>
                  <a:lnTo>
                    <a:pt x="100" y="7"/>
                  </a:lnTo>
                  <a:lnTo>
                    <a:pt x="78" y="9"/>
                  </a:lnTo>
                  <a:lnTo>
                    <a:pt x="61" y="11"/>
                  </a:lnTo>
                  <a:lnTo>
                    <a:pt x="50" y="0"/>
                  </a:lnTo>
                  <a:lnTo>
                    <a:pt x="41" y="6"/>
                  </a:lnTo>
                  <a:lnTo>
                    <a:pt x="26" y="7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51" name="Freeform 29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 bwMode="gray">
            <a:xfrm>
              <a:off x="2508250" y="6029325"/>
              <a:ext cx="96838" cy="71438"/>
            </a:xfrm>
            <a:custGeom>
              <a:avLst/>
              <a:gdLst>
                <a:gd name="T0" fmla="*/ 2147483647 w 106"/>
                <a:gd name="T1" fmla="*/ 0 h 87"/>
                <a:gd name="T2" fmla="*/ 0 w 106"/>
                <a:gd name="T3" fmla="*/ 2147483647 h 87"/>
                <a:gd name="T4" fmla="*/ 2147483647 w 106"/>
                <a:gd name="T5" fmla="*/ 2147483647 h 87"/>
                <a:gd name="T6" fmla="*/ 2147483647 w 106"/>
                <a:gd name="T7" fmla="*/ 2147483647 h 87"/>
                <a:gd name="T8" fmla="*/ 2147483647 w 106"/>
                <a:gd name="T9" fmla="*/ 2147483647 h 87"/>
                <a:gd name="T10" fmla="*/ 2147483647 w 106"/>
                <a:gd name="T11" fmla="*/ 2147483647 h 87"/>
                <a:gd name="T12" fmla="*/ 2147483647 w 106"/>
                <a:gd name="T13" fmla="*/ 2147483647 h 87"/>
                <a:gd name="T14" fmla="*/ 2147483647 w 106"/>
                <a:gd name="T15" fmla="*/ 2147483647 h 87"/>
                <a:gd name="T16" fmla="*/ 2147483647 w 106"/>
                <a:gd name="T17" fmla="*/ 2147483647 h 87"/>
                <a:gd name="T18" fmla="*/ 2147483647 w 106"/>
                <a:gd name="T19" fmla="*/ 2147483647 h 87"/>
                <a:gd name="T20" fmla="*/ 2147483647 w 106"/>
                <a:gd name="T21" fmla="*/ 2147483647 h 87"/>
                <a:gd name="T22" fmla="*/ 2147483647 w 106"/>
                <a:gd name="T23" fmla="*/ 2147483647 h 87"/>
                <a:gd name="T24" fmla="*/ 2147483647 w 106"/>
                <a:gd name="T25" fmla="*/ 2147483647 h 87"/>
                <a:gd name="T26" fmla="*/ 2147483647 w 106"/>
                <a:gd name="T27" fmla="*/ 2147483647 h 87"/>
                <a:gd name="T28" fmla="*/ 2147483647 w 106"/>
                <a:gd name="T29" fmla="*/ 2147483647 h 87"/>
                <a:gd name="T30" fmla="*/ 2147483647 w 106"/>
                <a:gd name="T31" fmla="*/ 2147483647 h 87"/>
                <a:gd name="T32" fmla="*/ 2147483647 w 106"/>
                <a:gd name="T33" fmla="*/ 2147483647 h 87"/>
                <a:gd name="T34" fmla="*/ 2147483647 w 106"/>
                <a:gd name="T35" fmla="*/ 0 h 8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6"/>
                <a:gd name="T55" fmla="*/ 0 h 87"/>
                <a:gd name="T56" fmla="*/ 106 w 106"/>
                <a:gd name="T57" fmla="*/ 87 h 8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6" h="87">
                  <a:moveTo>
                    <a:pt x="9" y="0"/>
                  </a:moveTo>
                  <a:lnTo>
                    <a:pt x="0" y="7"/>
                  </a:lnTo>
                  <a:lnTo>
                    <a:pt x="11" y="26"/>
                  </a:lnTo>
                  <a:lnTo>
                    <a:pt x="24" y="30"/>
                  </a:lnTo>
                  <a:lnTo>
                    <a:pt x="39" y="46"/>
                  </a:lnTo>
                  <a:lnTo>
                    <a:pt x="52" y="54"/>
                  </a:lnTo>
                  <a:lnTo>
                    <a:pt x="73" y="70"/>
                  </a:lnTo>
                  <a:lnTo>
                    <a:pt x="86" y="76"/>
                  </a:lnTo>
                  <a:lnTo>
                    <a:pt x="102" y="87"/>
                  </a:lnTo>
                  <a:lnTo>
                    <a:pt x="106" y="81"/>
                  </a:lnTo>
                  <a:lnTo>
                    <a:pt x="73" y="56"/>
                  </a:lnTo>
                  <a:lnTo>
                    <a:pt x="71" y="44"/>
                  </a:lnTo>
                  <a:lnTo>
                    <a:pt x="67" y="33"/>
                  </a:lnTo>
                  <a:lnTo>
                    <a:pt x="54" y="20"/>
                  </a:lnTo>
                  <a:lnTo>
                    <a:pt x="50" y="22"/>
                  </a:lnTo>
                  <a:lnTo>
                    <a:pt x="32" y="9"/>
                  </a:lnTo>
                  <a:lnTo>
                    <a:pt x="22" y="4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52" name="Freeform 30"/>
            <p:cNvSpPr>
              <a:spLocks noChangeAspect="1"/>
            </p:cNvSpPr>
            <p:nvPr>
              <p:custDataLst>
                <p:tags r:id="rId54"/>
              </p:custDataLst>
            </p:nvPr>
          </p:nvSpPr>
          <p:spPr bwMode="gray">
            <a:xfrm>
              <a:off x="2540000" y="6267450"/>
              <a:ext cx="190500" cy="44450"/>
            </a:xfrm>
            <a:custGeom>
              <a:avLst/>
              <a:gdLst>
                <a:gd name="T0" fmla="*/ 2147483647 w 200"/>
                <a:gd name="T1" fmla="*/ 2147483647 h 54"/>
                <a:gd name="T2" fmla="*/ 2147483647 w 200"/>
                <a:gd name="T3" fmla="*/ 2147483647 h 54"/>
                <a:gd name="T4" fmla="*/ 2147483647 w 200"/>
                <a:gd name="T5" fmla="*/ 2147483647 h 54"/>
                <a:gd name="T6" fmla="*/ 2147483647 w 200"/>
                <a:gd name="T7" fmla="*/ 2147483647 h 54"/>
                <a:gd name="T8" fmla="*/ 2147483647 w 200"/>
                <a:gd name="T9" fmla="*/ 2147483647 h 54"/>
                <a:gd name="T10" fmla="*/ 2147483647 w 200"/>
                <a:gd name="T11" fmla="*/ 2147483647 h 54"/>
                <a:gd name="T12" fmla="*/ 2147483647 w 200"/>
                <a:gd name="T13" fmla="*/ 2147483647 h 54"/>
                <a:gd name="T14" fmla="*/ 2147483647 w 200"/>
                <a:gd name="T15" fmla="*/ 2147483647 h 54"/>
                <a:gd name="T16" fmla="*/ 2147483647 w 200"/>
                <a:gd name="T17" fmla="*/ 2147483647 h 54"/>
                <a:gd name="T18" fmla="*/ 2147483647 w 200"/>
                <a:gd name="T19" fmla="*/ 2147483647 h 54"/>
                <a:gd name="T20" fmla="*/ 2147483647 w 200"/>
                <a:gd name="T21" fmla="*/ 2147483647 h 54"/>
                <a:gd name="T22" fmla="*/ 2147483647 w 200"/>
                <a:gd name="T23" fmla="*/ 2147483647 h 54"/>
                <a:gd name="T24" fmla="*/ 2147483647 w 200"/>
                <a:gd name="T25" fmla="*/ 2147483647 h 54"/>
                <a:gd name="T26" fmla="*/ 2147483647 w 200"/>
                <a:gd name="T27" fmla="*/ 2147483647 h 54"/>
                <a:gd name="T28" fmla="*/ 2147483647 w 200"/>
                <a:gd name="T29" fmla="*/ 2147483647 h 54"/>
                <a:gd name="T30" fmla="*/ 2147483647 w 200"/>
                <a:gd name="T31" fmla="*/ 2147483647 h 54"/>
                <a:gd name="T32" fmla="*/ 2147483647 w 200"/>
                <a:gd name="T33" fmla="*/ 2147483647 h 54"/>
                <a:gd name="T34" fmla="*/ 2147483647 w 200"/>
                <a:gd name="T35" fmla="*/ 2147483647 h 54"/>
                <a:gd name="T36" fmla="*/ 2147483647 w 200"/>
                <a:gd name="T37" fmla="*/ 2147483647 h 54"/>
                <a:gd name="T38" fmla="*/ 2147483647 w 200"/>
                <a:gd name="T39" fmla="*/ 2147483647 h 54"/>
                <a:gd name="T40" fmla="*/ 2147483647 w 200"/>
                <a:gd name="T41" fmla="*/ 2147483647 h 54"/>
                <a:gd name="T42" fmla="*/ 2147483647 w 200"/>
                <a:gd name="T43" fmla="*/ 2147483647 h 54"/>
                <a:gd name="T44" fmla="*/ 2147483647 w 200"/>
                <a:gd name="T45" fmla="*/ 2147483647 h 54"/>
                <a:gd name="T46" fmla="*/ 2147483647 w 200"/>
                <a:gd name="T47" fmla="*/ 2147483647 h 54"/>
                <a:gd name="T48" fmla="*/ 0 w 200"/>
                <a:gd name="T49" fmla="*/ 2147483647 h 54"/>
                <a:gd name="T50" fmla="*/ 2147483647 w 200"/>
                <a:gd name="T51" fmla="*/ 0 h 54"/>
                <a:gd name="T52" fmla="*/ 2147483647 w 200"/>
                <a:gd name="T53" fmla="*/ 2147483647 h 54"/>
                <a:gd name="T54" fmla="*/ 2147483647 w 200"/>
                <a:gd name="T55" fmla="*/ 2147483647 h 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0"/>
                <a:gd name="T85" fmla="*/ 0 h 54"/>
                <a:gd name="T86" fmla="*/ 200 w 200"/>
                <a:gd name="T87" fmla="*/ 54 h 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0" h="54">
                  <a:moveTo>
                    <a:pt x="41" y="11"/>
                  </a:moveTo>
                  <a:lnTo>
                    <a:pt x="56" y="4"/>
                  </a:lnTo>
                  <a:lnTo>
                    <a:pt x="63" y="11"/>
                  </a:lnTo>
                  <a:lnTo>
                    <a:pt x="69" y="13"/>
                  </a:lnTo>
                  <a:lnTo>
                    <a:pt x="80" y="7"/>
                  </a:lnTo>
                  <a:lnTo>
                    <a:pt x="87" y="4"/>
                  </a:lnTo>
                  <a:lnTo>
                    <a:pt x="119" y="7"/>
                  </a:lnTo>
                  <a:lnTo>
                    <a:pt x="150" y="6"/>
                  </a:lnTo>
                  <a:lnTo>
                    <a:pt x="159" y="15"/>
                  </a:lnTo>
                  <a:lnTo>
                    <a:pt x="159" y="20"/>
                  </a:lnTo>
                  <a:lnTo>
                    <a:pt x="181" y="17"/>
                  </a:lnTo>
                  <a:lnTo>
                    <a:pt x="193" y="19"/>
                  </a:lnTo>
                  <a:lnTo>
                    <a:pt x="200" y="26"/>
                  </a:lnTo>
                  <a:lnTo>
                    <a:pt x="193" y="35"/>
                  </a:lnTo>
                  <a:lnTo>
                    <a:pt x="174" y="34"/>
                  </a:lnTo>
                  <a:lnTo>
                    <a:pt x="161" y="41"/>
                  </a:lnTo>
                  <a:lnTo>
                    <a:pt x="139" y="41"/>
                  </a:lnTo>
                  <a:lnTo>
                    <a:pt x="117" y="50"/>
                  </a:lnTo>
                  <a:lnTo>
                    <a:pt x="98" y="54"/>
                  </a:lnTo>
                  <a:lnTo>
                    <a:pt x="83" y="45"/>
                  </a:lnTo>
                  <a:lnTo>
                    <a:pt x="63" y="34"/>
                  </a:lnTo>
                  <a:lnTo>
                    <a:pt x="43" y="34"/>
                  </a:lnTo>
                  <a:lnTo>
                    <a:pt x="17" y="28"/>
                  </a:lnTo>
                  <a:lnTo>
                    <a:pt x="7" y="20"/>
                  </a:lnTo>
                  <a:lnTo>
                    <a:pt x="0" y="6"/>
                  </a:lnTo>
                  <a:lnTo>
                    <a:pt x="4" y="0"/>
                  </a:lnTo>
                  <a:lnTo>
                    <a:pt x="26" y="4"/>
                  </a:lnTo>
                  <a:lnTo>
                    <a:pt x="41" y="11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53" name="Freeform 31"/>
            <p:cNvSpPr>
              <a:spLocks noChangeAspect="1"/>
            </p:cNvSpPr>
            <p:nvPr>
              <p:custDataLst>
                <p:tags r:id="rId55"/>
              </p:custDataLst>
            </p:nvPr>
          </p:nvSpPr>
          <p:spPr bwMode="gray">
            <a:xfrm>
              <a:off x="2620963" y="5946775"/>
              <a:ext cx="28575" cy="23813"/>
            </a:xfrm>
            <a:custGeom>
              <a:avLst/>
              <a:gdLst>
                <a:gd name="T0" fmla="*/ 2147483647 w 30"/>
                <a:gd name="T1" fmla="*/ 0 h 28"/>
                <a:gd name="T2" fmla="*/ 2147483647 w 30"/>
                <a:gd name="T3" fmla="*/ 0 h 28"/>
                <a:gd name="T4" fmla="*/ 2147483647 w 30"/>
                <a:gd name="T5" fmla="*/ 2147483647 h 28"/>
                <a:gd name="T6" fmla="*/ 0 w 30"/>
                <a:gd name="T7" fmla="*/ 2147483647 h 28"/>
                <a:gd name="T8" fmla="*/ 0 w 30"/>
                <a:gd name="T9" fmla="*/ 2147483647 h 28"/>
                <a:gd name="T10" fmla="*/ 2147483647 w 30"/>
                <a:gd name="T11" fmla="*/ 2147483647 h 28"/>
                <a:gd name="T12" fmla="*/ 2147483647 w 30"/>
                <a:gd name="T13" fmla="*/ 2147483647 h 28"/>
                <a:gd name="T14" fmla="*/ 2147483647 w 30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0"/>
                <a:gd name="T25" fmla="*/ 0 h 28"/>
                <a:gd name="T26" fmla="*/ 30 w 30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0" h="28">
                  <a:moveTo>
                    <a:pt x="30" y="0"/>
                  </a:moveTo>
                  <a:lnTo>
                    <a:pt x="11" y="0"/>
                  </a:lnTo>
                  <a:lnTo>
                    <a:pt x="2" y="6"/>
                  </a:lnTo>
                  <a:lnTo>
                    <a:pt x="0" y="15"/>
                  </a:lnTo>
                  <a:lnTo>
                    <a:pt x="0" y="26"/>
                  </a:lnTo>
                  <a:lnTo>
                    <a:pt x="9" y="28"/>
                  </a:lnTo>
                  <a:lnTo>
                    <a:pt x="26" y="17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54" name="Freeform 32"/>
            <p:cNvSpPr>
              <a:spLocks noChangeAspect="1"/>
            </p:cNvSpPr>
            <p:nvPr>
              <p:custDataLst>
                <p:tags r:id="rId56"/>
              </p:custDataLst>
            </p:nvPr>
          </p:nvSpPr>
          <p:spPr bwMode="gray">
            <a:xfrm>
              <a:off x="2814638" y="6159500"/>
              <a:ext cx="38100" cy="20638"/>
            </a:xfrm>
            <a:custGeom>
              <a:avLst/>
              <a:gdLst>
                <a:gd name="T0" fmla="*/ 2147483647 w 42"/>
                <a:gd name="T1" fmla="*/ 2147483647 h 22"/>
                <a:gd name="T2" fmla="*/ 2147483647 w 42"/>
                <a:gd name="T3" fmla="*/ 2147483647 h 22"/>
                <a:gd name="T4" fmla="*/ 2147483647 w 42"/>
                <a:gd name="T5" fmla="*/ 2147483647 h 22"/>
                <a:gd name="T6" fmla="*/ 0 w 42"/>
                <a:gd name="T7" fmla="*/ 2147483647 h 22"/>
                <a:gd name="T8" fmla="*/ 2147483647 w 42"/>
                <a:gd name="T9" fmla="*/ 2147483647 h 22"/>
                <a:gd name="T10" fmla="*/ 2147483647 w 42"/>
                <a:gd name="T11" fmla="*/ 0 h 22"/>
                <a:gd name="T12" fmla="*/ 2147483647 w 42"/>
                <a:gd name="T13" fmla="*/ 2147483647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2"/>
                <a:gd name="T22" fmla="*/ 0 h 22"/>
                <a:gd name="T23" fmla="*/ 42 w 42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2" h="22">
                  <a:moveTo>
                    <a:pt x="42" y="6"/>
                  </a:moveTo>
                  <a:lnTo>
                    <a:pt x="23" y="22"/>
                  </a:lnTo>
                  <a:lnTo>
                    <a:pt x="9" y="22"/>
                  </a:lnTo>
                  <a:lnTo>
                    <a:pt x="0" y="15"/>
                  </a:lnTo>
                  <a:lnTo>
                    <a:pt x="6" y="2"/>
                  </a:lnTo>
                  <a:lnTo>
                    <a:pt x="27" y="0"/>
                  </a:lnTo>
                  <a:lnTo>
                    <a:pt x="42" y="6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55" name="Freeform 33"/>
            <p:cNvSpPr>
              <a:spLocks noChangeAspect="1"/>
            </p:cNvSpPr>
            <p:nvPr>
              <p:custDataLst>
                <p:tags r:id="rId57"/>
              </p:custDataLst>
            </p:nvPr>
          </p:nvSpPr>
          <p:spPr bwMode="gray">
            <a:xfrm>
              <a:off x="2817813" y="6202362"/>
              <a:ext cx="42862" cy="25400"/>
            </a:xfrm>
            <a:custGeom>
              <a:avLst/>
              <a:gdLst>
                <a:gd name="T0" fmla="*/ 2147483647 w 43"/>
                <a:gd name="T1" fmla="*/ 0 h 34"/>
                <a:gd name="T2" fmla="*/ 2147483647 w 43"/>
                <a:gd name="T3" fmla="*/ 2147483647 h 34"/>
                <a:gd name="T4" fmla="*/ 2147483647 w 43"/>
                <a:gd name="T5" fmla="*/ 2147483647 h 34"/>
                <a:gd name="T6" fmla="*/ 2147483647 w 43"/>
                <a:gd name="T7" fmla="*/ 2147483647 h 34"/>
                <a:gd name="T8" fmla="*/ 0 w 43"/>
                <a:gd name="T9" fmla="*/ 2147483647 h 34"/>
                <a:gd name="T10" fmla="*/ 2147483647 w 43"/>
                <a:gd name="T11" fmla="*/ 2147483647 h 34"/>
                <a:gd name="T12" fmla="*/ 2147483647 w 43"/>
                <a:gd name="T13" fmla="*/ 2147483647 h 34"/>
                <a:gd name="T14" fmla="*/ 2147483647 w 43"/>
                <a:gd name="T15" fmla="*/ 0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"/>
                <a:gd name="T25" fmla="*/ 0 h 34"/>
                <a:gd name="T26" fmla="*/ 43 w 43"/>
                <a:gd name="T27" fmla="*/ 34 h 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" h="34">
                  <a:moveTo>
                    <a:pt x="43" y="0"/>
                  </a:moveTo>
                  <a:lnTo>
                    <a:pt x="43" y="11"/>
                  </a:lnTo>
                  <a:lnTo>
                    <a:pt x="17" y="29"/>
                  </a:lnTo>
                  <a:lnTo>
                    <a:pt x="5" y="34"/>
                  </a:lnTo>
                  <a:lnTo>
                    <a:pt x="0" y="32"/>
                  </a:lnTo>
                  <a:lnTo>
                    <a:pt x="4" y="20"/>
                  </a:lnTo>
                  <a:lnTo>
                    <a:pt x="23" y="6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56" name="Freeform 34"/>
            <p:cNvSpPr>
              <a:spLocks noChangeAspect="1"/>
            </p:cNvSpPr>
            <p:nvPr>
              <p:custDataLst>
                <p:tags r:id="rId58"/>
              </p:custDataLst>
            </p:nvPr>
          </p:nvSpPr>
          <p:spPr bwMode="gray">
            <a:xfrm>
              <a:off x="2673350" y="5986462"/>
              <a:ext cx="50800" cy="30162"/>
            </a:xfrm>
            <a:custGeom>
              <a:avLst/>
              <a:gdLst>
                <a:gd name="T0" fmla="*/ 2147483647 w 52"/>
                <a:gd name="T1" fmla="*/ 0 h 37"/>
                <a:gd name="T2" fmla="*/ 2147483647 w 52"/>
                <a:gd name="T3" fmla="*/ 2147483647 h 37"/>
                <a:gd name="T4" fmla="*/ 2147483647 w 52"/>
                <a:gd name="T5" fmla="*/ 2147483647 h 37"/>
                <a:gd name="T6" fmla="*/ 2147483647 w 52"/>
                <a:gd name="T7" fmla="*/ 2147483647 h 37"/>
                <a:gd name="T8" fmla="*/ 2147483647 w 52"/>
                <a:gd name="T9" fmla="*/ 2147483647 h 37"/>
                <a:gd name="T10" fmla="*/ 2147483647 w 52"/>
                <a:gd name="T11" fmla="*/ 2147483647 h 37"/>
                <a:gd name="T12" fmla="*/ 2147483647 w 52"/>
                <a:gd name="T13" fmla="*/ 2147483647 h 37"/>
                <a:gd name="T14" fmla="*/ 2147483647 w 52"/>
                <a:gd name="T15" fmla="*/ 2147483647 h 37"/>
                <a:gd name="T16" fmla="*/ 2147483647 w 52"/>
                <a:gd name="T17" fmla="*/ 2147483647 h 37"/>
                <a:gd name="T18" fmla="*/ 2147483647 w 52"/>
                <a:gd name="T19" fmla="*/ 2147483647 h 37"/>
                <a:gd name="T20" fmla="*/ 2147483647 w 52"/>
                <a:gd name="T21" fmla="*/ 2147483647 h 37"/>
                <a:gd name="T22" fmla="*/ 0 w 52"/>
                <a:gd name="T23" fmla="*/ 2147483647 h 37"/>
                <a:gd name="T24" fmla="*/ 2147483647 w 52"/>
                <a:gd name="T25" fmla="*/ 2147483647 h 37"/>
                <a:gd name="T26" fmla="*/ 2147483647 w 52"/>
                <a:gd name="T27" fmla="*/ 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2"/>
                <a:gd name="T43" fmla="*/ 0 h 37"/>
                <a:gd name="T44" fmla="*/ 52 w 52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2" h="37">
                  <a:moveTo>
                    <a:pt x="28" y="0"/>
                  </a:moveTo>
                  <a:lnTo>
                    <a:pt x="52" y="26"/>
                  </a:lnTo>
                  <a:lnTo>
                    <a:pt x="48" y="33"/>
                  </a:lnTo>
                  <a:lnTo>
                    <a:pt x="35" y="37"/>
                  </a:lnTo>
                  <a:lnTo>
                    <a:pt x="33" y="28"/>
                  </a:lnTo>
                  <a:lnTo>
                    <a:pt x="28" y="24"/>
                  </a:lnTo>
                  <a:lnTo>
                    <a:pt x="20" y="28"/>
                  </a:lnTo>
                  <a:lnTo>
                    <a:pt x="11" y="22"/>
                  </a:lnTo>
                  <a:lnTo>
                    <a:pt x="7" y="17"/>
                  </a:lnTo>
                  <a:lnTo>
                    <a:pt x="13" y="13"/>
                  </a:lnTo>
                  <a:lnTo>
                    <a:pt x="2" y="19"/>
                  </a:lnTo>
                  <a:lnTo>
                    <a:pt x="0" y="13"/>
                  </a:lnTo>
                  <a:lnTo>
                    <a:pt x="15" y="7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57" name="Freeform 35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 bwMode="gray">
            <a:xfrm>
              <a:off x="2678113" y="5795962"/>
              <a:ext cx="190500" cy="141287"/>
            </a:xfrm>
            <a:custGeom>
              <a:avLst/>
              <a:gdLst>
                <a:gd name="T0" fmla="*/ 2147483647 w 200"/>
                <a:gd name="T1" fmla="*/ 2147483647 h 171"/>
                <a:gd name="T2" fmla="*/ 2147483647 w 200"/>
                <a:gd name="T3" fmla="*/ 2147483647 h 171"/>
                <a:gd name="T4" fmla="*/ 0 w 200"/>
                <a:gd name="T5" fmla="*/ 2147483647 h 171"/>
                <a:gd name="T6" fmla="*/ 2147483647 w 200"/>
                <a:gd name="T7" fmla="*/ 2147483647 h 171"/>
                <a:gd name="T8" fmla="*/ 2147483647 w 200"/>
                <a:gd name="T9" fmla="*/ 2147483647 h 171"/>
                <a:gd name="T10" fmla="*/ 2147483647 w 200"/>
                <a:gd name="T11" fmla="*/ 2147483647 h 171"/>
                <a:gd name="T12" fmla="*/ 2147483647 w 200"/>
                <a:gd name="T13" fmla="*/ 2147483647 h 171"/>
                <a:gd name="T14" fmla="*/ 2147483647 w 200"/>
                <a:gd name="T15" fmla="*/ 2147483647 h 171"/>
                <a:gd name="T16" fmla="*/ 2147483647 w 200"/>
                <a:gd name="T17" fmla="*/ 2147483647 h 171"/>
                <a:gd name="T18" fmla="*/ 2147483647 w 200"/>
                <a:gd name="T19" fmla="*/ 2147483647 h 171"/>
                <a:gd name="T20" fmla="*/ 2147483647 w 200"/>
                <a:gd name="T21" fmla="*/ 2147483647 h 171"/>
                <a:gd name="T22" fmla="*/ 2147483647 w 200"/>
                <a:gd name="T23" fmla="*/ 2147483647 h 171"/>
                <a:gd name="T24" fmla="*/ 2147483647 w 200"/>
                <a:gd name="T25" fmla="*/ 2147483647 h 171"/>
                <a:gd name="T26" fmla="*/ 2147483647 w 200"/>
                <a:gd name="T27" fmla="*/ 2147483647 h 171"/>
                <a:gd name="T28" fmla="*/ 2147483647 w 200"/>
                <a:gd name="T29" fmla="*/ 2147483647 h 171"/>
                <a:gd name="T30" fmla="*/ 2147483647 w 200"/>
                <a:gd name="T31" fmla="*/ 2147483647 h 171"/>
                <a:gd name="T32" fmla="*/ 2147483647 w 200"/>
                <a:gd name="T33" fmla="*/ 2147483647 h 171"/>
                <a:gd name="T34" fmla="*/ 2147483647 w 200"/>
                <a:gd name="T35" fmla="*/ 2147483647 h 171"/>
                <a:gd name="T36" fmla="*/ 2147483647 w 200"/>
                <a:gd name="T37" fmla="*/ 2147483647 h 171"/>
                <a:gd name="T38" fmla="*/ 2147483647 w 200"/>
                <a:gd name="T39" fmla="*/ 2147483647 h 171"/>
                <a:gd name="T40" fmla="*/ 2147483647 w 200"/>
                <a:gd name="T41" fmla="*/ 0 h 171"/>
                <a:gd name="T42" fmla="*/ 2147483647 w 200"/>
                <a:gd name="T43" fmla="*/ 2147483647 h 171"/>
                <a:gd name="T44" fmla="*/ 2147483647 w 200"/>
                <a:gd name="T45" fmla="*/ 2147483647 h 171"/>
                <a:gd name="T46" fmla="*/ 2147483647 w 200"/>
                <a:gd name="T47" fmla="*/ 2147483647 h 17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0"/>
                <a:gd name="T73" fmla="*/ 0 h 171"/>
                <a:gd name="T74" fmla="*/ 200 w 200"/>
                <a:gd name="T75" fmla="*/ 171 h 17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0" h="171">
                  <a:moveTo>
                    <a:pt x="35" y="28"/>
                  </a:moveTo>
                  <a:lnTo>
                    <a:pt x="32" y="71"/>
                  </a:lnTo>
                  <a:lnTo>
                    <a:pt x="0" y="117"/>
                  </a:lnTo>
                  <a:lnTo>
                    <a:pt x="7" y="126"/>
                  </a:lnTo>
                  <a:lnTo>
                    <a:pt x="43" y="123"/>
                  </a:lnTo>
                  <a:lnTo>
                    <a:pt x="26" y="143"/>
                  </a:lnTo>
                  <a:lnTo>
                    <a:pt x="19" y="151"/>
                  </a:lnTo>
                  <a:lnTo>
                    <a:pt x="22" y="171"/>
                  </a:lnTo>
                  <a:lnTo>
                    <a:pt x="50" y="139"/>
                  </a:lnTo>
                  <a:lnTo>
                    <a:pt x="67" y="130"/>
                  </a:lnTo>
                  <a:lnTo>
                    <a:pt x="97" y="91"/>
                  </a:lnTo>
                  <a:lnTo>
                    <a:pt x="132" y="71"/>
                  </a:lnTo>
                  <a:lnTo>
                    <a:pt x="187" y="69"/>
                  </a:lnTo>
                  <a:lnTo>
                    <a:pt x="200" y="63"/>
                  </a:lnTo>
                  <a:lnTo>
                    <a:pt x="198" y="52"/>
                  </a:lnTo>
                  <a:lnTo>
                    <a:pt x="172" y="30"/>
                  </a:lnTo>
                  <a:lnTo>
                    <a:pt x="158" y="32"/>
                  </a:lnTo>
                  <a:lnTo>
                    <a:pt x="154" y="26"/>
                  </a:lnTo>
                  <a:lnTo>
                    <a:pt x="139" y="26"/>
                  </a:lnTo>
                  <a:lnTo>
                    <a:pt x="117" y="2"/>
                  </a:lnTo>
                  <a:lnTo>
                    <a:pt x="93" y="0"/>
                  </a:lnTo>
                  <a:lnTo>
                    <a:pt x="71" y="6"/>
                  </a:lnTo>
                  <a:lnTo>
                    <a:pt x="52" y="15"/>
                  </a:lnTo>
                  <a:lnTo>
                    <a:pt x="35" y="28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58" name="Freeform 36"/>
            <p:cNvSpPr>
              <a:spLocks noChangeAspect="1"/>
            </p:cNvSpPr>
            <p:nvPr>
              <p:custDataLst>
                <p:tags r:id="rId60"/>
              </p:custDataLst>
            </p:nvPr>
          </p:nvSpPr>
          <p:spPr bwMode="gray">
            <a:xfrm>
              <a:off x="2027238" y="5572125"/>
              <a:ext cx="225425" cy="184150"/>
            </a:xfrm>
            <a:custGeom>
              <a:avLst/>
              <a:gdLst>
                <a:gd name="T0" fmla="*/ 2147483647 w 247"/>
                <a:gd name="T1" fmla="*/ 2147483647 h 215"/>
                <a:gd name="T2" fmla="*/ 2147483647 w 247"/>
                <a:gd name="T3" fmla="*/ 2147483647 h 215"/>
                <a:gd name="T4" fmla="*/ 2147483647 w 247"/>
                <a:gd name="T5" fmla="*/ 2147483647 h 215"/>
                <a:gd name="T6" fmla="*/ 2147483647 w 247"/>
                <a:gd name="T7" fmla="*/ 2147483647 h 215"/>
                <a:gd name="T8" fmla="*/ 2147483647 w 247"/>
                <a:gd name="T9" fmla="*/ 2147483647 h 215"/>
                <a:gd name="T10" fmla="*/ 2147483647 w 247"/>
                <a:gd name="T11" fmla="*/ 2147483647 h 215"/>
                <a:gd name="T12" fmla="*/ 2147483647 w 247"/>
                <a:gd name="T13" fmla="*/ 2147483647 h 215"/>
                <a:gd name="T14" fmla="*/ 2147483647 w 247"/>
                <a:gd name="T15" fmla="*/ 2147483647 h 215"/>
                <a:gd name="T16" fmla="*/ 2147483647 w 247"/>
                <a:gd name="T17" fmla="*/ 2147483647 h 215"/>
                <a:gd name="T18" fmla="*/ 2147483647 w 247"/>
                <a:gd name="T19" fmla="*/ 0 h 215"/>
                <a:gd name="T20" fmla="*/ 2147483647 w 247"/>
                <a:gd name="T21" fmla="*/ 2147483647 h 215"/>
                <a:gd name="T22" fmla="*/ 2147483647 w 247"/>
                <a:gd name="T23" fmla="*/ 2147483647 h 215"/>
                <a:gd name="T24" fmla="*/ 0 w 247"/>
                <a:gd name="T25" fmla="*/ 2147483647 h 215"/>
                <a:gd name="T26" fmla="*/ 0 w 247"/>
                <a:gd name="T27" fmla="*/ 2147483647 h 215"/>
                <a:gd name="T28" fmla="*/ 2147483647 w 247"/>
                <a:gd name="T29" fmla="*/ 2147483647 h 215"/>
                <a:gd name="T30" fmla="*/ 2147483647 w 247"/>
                <a:gd name="T31" fmla="*/ 2147483647 h 215"/>
                <a:gd name="T32" fmla="*/ 2147483647 w 247"/>
                <a:gd name="T33" fmla="*/ 2147483647 h 215"/>
                <a:gd name="T34" fmla="*/ 2147483647 w 247"/>
                <a:gd name="T35" fmla="*/ 2147483647 h 215"/>
                <a:gd name="T36" fmla="*/ 2147483647 w 247"/>
                <a:gd name="T37" fmla="*/ 2147483647 h 215"/>
                <a:gd name="T38" fmla="*/ 2147483647 w 247"/>
                <a:gd name="T39" fmla="*/ 2147483647 h 215"/>
                <a:gd name="T40" fmla="*/ 2147483647 w 247"/>
                <a:gd name="T41" fmla="*/ 2147483647 h 215"/>
                <a:gd name="T42" fmla="*/ 2147483647 w 247"/>
                <a:gd name="T43" fmla="*/ 2147483647 h 215"/>
                <a:gd name="T44" fmla="*/ 2147483647 w 247"/>
                <a:gd name="T45" fmla="*/ 2147483647 h 215"/>
                <a:gd name="T46" fmla="*/ 2147483647 w 247"/>
                <a:gd name="T47" fmla="*/ 2147483647 h 215"/>
                <a:gd name="T48" fmla="*/ 2147483647 w 247"/>
                <a:gd name="T49" fmla="*/ 2147483647 h 215"/>
                <a:gd name="T50" fmla="*/ 2147483647 w 247"/>
                <a:gd name="T51" fmla="*/ 2147483647 h 215"/>
                <a:gd name="T52" fmla="*/ 2147483647 w 247"/>
                <a:gd name="T53" fmla="*/ 2147483647 h 215"/>
                <a:gd name="T54" fmla="*/ 2147483647 w 247"/>
                <a:gd name="T55" fmla="*/ 2147483647 h 215"/>
                <a:gd name="T56" fmla="*/ 2147483647 w 247"/>
                <a:gd name="T57" fmla="*/ 2147483647 h 215"/>
                <a:gd name="T58" fmla="*/ 2147483647 w 247"/>
                <a:gd name="T59" fmla="*/ 2147483647 h 215"/>
                <a:gd name="T60" fmla="*/ 2147483647 w 247"/>
                <a:gd name="T61" fmla="*/ 2147483647 h 215"/>
                <a:gd name="T62" fmla="*/ 2147483647 w 247"/>
                <a:gd name="T63" fmla="*/ 2147483647 h 215"/>
                <a:gd name="T64" fmla="*/ 2147483647 w 247"/>
                <a:gd name="T65" fmla="*/ 2147483647 h 215"/>
                <a:gd name="T66" fmla="*/ 2147483647 w 247"/>
                <a:gd name="T67" fmla="*/ 2147483647 h 21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7"/>
                <a:gd name="T103" fmla="*/ 0 h 215"/>
                <a:gd name="T104" fmla="*/ 247 w 247"/>
                <a:gd name="T105" fmla="*/ 215 h 21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7" h="215">
                  <a:moveTo>
                    <a:pt x="228" y="30"/>
                  </a:moveTo>
                  <a:lnTo>
                    <a:pt x="216" y="30"/>
                  </a:lnTo>
                  <a:lnTo>
                    <a:pt x="202" y="21"/>
                  </a:lnTo>
                  <a:lnTo>
                    <a:pt x="184" y="13"/>
                  </a:lnTo>
                  <a:lnTo>
                    <a:pt x="163" y="23"/>
                  </a:lnTo>
                  <a:lnTo>
                    <a:pt x="143" y="18"/>
                  </a:lnTo>
                  <a:lnTo>
                    <a:pt x="125" y="26"/>
                  </a:lnTo>
                  <a:lnTo>
                    <a:pt x="124" y="18"/>
                  </a:lnTo>
                  <a:lnTo>
                    <a:pt x="108" y="18"/>
                  </a:lnTo>
                  <a:lnTo>
                    <a:pt x="90" y="0"/>
                  </a:lnTo>
                  <a:lnTo>
                    <a:pt x="61" y="29"/>
                  </a:lnTo>
                  <a:lnTo>
                    <a:pt x="18" y="16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47" y="76"/>
                  </a:lnTo>
                  <a:lnTo>
                    <a:pt x="58" y="106"/>
                  </a:lnTo>
                  <a:lnTo>
                    <a:pt x="83" y="124"/>
                  </a:lnTo>
                  <a:lnTo>
                    <a:pt x="94" y="121"/>
                  </a:lnTo>
                  <a:lnTo>
                    <a:pt x="155" y="182"/>
                  </a:lnTo>
                  <a:lnTo>
                    <a:pt x="159" y="196"/>
                  </a:lnTo>
                  <a:lnTo>
                    <a:pt x="155" y="205"/>
                  </a:lnTo>
                  <a:lnTo>
                    <a:pt x="159" y="215"/>
                  </a:lnTo>
                  <a:lnTo>
                    <a:pt x="177" y="206"/>
                  </a:lnTo>
                  <a:lnTo>
                    <a:pt x="191" y="201"/>
                  </a:lnTo>
                  <a:lnTo>
                    <a:pt x="191" y="181"/>
                  </a:lnTo>
                  <a:lnTo>
                    <a:pt x="208" y="167"/>
                  </a:lnTo>
                  <a:lnTo>
                    <a:pt x="216" y="153"/>
                  </a:lnTo>
                  <a:lnTo>
                    <a:pt x="234" y="146"/>
                  </a:lnTo>
                  <a:lnTo>
                    <a:pt x="238" y="128"/>
                  </a:lnTo>
                  <a:lnTo>
                    <a:pt x="234" y="112"/>
                  </a:lnTo>
                  <a:lnTo>
                    <a:pt x="244" y="105"/>
                  </a:lnTo>
                  <a:lnTo>
                    <a:pt x="233" y="85"/>
                  </a:lnTo>
                  <a:lnTo>
                    <a:pt x="247" y="51"/>
                  </a:lnTo>
                  <a:lnTo>
                    <a:pt x="228" y="3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59" name="Freeform 37"/>
            <p:cNvSpPr>
              <a:spLocks noChangeAspect="1"/>
            </p:cNvSpPr>
            <p:nvPr>
              <p:custDataLst>
                <p:tags r:id="rId61"/>
              </p:custDataLst>
            </p:nvPr>
          </p:nvSpPr>
          <p:spPr bwMode="gray">
            <a:xfrm>
              <a:off x="2238375" y="5781675"/>
              <a:ext cx="146050" cy="201613"/>
            </a:xfrm>
            <a:custGeom>
              <a:avLst/>
              <a:gdLst>
                <a:gd name="T0" fmla="*/ 2147483647 w 149"/>
                <a:gd name="T1" fmla="*/ 2147483647 h 248"/>
                <a:gd name="T2" fmla="*/ 2147483647 w 149"/>
                <a:gd name="T3" fmla="*/ 2147483647 h 248"/>
                <a:gd name="T4" fmla="*/ 2147483647 w 149"/>
                <a:gd name="T5" fmla="*/ 2147483647 h 248"/>
                <a:gd name="T6" fmla="*/ 2147483647 w 149"/>
                <a:gd name="T7" fmla="*/ 2147483647 h 248"/>
                <a:gd name="T8" fmla="*/ 2147483647 w 149"/>
                <a:gd name="T9" fmla="*/ 2147483647 h 248"/>
                <a:gd name="T10" fmla="*/ 2147483647 w 149"/>
                <a:gd name="T11" fmla="*/ 2147483647 h 248"/>
                <a:gd name="T12" fmla="*/ 2147483647 w 149"/>
                <a:gd name="T13" fmla="*/ 2147483647 h 248"/>
                <a:gd name="T14" fmla="*/ 2147483647 w 149"/>
                <a:gd name="T15" fmla="*/ 2147483647 h 248"/>
                <a:gd name="T16" fmla="*/ 2147483647 w 149"/>
                <a:gd name="T17" fmla="*/ 2147483647 h 248"/>
                <a:gd name="T18" fmla="*/ 0 w 149"/>
                <a:gd name="T19" fmla="*/ 2147483647 h 248"/>
                <a:gd name="T20" fmla="*/ 2147483647 w 149"/>
                <a:gd name="T21" fmla="*/ 2147483647 h 248"/>
                <a:gd name="T22" fmla="*/ 2147483647 w 149"/>
                <a:gd name="T23" fmla="*/ 2147483647 h 248"/>
                <a:gd name="T24" fmla="*/ 2147483647 w 149"/>
                <a:gd name="T25" fmla="*/ 2147483647 h 248"/>
                <a:gd name="T26" fmla="*/ 2147483647 w 149"/>
                <a:gd name="T27" fmla="*/ 2147483647 h 248"/>
                <a:gd name="T28" fmla="*/ 2147483647 w 149"/>
                <a:gd name="T29" fmla="*/ 2147483647 h 248"/>
                <a:gd name="T30" fmla="*/ 2147483647 w 149"/>
                <a:gd name="T31" fmla="*/ 2147483647 h 248"/>
                <a:gd name="T32" fmla="*/ 2147483647 w 149"/>
                <a:gd name="T33" fmla="*/ 2147483647 h 248"/>
                <a:gd name="T34" fmla="*/ 2147483647 w 149"/>
                <a:gd name="T35" fmla="*/ 2147483647 h 248"/>
                <a:gd name="T36" fmla="*/ 2147483647 w 149"/>
                <a:gd name="T37" fmla="*/ 2147483647 h 248"/>
                <a:gd name="T38" fmla="*/ 2147483647 w 149"/>
                <a:gd name="T39" fmla="*/ 2147483647 h 248"/>
                <a:gd name="T40" fmla="*/ 2147483647 w 149"/>
                <a:gd name="T41" fmla="*/ 2147483647 h 248"/>
                <a:gd name="T42" fmla="*/ 2147483647 w 149"/>
                <a:gd name="T43" fmla="*/ 2147483647 h 248"/>
                <a:gd name="T44" fmla="*/ 2147483647 w 149"/>
                <a:gd name="T45" fmla="*/ 2147483647 h 248"/>
                <a:gd name="T46" fmla="*/ 2147483647 w 149"/>
                <a:gd name="T47" fmla="*/ 2147483647 h 248"/>
                <a:gd name="T48" fmla="*/ 2147483647 w 149"/>
                <a:gd name="T49" fmla="*/ 2147483647 h 248"/>
                <a:gd name="T50" fmla="*/ 2147483647 w 149"/>
                <a:gd name="T51" fmla="*/ 2147483647 h 248"/>
                <a:gd name="T52" fmla="*/ 2147483647 w 149"/>
                <a:gd name="T53" fmla="*/ 2147483647 h 248"/>
                <a:gd name="T54" fmla="*/ 2147483647 w 149"/>
                <a:gd name="T55" fmla="*/ 2147483647 h 248"/>
                <a:gd name="T56" fmla="*/ 2147483647 w 149"/>
                <a:gd name="T57" fmla="*/ 2147483647 h 248"/>
                <a:gd name="T58" fmla="*/ 2147483647 w 149"/>
                <a:gd name="T59" fmla="*/ 2147483647 h 248"/>
                <a:gd name="T60" fmla="*/ 2147483647 w 149"/>
                <a:gd name="T61" fmla="*/ 2147483647 h 248"/>
                <a:gd name="T62" fmla="*/ 2147483647 w 149"/>
                <a:gd name="T63" fmla="*/ 2147483647 h 248"/>
                <a:gd name="T64" fmla="*/ 2147483647 w 149"/>
                <a:gd name="T65" fmla="*/ 2147483647 h 248"/>
                <a:gd name="T66" fmla="*/ 2147483647 w 149"/>
                <a:gd name="T67" fmla="*/ 2147483647 h 248"/>
                <a:gd name="T68" fmla="*/ 2147483647 w 149"/>
                <a:gd name="T69" fmla="*/ 2147483647 h 248"/>
                <a:gd name="T70" fmla="*/ 2147483647 w 149"/>
                <a:gd name="T71" fmla="*/ 2147483647 h 248"/>
                <a:gd name="T72" fmla="*/ 2147483647 w 149"/>
                <a:gd name="T73" fmla="*/ 2147483647 h 248"/>
                <a:gd name="T74" fmla="*/ 2147483647 w 149"/>
                <a:gd name="T75" fmla="*/ 2147483647 h 248"/>
                <a:gd name="T76" fmla="*/ 2147483647 w 149"/>
                <a:gd name="T77" fmla="*/ 2147483647 h 248"/>
                <a:gd name="T78" fmla="*/ 2147483647 w 149"/>
                <a:gd name="T79" fmla="*/ 2147483647 h 248"/>
                <a:gd name="T80" fmla="*/ 2147483647 w 149"/>
                <a:gd name="T81" fmla="*/ 2147483647 h 248"/>
                <a:gd name="T82" fmla="*/ 2147483647 w 149"/>
                <a:gd name="T83" fmla="*/ 2147483647 h 248"/>
                <a:gd name="T84" fmla="*/ 2147483647 w 149"/>
                <a:gd name="T85" fmla="*/ 2147483647 h 248"/>
                <a:gd name="T86" fmla="*/ 2147483647 w 149"/>
                <a:gd name="T87" fmla="*/ 0 h 248"/>
                <a:gd name="T88" fmla="*/ 2147483647 w 149"/>
                <a:gd name="T89" fmla="*/ 2147483647 h 248"/>
                <a:gd name="T90" fmla="*/ 2147483647 w 149"/>
                <a:gd name="T91" fmla="*/ 2147483647 h 248"/>
                <a:gd name="T92" fmla="*/ 2147483647 w 149"/>
                <a:gd name="T93" fmla="*/ 2147483647 h 248"/>
                <a:gd name="T94" fmla="*/ 2147483647 w 149"/>
                <a:gd name="T95" fmla="*/ 0 h 248"/>
                <a:gd name="T96" fmla="*/ 2147483647 w 149"/>
                <a:gd name="T97" fmla="*/ 2147483647 h 248"/>
                <a:gd name="T98" fmla="*/ 2147483647 w 149"/>
                <a:gd name="T99" fmla="*/ 2147483647 h 248"/>
                <a:gd name="T100" fmla="*/ 2147483647 w 149"/>
                <a:gd name="T101" fmla="*/ 2147483647 h 248"/>
                <a:gd name="T102" fmla="*/ 2147483647 w 149"/>
                <a:gd name="T103" fmla="*/ 2147483647 h 24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49"/>
                <a:gd name="T157" fmla="*/ 0 h 248"/>
                <a:gd name="T158" fmla="*/ 149 w 149"/>
                <a:gd name="T159" fmla="*/ 248 h 24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49" h="248">
                  <a:moveTo>
                    <a:pt x="11" y="56"/>
                  </a:moveTo>
                  <a:lnTo>
                    <a:pt x="20" y="63"/>
                  </a:lnTo>
                  <a:lnTo>
                    <a:pt x="20" y="74"/>
                  </a:lnTo>
                  <a:lnTo>
                    <a:pt x="19" y="81"/>
                  </a:lnTo>
                  <a:lnTo>
                    <a:pt x="13" y="91"/>
                  </a:lnTo>
                  <a:lnTo>
                    <a:pt x="13" y="115"/>
                  </a:lnTo>
                  <a:lnTo>
                    <a:pt x="17" y="124"/>
                  </a:lnTo>
                  <a:lnTo>
                    <a:pt x="4" y="144"/>
                  </a:lnTo>
                  <a:lnTo>
                    <a:pt x="7" y="148"/>
                  </a:lnTo>
                  <a:lnTo>
                    <a:pt x="0" y="159"/>
                  </a:lnTo>
                  <a:lnTo>
                    <a:pt x="6" y="170"/>
                  </a:lnTo>
                  <a:lnTo>
                    <a:pt x="7" y="178"/>
                  </a:lnTo>
                  <a:lnTo>
                    <a:pt x="11" y="168"/>
                  </a:lnTo>
                  <a:lnTo>
                    <a:pt x="22" y="181"/>
                  </a:lnTo>
                  <a:lnTo>
                    <a:pt x="20" y="194"/>
                  </a:lnTo>
                  <a:lnTo>
                    <a:pt x="15" y="200"/>
                  </a:lnTo>
                  <a:lnTo>
                    <a:pt x="22" y="211"/>
                  </a:lnTo>
                  <a:lnTo>
                    <a:pt x="31" y="215"/>
                  </a:lnTo>
                  <a:lnTo>
                    <a:pt x="47" y="224"/>
                  </a:lnTo>
                  <a:lnTo>
                    <a:pt x="60" y="235"/>
                  </a:lnTo>
                  <a:lnTo>
                    <a:pt x="62" y="242"/>
                  </a:lnTo>
                  <a:lnTo>
                    <a:pt x="77" y="248"/>
                  </a:lnTo>
                  <a:lnTo>
                    <a:pt x="90" y="242"/>
                  </a:lnTo>
                  <a:lnTo>
                    <a:pt x="106" y="233"/>
                  </a:lnTo>
                  <a:lnTo>
                    <a:pt x="114" y="217"/>
                  </a:lnTo>
                  <a:lnTo>
                    <a:pt x="121" y="207"/>
                  </a:lnTo>
                  <a:lnTo>
                    <a:pt x="134" y="183"/>
                  </a:lnTo>
                  <a:lnTo>
                    <a:pt x="138" y="165"/>
                  </a:lnTo>
                  <a:lnTo>
                    <a:pt x="140" y="148"/>
                  </a:lnTo>
                  <a:lnTo>
                    <a:pt x="149" y="137"/>
                  </a:lnTo>
                  <a:lnTo>
                    <a:pt x="134" y="133"/>
                  </a:lnTo>
                  <a:lnTo>
                    <a:pt x="129" y="126"/>
                  </a:lnTo>
                  <a:lnTo>
                    <a:pt x="121" y="128"/>
                  </a:lnTo>
                  <a:lnTo>
                    <a:pt x="108" y="122"/>
                  </a:lnTo>
                  <a:lnTo>
                    <a:pt x="105" y="105"/>
                  </a:lnTo>
                  <a:lnTo>
                    <a:pt x="101" y="93"/>
                  </a:lnTo>
                  <a:lnTo>
                    <a:pt x="108" y="80"/>
                  </a:lnTo>
                  <a:lnTo>
                    <a:pt x="108" y="41"/>
                  </a:lnTo>
                  <a:lnTo>
                    <a:pt x="108" y="28"/>
                  </a:lnTo>
                  <a:lnTo>
                    <a:pt x="101" y="20"/>
                  </a:lnTo>
                  <a:lnTo>
                    <a:pt x="88" y="19"/>
                  </a:lnTo>
                  <a:lnTo>
                    <a:pt x="79" y="15"/>
                  </a:lnTo>
                  <a:lnTo>
                    <a:pt x="71" y="2"/>
                  </a:lnTo>
                  <a:lnTo>
                    <a:pt x="62" y="0"/>
                  </a:lnTo>
                  <a:lnTo>
                    <a:pt x="58" y="6"/>
                  </a:lnTo>
                  <a:lnTo>
                    <a:pt x="57" y="2"/>
                  </a:lnTo>
                  <a:lnTo>
                    <a:pt x="41" y="4"/>
                  </a:lnTo>
                  <a:lnTo>
                    <a:pt x="33" y="0"/>
                  </a:lnTo>
                  <a:lnTo>
                    <a:pt x="22" y="7"/>
                  </a:lnTo>
                  <a:lnTo>
                    <a:pt x="20" y="30"/>
                  </a:lnTo>
                  <a:lnTo>
                    <a:pt x="17" y="44"/>
                  </a:lnTo>
                  <a:lnTo>
                    <a:pt x="11" y="56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60" name="Freeform 38"/>
            <p:cNvSpPr>
              <a:spLocks noChangeAspect="1"/>
            </p:cNvSpPr>
            <p:nvPr>
              <p:custDataLst>
                <p:tags r:id="rId62"/>
              </p:custDataLst>
            </p:nvPr>
          </p:nvSpPr>
          <p:spPr bwMode="gray">
            <a:xfrm>
              <a:off x="2171700" y="5521325"/>
              <a:ext cx="311150" cy="311150"/>
            </a:xfrm>
            <a:custGeom>
              <a:avLst/>
              <a:gdLst>
                <a:gd name="T0" fmla="*/ 2147483647 w 328"/>
                <a:gd name="T1" fmla="*/ 2147483647 h 388"/>
                <a:gd name="T2" fmla="*/ 2147483647 w 328"/>
                <a:gd name="T3" fmla="*/ 2147483647 h 388"/>
                <a:gd name="T4" fmla="*/ 2147483647 w 328"/>
                <a:gd name="T5" fmla="*/ 2147483647 h 388"/>
                <a:gd name="T6" fmla="*/ 2147483647 w 328"/>
                <a:gd name="T7" fmla="*/ 2147483647 h 388"/>
                <a:gd name="T8" fmla="*/ 2147483647 w 328"/>
                <a:gd name="T9" fmla="*/ 2147483647 h 388"/>
                <a:gd name="T10" fmla="*/ 2147483647 w 328"/>
                <a:gd name="T11" fmla="*/ 2147483647 h 388"/>
                <a:gd name="T12" fmla="*/ 2147483647 w 328"/>
                <a:gd name="T13" fmla="*/ 2147483647 h 388"/>
                <a:gd name="T14" fmla="*/ 2147483647 w 328"/>
                <a:gd name="T15" fmla="*/ 2147483647 h 388"/>
                <a:gd name="T16" fmla="*/ 2147483647 w 328"/>
                <a:gd name="T17" fmla="*/ 2147483647 h 388"/>
                <a:gd name="T18" fmla="*/ 2147483647 w 328"/>
                <a:gd name="T19" fmla="*/ 2147483647 h 388"/>
                <a:gd name="T20" fmla="*/ 2147483647 w 328"/>
                <a:gd name="T21" fmla="*/ 2147483647 h 388"/>
                <a:gd name="T22" fmla="*/ 2147483647 w 328"/>
                <a:gd name="T23" fmla="*/ 2147483647 h 388"/>
                <a:gd name="T24" fmla="*/ 2147483647 w 328"/>
                <a:gd name="T25" fmla="*/ 2147483647 h 388"/>
                <a:gd name="T26" fmla="*/ 2147483647 w 328"/>
                <a:gd name="T27" fmla="*/ 2147483647 h 388"/>
                <a:gd name="T28" fmla="*/ 2147483647 w 328"/>
                <a:gd name="T29" fmla="*/ 2147483647 h 388"/>
                <a:gd name="T30" fmla="*/ 2147483647 w 328"/>
                <a:gd name="T31" fmla="*/ 2147483647 h 388"/>
                <a:gd name="T32" fmla="*/ 2147483647 w 328"/>
                <a:gd name="T33" fmla="*/ 2147483647 h 388"/>
                <a:gd name="T34" fmla="*/ 2147483647 w 328"/>
                <a:gd name="T35" fmla="*/ 2147483647 h 388"/>
                <a:gd name="T36" fmla="*/ 2147483647 w 328"/>
                <a:gd name="T37" fmla="*/ 2147483647 h 388"/>
                <a:gd name="T38" fmla="*/ 2147483647 w 328"/>
                <a:gd name="T39" fmla="*/ 2147483647 h 388"/>
                <a:gd name="T40" fmla="*/ 2147483647 w 328"/>
                <a:gd name="T41" fmla="*/ 2147483647 h 388"/>
                <a:gd name="T42" fmla="*/ 2147483647 w 328"/>
                <a:gd name="T43" fmla="*/ 2147483647 h 388"/>
                <a:gd name="T44" fmla="*/ 2147483647 w 328"/>
                <a:gd name="T45" fmla="*/ 2147483647 h 388"/>
                <a:gd name="T46" fmla="*/ 2147483647 w 328"/>
                <a:gd name="T47" fmla="*/ 2147483647 h 388"/>
                <a:gd name="T48" fmla="*/ 2147483647 w 328"/>
                <a:gd name="T49" fmla="*/ 2147483647 h 388"/>
                <a:gd name="T50" fmla="*/ 2147483647 w 328"/>
                <a:gd name="T51" fmla="*/ 2147483647 h 388"/>
                <a:gd name="T52" fmla="*/ 2147483647 w 328"/>
                <a:gd name="T53" fmla="*/ 2147483647 h 388"/>
                <a:gd name="T54" fmla="*/ 2147483647 w 328"/>
                <a:gd name="T55" fmla="*/ 2147483647 h 388"/>
                <a:gd name="T56" fmla="*/ 2147483647 w 328"/>
                <a:gd name="T57" fmla="*/ 2147483647 h 388"/>
                <a:gd name="T58" fmla="*/ 2147483647 w 328"/>
                <a:gd name="T59" fmla="*/ 2147483647 h 388"/>
                <a:gd name="T60" fmla="*/ 2147483647 w 328"/>
                <a:gd name="T61" fmla="*/ 2147483647 h 388"/>
                <a:gd name="T62" fmla="*/ 2147483647 w 328"/>
                <a:gd name="T63" fmla="*/ 2147483647 h 388"/>
                <a:gd name="T64" fmla="*/ 2147483647 w 328"/>
                <a:gd name="T65" fmla="*/ 2147483647 h 3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28"/>
                <a:gd name="T100" fmla="*/ 0 h 388"/>
                <a:gd name="T101" fmla="*/ 328 w 328"/>
                <a:gd name="T102" fmla="*/ 388 h 3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28" h="388">
                  <a:moveTo>
                    <a:pt x="55" y="27"/>
                  </a:moveTo>
                  <a:lnTo>
                    <a:pt x="121" y="3"/>
                  </a:lnTo>
                  <a:lnTo>
                    <a:pt x="151" y="0"/>
                  </a:lnTo>
                  <a:lnTo>
                    <a:pt x="169" y="1"/>
                  </a:lnTo>
                  <a:lnTo>
                    <a:pt x="176" y="6"/>
                  </a:lnTo>
                  <a:lnTo>
                    <a:pt x="181" y="12"/>
                  </a:lnTo>
                  <a:lnTo>
                    <a:pt x="182" y="19"/>
                  </a:lnTo>
                  <a:lnTo>
                    <a:pt x="188" y="21"/>
                  </a:lnTo>
                  <a:lnTo>
                    <a:pt x="196" y="36"/>
                  </a:lnTo>
                  <a:lnTo>
                    <a:pt x="197" y="58"/>
                  </a:lnTo>
                  <a:lnTo>
                    <a:pt x="205" y="66"/>
                  </a:lnTo>
                  <a:lnTo>
                    <a:pt x="224" y="66"/>
                  </a:lnTo>
                  <a:lnTo>
                    <a:pt x="236" y="97"/>
                  </a:lnTo>
                  <a:lnTo>
                    <a:pt x="236" y="118"/>
                  </a:lnTo>
                  <a:lnTo>
                    <a:pt x="244" y="132"/>
                  </a:lnTo>
                  <a:lnTo>
                    <a:pt x="253" y="132"/>
                  </a:lnTo>
                  <a:lnTo>
                    <a:pt x="272" y="118"/>
                  </a:lnTo>
                  <a:lnTo>
                    <a:pt x="283" y="127"/>
                  </a:lnTo>
                  <a:lnTo>
                    <a:pt x="284" y="145"/>
                  </a:lnTo>
                  <a:lnTo>
                    <a:pt x="304" y="156"/>
                  </a:lnTo>
                  <a:lnTo>
                    <a:pt x="301" y="175"/>
                  </a:lnTo>
                  <a:lnTo>
                    <a:pt x="302" y="180"/>
                  </a:lnTo>
                  <a:lnTo>
                    <a:pt x="305" y="183"/>
                  </a:lnTo>
                  <a:lnTo>
                    <a:pt x="298" y="193"/>
                  </a:lnTo>
                  <a:lnTo>
                    <a:pt x="296" y="205"/>
                  </a:lnTo>
                  <a:lnTo>
                    <a:pt x="307" y="229"/>
                  </a:lnTo>
                  <a:lnTo>
                    <a:pt x="323" y="232"/>
                  </a:lnTo>
                  <a:lnTo>
                    <a:pt x="328" y="244"/>
                  </a:lnTo>
                  <a:lnTo>
                    <a:pt x="323" y="268"/>
                  </a:lnTo>
                  <a:lnTo>
                    <a:pt x="299" y="290"/>
                  </a:lnTo>
                  <a:lnTo>
                    <a:pt x="305" y="328"/>
                  </a:lnTo>
                  <a:lnTo>
                    <a:pt x="296" y="344"/>
                  </a:lnTo>
                  <a:lnTo>
                    <a:pt x="302" y="362"/>
                  </a:lnTo>
                  <a:lnTo>
                    <a:pt x="272" y="356"/>
                  </a:lnTo>
                  <a:lnTo>
                    <a:pt x="257" y="362"/>
                  </a:lnTo>
                  <a:lnTo>
                    <a:pt x="242" y="362"/>
                  </a:lnTo>
                  <a:lnTo>
                    <a:pt x="224" y="367"/>
                  </a:lnTo>
                  <a:lnTo>
                    <a:pt x="206" y="370"/>
                  </a:lnTo>
                  <a:lnTo>
                    <a:pt x="178" y="388"/>
                  </a:lnTo>
                  <a:lnTo>
                    <a:pt x="179" y="353"/>
                  </a:lnTo>
                  <a:lnTo>
                    <a:pt x="173" y="344"/>
                  </a:lnTo>
                  <a:lnTo>
                    <a:pt x="154" y="341"/>
                  </a:lnTo>
                  <a:lnTo>
                    <a:pt x="148" y="326"/>
                  </a:lnTo>
                  <a:lnTo>
                    <a:pt x="136" y="325"/>
                  </a:lnTo>
                  <a:lnTo>
                    <a:pt x="131" y="329"/>
                  </a:lnTo>
                  <a:lnTo>
                    <a:pt x="105" y="325"/>
                  </a:lnTo>
                  <a:lnTo>
                    <a:pt x="96" y="332"/>
                  </a:lnTo>
                  <a:lnTo>
                    <a:pt x="91" y="359"/>
                  </a:lnTo>
                  <a:lnTo>
                    <a:pt x="81" y="380"/>
                  </a:lnTo>
                  <a:lnTo>
                    <a:pt x="13" y="320"/>
                  </a:lnTo>
                  <a:lnTo>
                    <a:pt x="0" y="292"/>
                  </a:lnTo>
                  <a:lnTo>
                    <a:pt x="18" y="284"/>
                  </a:lnTo>
                  <a:lnTo>
                    <a:pt x="33" y="276"/>
                  </a:lnTo>
                  <a:lnTo>
                    <a:pt x="33" y="253"/>
                  </a:lnTo>
                  <a:lnTo>
                    <a:pt x="48" y="244"/>
                  </a:lnTo>
                  <a:lnTo>
                    <a:pt x="55" y="228"/>
                  </a:lnTo>
                  <a:lnTo>
                    <a:pt x="72" y="217"/>
                  </a:lnTo>
                  <a:lnTo>
                    <a:pt x="75" y="202"/>
                  </a:lnTo>
                  <a:lnTo>
                    <a:pt x="73" y="186"/>
                  </a:lnTo>
                  <a:lnTo>
                    <a:pt x="84" y="177"/>
                  </a:lnTo>
                  <a:lnTo>
                    <a:pt x="69" y="154"/>
                  </a:lnTo>
                  <a:lnTo>
                    <a:pt x="85" y="123"/>
                  </a:lnTo>
                  <a:lnTo>
                    <a:pt x="67" y="102"/>
                  </a:lnTo>
                  <a:lnTo>
                    <a:pt x="72" y="79"/>
                  </a:lnTo>
                  <a:lnTo>
                    <a:pt x="55" y="58"/>
                  </a:lnTo>
                  <a:lnTo>
                    <a:pt x="55" y="27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61" name="Freeform 39"/>
            <p:cNvSpPr>
              <a:spLocks noChangeAspect="1"/>
            </p:cNvSpPr>
            <p:nvPr>
              <p:custDataLst>
                <p:tags r:id="rId63"/>
              </p:custDataLst>
            </p:nvPr>
          </p:nvSpPr>
          <p:spPr bwMode="gray">
            <a:xfrm>
              <a:off x="2371725" y="4586287"/>
              <a:ext cx="42863" cy="28575"/>
            </a:xfrm>
            <a:custGeom>
              <a:avLst/>
              <a:gdLst>
                <a:gd name="T0" fmla="*/ 2147483647 w 44"/>
                <a:gd name="T1" fmla="*/ 0 h 37"/>
                <a:gd name="T2" fmla="*/ 2147483647 w 44"/>
                <a:gd name="T3" fmla="*/ 2147483647 h 37"/>
                <a:gd name="T4" fmla="*/ 0 w 44"/>
                <a:gd name="T5" fmla="*/ 2147483647 h 37"/>
                <a:gd name="T6" fmla="*/ 2147483647 w 44"/>
                <a:gd name="T7" fmla="*/ 2147483647 h 37"/>
                <a:gd name="T8" fmla="*/ 2147483647 w 44"/>
                <a:gd name="T9" fmla="*/ 2147483647 h 37"/>
                <a:gd name="T10" fmla="*/ 2147483647 w 44"/>
                <a:gd name="T11" fmla="*/ 2147483647 h 37"/>
                <a:gd name="T12" fmla="*/ 2147483647 w 44"/>
                <a:gd name="T13" fmla="*/ 2147483647 h 37"/>
                <a:gd name="T14" fmla="*/ 2147483647 w 44"/>
                <a:gd name="T15" fmla="*/ 2147483647 h 37"/>
                <a:gd name="T16" fmla="*/ 2147483647 w 44"/>
                <a:gd name="T17" fmla="*/ 0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4"/>
                <a:gd name="T28" fmla="*/ 0 h 37"/>
                <a:gd name="T29" fmla="*/ 44 w 44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4" h="37">
                  <a:moveTo>
                    <a:pt x="26" y="0"/>
                  </a:moveTo>
                  <a:lnTo>
                    <a:pt x="6" y="13"/>
                  </a:lnTo>
                  <a:lnTo>
                    <a:pt x="0" y="20"/>
                  </a:lnTo>
                  <a:lnTo>
                    <a:pt x="13" y="24"/>
                  </a:lnTo>
                  <a:lnTo>
                    <a:pt x="24" y="37"/>
                  </a:lnTo>
                  <a:lnTo>
                    <a:pt x="33" y="28"/>
                  </a:lnTo>
                  <a:lnTo>
                    <a:pt x="44" y="20"/>
                  </a:lnTo>
                  <a:lnTo>
                    <a:pt x="35" y="11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62" name="Freeform 40"/>
            <p:cNvSpPr>
              <a:spLocks noChangeAspect="1"/>
            </p:cNvSpPr>
            <p:nvPr>
              <p:custDataLst>
                <p:tags r:id="rId64"/>
              </p:custDataLst>
            </p:nvPr>
          </p:nvSpPr>
          <p:spPr bwMode="gray">
            <a:xfrm>
              <a:off x="1073150" y="4751387"/>
              <a:ext cx="34925" cy="23812"/>
            </a:xfrm>
            <a:custGeom>
              <a:avLst/>
              <a:gdLst>
                <a:gd name="T0" fmla="*/ 2147483647 w 37"/>
                <a:gd name="T1" fmla="*/ 0 h 27"/>
                <a:gd name="T2" fmla="*/ 2147483647 w 37"/>
                <a:gd name="T3" fmla="*/ 2147483647 h 27"/>
                <a:gd name="T4" fmla="*/ 2147483647 w 37"/>
                <a:gd name="T5" fmla="*/ 2147483647 h 27"/>
                <a:gd name="T6" fmla="*/ 2147483647 w 37"/>
                <a:gd name="T7" fmla="*/ 2147483647 h 27"/>
                <a:gd name="T8" fmla="*/ 2147483647 w 37"/>
                <a:gd name="T9" fmla="*/ 2147483647 h 27"/>
                <a:gd name="T10" fmla="*/ 0 w 37"/>
                <a:gd name="T11" fmla="*/ 2147483647 h 27"/>
                <a:gd name="T12" fmla="*/ 2147483647 w 37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27"/>
                <a:gd name="T23" fmla="*/ 37 w 37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27">
                  <a:moveTo>
                    <a:pt x="19" y="0"/>
                  </a:moveTo>
                  <a:lnTo>
                    <a:pt x="35" y="2"/>
                  </a:lnTo>
                  <a:lnTo>
                    <a:pt x="37" y="12"/>
                  </a:lnTo>
                  <a:lnTo>
                    <a:pt x="20" y="23"/>
                  </a:lnTo>
                  <a:lnTo>
                    <a:pt x="2" y="27"/>
                  </a:lnTo>
                  <a:lnTo>
                    <a:pt x="0" y="15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63" name="Freeform 41"/>
            <p:cNvSpPr>
              <a:spLocks noChangeAspect="1"/>
            </p:cNvSpPr>
            <p:nvPr>
              <p:custDataLst>
                <p:tags r:id="rId65"/>
              </p:custDataLst>
            </p:nvPr>
          </p:nvSpPr>
          <p:spPr bwMode="gray">
            <a:xfrm>
              <a:off x="1049338" y="4611687"/>
              <a:ext cx="34925" cy="20637"/>
            </a:xfrm>
            <a:custGeom>
              <a:avLst/>
              <a:gdLst>
                <a:gd name="T0" fmla="*/ 2147483647 w 37"/>
                <a:gd name="T1" fmla="*/ 0 h 27"/>
                <a:gd name="T2" fmla="*/ 2147483647 w 37"/>
                <a:gd name="T3" fmla="*/ 2147483647 h 27"/>
                <a:gd name="T4" fmla="*/ 2147483647 w 37"/>
                <a:gd name="T5" fmla="*/ 2147483647 h 27"/>
                <a:gd name="T6" fmla="*/ 2147483647 w 37"/>
                <a:gd name="T7" fmla="*/ 2147483647 h 27"/>
                <a:gd name="T8" fmla="*/ 0 w 37"/>
                <a:gd name="T9" fmla="*/ 2147483647 h 27"/>
                <a:gd name="T10" fmla="*/ 2147483647 w 37"/>
                <a:gd name="T11" fmla="*/ 2147483647 h 27"/>
                <a:gd name="T12" fmla="*/ 2147483647 w 37"/>
                <a:gd name="T13" fmla="*/ 0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27"/>
                <a:gd name="T23" fmla="*/ 37 w 37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27">
                  <a:moveTo>
                    <a:pt x="31" y="0"/>
                  </a:moveTo>
                  <a:lnTo>
                    <a:pt x="37" y="13"/>
                  </a:lnTo>
                  <a:lnTo>
                    <a:pt x="19" y="23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7" y="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64" name="Freeform 42"/>
            <p:cNvSpPr>
              <a:spLocks noChangeAspect="1"/>
            </p:cNvSpPr>
            <p:nvPr>
              <p:custDataLst>
                <p:tags r:id="rId66"/>
              </p:custDataLst>
            </p:nvPr>
          </p:nvSpPr>
          <p:spPr bwMode="gray">
            <a:xfrm>
              <a:off x="1100138" y="4502150"/>
              <a:ext cx="19050" cy="39688"/>
            </a:xfrm>
            <a:custGeom>
              <a:avLst/>
              <a:gdLst>
                <a:gd name="T0" fmla="*/ 2147483647 w 20"/>
                <a:gd name="T1" fmla="*/ 2147483647 h 52"/>
                <a:gd name="T2" fmla="*/ 2147483647 w 20"/>
                <a:gd name="T3" fmla="*/ 2147483647 h 52"/>
                <a:gd name="T4" fmla="*/ 2147483647 w 20"/>
                <a:gd name="T5" fmla="*/ 2147483647 h 52"/>
                <a:gd name="T6" fmla="*/ 2147483647 w 20"/>
                <a:gd name="T7" fmla="*/ 2147483647 h 52"/>
                <a:gd name="T8" fmla="*/ 2147483647 w 20"/>
                <a:gd name="T9" fmla="*/ 0 h 52"/>
                <a:gd name="T10" fmla="*/ 0 w 20"/>
                <a:gd name="T11" fmla="*/ 2147483647 h 52"/>
                <a:gd name="T12" fmla="*/ 2147483647 w 20"/>
                <a:gd name="T13" fmla="*/ 2147483647 h 52"/>
                <a:gd name="T14" fmla="*/ 2147483647 w 20"/>
                <a:gd name="T15" fmla="*/ 2147483647 h 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52"/>
                <a:gd name="T26" fmla="*/ 20 w 20"/>
                <a:gd name="T27" fmla="*/ 52 h 5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52">
                  <a:moveTo>
                    <a:pt x="9" y="52"/>
                  </a:moveTo>
                  <a:lnTo>
                    <a:pt x="20" y="39"/>
                  </a:lnTo>
                  <a:lnTo>
                    <a:pt x="16" y="22"/>
                  </a:lnTo>
                  <a:lnTo>
                    <a:pt x="13" y="13"/>
                  </a:lnTo>
                  <a:lnTo>
                    <a:pt x="9" y="0"/>
                  </a:lnTo>
                  <a:lnTo>
                    <a:pt x="0" y="6"/>
                  </a:lnTo>
                  <a:lnTo>
                    <a:pt x="5" y="24"/>
                  </a:lnTo>
                  <a:lnTo>
                    <a:pt x="9" y="52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65" name="Freeform 43"/>
            <p:cNvSpPr>
              <a:spLocks noChangeAspect="1"/>
            </p:cNvSpPr>
            <p:nvPr>
              <p:custDataLst>
                <p:tags r:id="rId67"/>
              </p:custDataLst>
            </p:nvPr>
          </p:nvSpPr>
          <p:spPr bwMode="gray">
            <a:xfrm>
              <a:off x="958850" y="4662487"/>
              <a:ext cx="93663" cy="82550"/>
            </a:xfrm>
            <a:custGeom>
              <a:avLst/>
              <a:gdLst>
                <a:gd name="T0" fmla="*/ 2147483647 w 97"/>
                <a:gd name="T1" fmla="*/ 0 h 99"/>
                <a:gd name="T2" fmla="*/ 2147483647 w 97"/>
                <a:gd name="T3" fmla="*/ 0 h 99"/>
                <a:gd name="T4" fmla="*/ 2147483647 w 97"/>
                <a:gd name="T5" fmla="*/ 2147483647 h 99"/>
                <a:gd name="T6" fmla="*/ 2147483647 w 97"/>
                <a:gd name="T7" fmla="*/ 2147483647 h 99"/>
                <a:gd name="T8" fmla="*/ 2147483647 w 97"/>
                <a:gd name="T9" fmla="*/ 2147483647 h 99"/>
                <a:gd name="T10" fmla="*/ 2147483647 w 97"/>
                <a:gd name="T11" fmla="*/ 2147483647 h 99"/>
                <a:gd name="T12" fmla="*/ 2147483647 w 97"/>
                <a:gd name="T13" fmla="*/ 2147483647 h 99"/>
                <a:gd name="T14" fmla="*/ 2147483647 w 97"/>
                <a:gd name="T15" fmla="*/ 2147483647 h 99"/>
                <a:gd name="T16" fmla="*/ 2147483647 w 97"/>
                <a:gd name="T17" fmla="*/ 2147483647 h 99"/>
                <a:gd name="T18" fmla="*/ 2147483647 w 97"/>
                <a:gd name="T19" fmla="*/ 2147483647 h 99"/>
                <a:gd name="T20" fmla="*/ 2147483647 w 97"/>
                <a:gd name="T21" fmla="*/ 2147483647 h 99"/>
                <a:gd name="T22" fmla="*/ 2147483647 w 97"/>
                <a:gd name="T23" fmla="*/ 2147483647 h 99"/>
                <a:gd name="T24" fmla="*/ 2147483647 w 97"/>
                <a:gd name="T25" fmla="*/ 2147483647 h 99"/>
                <a:gd name="T26" fmla="*/ 0 w 97"/>
                <a:gd name="T27" fmla="*/ 2147483647 h 99"/>
                <a:gd name="T28" fmla="*/ 2147483647 w 97"/>
                <a:gd name="T29" fmla="*/ 0 h 9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7"/>
                <a:gd name="T46" fmla="*/ 0 h 99"/>
                <a:gd name="T47" fmla="*/ 97 w 97"/>
                <a:gd name="T48" fmla="*/ 99 h 9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7" h="99">
                  <a:moveTo>
                    <a:pt x="34" y="0"/>
                  </a:moveTo>
                  <a:lnTo>
                    <a:pt x="56" y="0"/>
                  </a:lnTo>
                  <a:lnTo>
                    <a:pt x="73" y="4"/>
                  </a:lnTo>
                  <a:lnTo>
                    <a:pt x="84" y="20"/>
                  </a:lnTo>
                  <a:lnTo>
                    <a:pt x="95" y="46"/>
                  </a:lnTo>
                  <a:lnTo>
                    <a:pt x="97" y="68"/>
                  </a:lnTo>
                  <a:lnTo>
                    <a:pt x="86" y="79"/>
                  </a:lnTo>
                  <a:lnTo>
                    <a:pt x="82" y="94"/>
                  </a:lnTo>
                  <a:lnTo>
                    <a:pt x="71" y="99"/>
                  </a:lnTo>
                  <a:lnTo>
                    <a:pt x="60" y="86"/>
                  </a:lnTo>
                  <a:lnTo>
                    <a:pt x="50" y="62"/>
                  </a:lnTo>
                  <a:lnTo>
                    <a:pt x="43" y="53"/>
                  </a:lnTo>
                  <a:lnTo>
                    <a:pt x="24" y="51"/>
                  </a:lnTo>
                  <a:lnTo>
                    <a:pt x="0" y="26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66" name="Freeform 44"/>
            <p:cNvSpPr>
              <a:spLocks noChangeAspect="1"/>
            </p:cNvSpPr>
            <p:nvPr>
              <p:custDataLst>
                <p:tags r:id="rId68"/>
              </p:custDataLst>
            </p:nvPr>
          </p:nvSpPr>
          <p:spPr bwMode="gray">
            <a:xfrm>
              <a:off x="1095375" y="4454525"/>
              <a:ext cx="49213" cy="26988"/>
            </a:xfrm>
            <a:custGeom>
              <a:avLst/>
              <a:gdLst>
                <a:gd name="T0" fmla="*/ 2147483647 w 50"/>
                <a:gd name="T1" fmla="*/ 0 h 37"/>
                <a:gd name="T2" fmla="*/ 2147483647 w 50"/>
                <a:gd name="T3" fmla="*/ 2147483647 h 37"/>
                <a:gd name="T4" fmla="*/ 2147483647 w 50"/>
                <a:gd name="T5" fmla="*/ 2147483647 h 37"/>
                <a:gd name="T6" fmla="*/ 2147483647 w 50"/>
                <a:gd name="T7" fmla="*/ 2147483647 h 37"/>
                <a:gd name="T8" fmla="*/ 2147483647 w 50"/>
                <a:gd name="T9" fmla="*/ 2147483647 h 37"/>
                <a:gd name="T10" fmla="*/ 0 w 50"/>
                <a:gd name="T11" fmla="*/ 2147483647 h 37"/>
                <a:gd name="T12" fmla="*/ 0 w 50"/>
                <a:gd name="T13" fmla="*/ 2147483647 h 37"/>
                <a:gd name="T14" fmla="*/ 2147483647 w 50"/>
                <a:gd name="T15" fmla="*/ 0 h 37"/>
                <a:gd name="T16" fmla="*/ 2147483647 w 50"/>
                <a:gd name="T17" fmla="*/ 0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0"/>
                <a:gd name="T28" fmla="*/ 0 h 37"/>
                <a:gd name="T29" fmla="*/ 50 w 50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0" h="37">
                  <a:moveTo>
                    <a:pt x="44" y="0"/>
                  </a:moveTo>
                  <a:lnTo>
                    <a:pt x="50" y="9"/>
                  </a:lnTo>
                  <a:lnTo>
                    <a:pt x="31" y="20"/>
                  </a:lnTo>
                  <a:lnTo>
                    <a:pt x="13" y="37"/>
                  </a:lnTo>
                  <a:lnTo>
                    <a:pt x="2" y="33"/>
                  </a:lnTo>
                  <a:lnTo>
                    <a:pt x="0" y="13"/>
                  </a:lnTo>
                  <a:lnTo>
                    <a:pt x="0" y="6"/>
                  </a:lnTo>
                  <a:lnTo>
                    <a:pt x="30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67" name="Freeform 45"/>
            <p:cNvSpPr>
              <a:spLocks noChangeAspect="1"/>
            </p:cNvSpPr>
            <p:nvPr>
              <p:custDataLst>
                <p:tags r:id="rId69"/>
              </p:custDataLst>
            </p:nvPr>
          </p:nvSpPr>
          <p:spPr bwMode="gray">
            <a:xfrm>
              <a:off x="1049338" y="5894387"/>
              <a:ext cx="30162" cy="20637"/>
            </a:xfrm>
            <a:custGeom>
              <a:avLst/>
              <a:gdLst>
                <a:gd name="T0" fmla="*/ 2147483647 w 31"/>
                <a:gd name="T1" fmla="*/ 0 h 22"/>
                <a:gd name="T2" fmla="*/ 2147483647 w 31"/>
                <a:gd name="T3" fmla="*/ 0 h 22"/>
                <a:gd name="T4" fmla="*/ 0 w 31"/>
                <a:gd name="T5" fmla="*/ 2147483647 h 22"/>
                <a:gd name="T6" fmla="*/ 2147483647 w 31"/>
                <a:gd name="T7" fmla="*/ 2147483647 h 22"/>
                <a:gd name="T8" fmla="*/ 2147483647 w 31"/>
                <a:gd name="T9" fmla="*/ 2147483647 h 22"/>
                <a:gd name="T10" fmla="*/ 2147483647 w 31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"/>
                <a:gd name="T19" fmla="*/ 0 h 22"/>
                <a:gd name="T20" fmla="*/ 31 w 31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" h="22">
                  <a:moveTo>
                    <a:pt x="31" y="0"/>
                  </a:moveTo>
                  <a:lnTo>
                    <a:pt x="16" y="0"/>
                  </a:lnTo>
                  <a:lnTo>
                    <a:pt x="0" y="15"/>
                  </a:lnTo>
                  <a:lnTo>
                    <a:pt x="8" y="22"/>
                  </a:lnTo>
                  <a:lnTo>
                    <a:pt x="23" y="22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68" name="Freeform 46"/>
            <p:cNvSpPr>
              <a:spLocks noChangeAspect="1"/>
            </p:cNvSpPr>
            <p:nvPr>
              <p:custDataLst>
                <p:tags r:id="rId70"/>
              </p:custDataLst>
            </p:nvPr>
          </p:nvSpPr>
          <p:spPr bwMode="gray">
            <a:xfrm>
              <a:off x="1131888" y="5849937"/>
              <a:ext cx="69850" cy="44450"/>
            </a:xfrm>
            <a:custGeom>
              <a:avLst/>
              <a:gdLst>
                <a:gd name="T0" fmla="*/ 2147483647 w 72"/>
                <a:gd name="T1" fmla="*/ 0 h 56"/>
                <a:gd name="T2" fmla="*/ 2147483647 w 72"/>
                <a:gd name="T3" fmla="*/ 2147483647 h 56"/>
                <a:gd name="T4" fmla="*/ 2147483647 w 72"/>
                <a:gd name="T5" fmla="*/ 2147483647 h 56"/>
                <a:gd name="T6" fmla="*/ 0 w 72"/>
                <a:gd name="T7" fmla="*/ 2147483647 h 56"/>
                <a:gd name="T8" fmla="*/ 2147483647 w 72"/>
                <a:gd name="T9" fmla="*/ 2147483647 h 56"/>
                <a:gd name="T10" fmla="*/ 2147483647 w 72"/>
                <a:gd name="T11" fmla="*/ 2147483647 h 56"/>
                <a:gd name="T12" fmla="*/ 2147483647 w 72"/>
                <a:gd name="T13" fmla="*/ 2147483647 h 56"/>
                <a:gd name="T14" fmla="*/ 2147483647 w 72"/>
                <a:gd name="T15" fmla="*/ 2147483647 h 56"/>
                <a:gd name="T16" fmla="*/ 2147483647 w 72"/>
                <a:gd name="T17" fmla="*/ 2147483647 h 56"/>
                <a:gd name="T18" fmla="*/ 2147483647 w 72"/>
                <a:gd name="T19" fmla="*/ 2147483647 h 56"/>
                <a:gd name="T20" fmla="*/ 2147483647 w 72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2"/>
                <a:gd name="T34" fmla="*/ 0 h 56"/>
                <a:gd name="T35" fmla="*/ 72 w 72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2" h="56">
                  <a:moveTo>
                    <a:pt x="53" y="0"/>
                  </a:moveTo>
                  <a:lnTo>
                    <a:pt x="45" y="7"/>
                  </a:lnTo>
                  <a:lnTo>
                    <a:pt x="15" y="11"/>
                  </a:lnTo>
                  <a:lnTo>
                    <a:pt x="0" y="30"/>
                  </a:lnTo>
                  <a:lnTo>
                    <a:pt x="22" y="45"/>
                  </a:lnTo>
                  <a:lnTo>
                    <a:pt x="34" y="56"/>
                  </a:lnTo>
                  <a:lnTo>
                    <a:pt x="57" y="52"/>
                  </a:lnTo>
                  <a:lnTo>
                    <a:pt x="72" y="45"/>
                  </a:lnTo>
                  <a:lnTo>
                    <a:pt x="68" y="30"/>
                  </a:lnTo>
                  <a:lnTo>
                    <a:pt x="57" y="19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69" name="Freeform 47"/>
            <p:cNvSpPr>
              <a:spLocks noChangeAspect="1"/>
            </p:cNvSpPr>
            <p:nvPr>
              <p:custDataLst>
                <p:tags r:id="rId71"/>
              </p:custDataLst>
            </p:nvPr>
          </p:nvSpPr>
          <p:spPr bwMode="gray">
            <a:xfrm>
              <a:off x="1239838" y="5853112"/>
              <a:ext cx="20637" cy="25400"/>
            </a:xfrm>
            <a:custGeom>
              <a:avLst/>
              <a:gdLst>
                <a:gd name="T0" fmla="*/ 2147483647 w 23"/>
                <a:gd name="T1" fmla="*/ 0 h 29"/>
                <a:gd name="T2" fmla="*/ 0 w 23"/>
                <a:gd name="T3" fmla="*/ 2147483647 h 29"/>
                <a:gd name="T4" fmla="*/ 2147483647 w 23"/>
                <a:gd name="T5" fmla="*/ 2147483647 h 29"/>
                <a:gd name="T6" fmla="*/ 2147483647 w 23"/>
                <a:gd name="T7" fmla="*/ 2147483647 h 29"/>
                <a:gd name="T8" fmla="*/ 2147483647 w 23"/>
                <a:gd name="T9" fmla="*/ 0 h 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"/>
                <a:gd name="T16" fmla="*/ 0 h 29"/>
                <a:gd name="T17" fmla="*/ 23 w 23"/>
                <a:gd name="T18" fmla="*/ 29 h 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" h="29">
                  <a:moveTo>
                    <a:pt x="15" y="0"/>
                  </a:moveTo>
                  <a:lnTo>
                    <a:pt x="0" y="7"/>
                  </a:lnTo>
                  <a:lnTo>
                    <a:pt x="12" y="18"/>
                  </a:lnTo>
                  <a:lnTo>
                    <a:pt x="23" y="29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70" name="Freeform 48"/>
            <p:cNvSpPr>
              <a:spLocks noChangeAspect="1"/>
            </p:cNvSpPr>
            <p:nvPr>
              <p:custDataLst>
                <p:tags r:id="rId72"/>
              </p:custDataLst>
            </p:nvPr>
          </p:nvSpPr>
          <p:spPr bwMode="gray">
            <a:xfrm>
              <a:off x="1522413" y="5829300"/>
              <a:ext cx="111125" cy="158750"/>
            </a:xfrm>
            <a:custGeom>
              <a:avLst/>
              <a:gdLst>
                <a:gd name="T0" fmla="*/ 2147483647 w 118"/>
                <a:gd name="T1" fmla="*/ 0 h 193"/>
                <a:gd name="T2" fmla="*/ 2147483647 w 118"/>
                <a:gd name="T3" fmla="*/ 2147483647 h 193"/>
                <a:gd name="T4" fmla="*/ 2147483647 w 118"/>
                <a:gd name="T5" fmla="*/ 2147483647 h 193"/>
                <a:gd name="T6" fmla="*/ 2147483647 w 118"/>
                <a:gd name="T7" fmla="*/ 2147483647 h 193"/>
                <a:gd name="T8" fmla="*/ 0 w 118"/>
                <a:gd name="T9" fmla="*/ 2147483647 h 193"/>
                <a:gd name="T10" fmla="*/ 2147483647 w 118"/>
                <a:gd name="T11" fmla="*/ 2147483647 h 193"/>
                <a:gd name="T12" fmla="*/ 2147483647 w 118"/>
                <a:gd name="T13" fmla="*/ 2147483647 h 193"/>
                <a:gd name="T14" fmla="*/ 2147483647 w 118"/>
                <a:gd name="T15" fmla="*/ 2147483647 h 193"/>
                <a:gd name="T16" fmla="*/ 2147483647 w 118"/>
                <a:gd name="T17" fmla="*/ 2147483647 h 193"/>
                <a:gd name="T18" fmla="*/ 2147483647 w 118"/>
                <a:gd name="T19" fmla="*/ 2147483647 h 193"/>
                <a:gd name="T20" fmla="*/ 2147483647 w 118"/>
                <a:gd name="T21" fmla="*/ 2147483647 h 193"/>
                <a:gd name="T22" fmla="*/ 2147483647 w 118"/>
                <a:gd name="T23" fmla="*/ 2147483647 h 193"/>
                <a:gd name="T24" fmla="*/ 2147483647 w 118"/>
                <a:gd name="T25" fmla="*/ 2147483647 h 193"/>
                <a:gd name="T26" fmla="*/ 2147483647 w 118"/>
                <a:gd name="T27" fmla="*/ 2147483647 h 193"/>
                <a:gd name="T28" fmla="*/ 2147483647 w 118"/>
                <a:gd name="T29" fmla="*/ 2147483647 h 193"/>
                <a:gd name="T30" fmla="*/ 2147483647 w 118"/>
                <a:gd name="T31" fmla="*/ 2147483647 h 193"/>
                <a:gd name="T32" fmla="*/ 2147483647 w 118"/>
                <a:gd name="T33" fmla="*/ 2147483647 h 193"/>
                <a:gd name="T34" fmla="*/ 2147483647 w 118"/>
                <a:gd name="T35" fmla="*/ 2147483647 h 193"/>
                <a:gd name="T36" fmla="*/ 2147483647 w 118"/>
                <a:gd name="T37" fmla="*/ 2147483647 h 193"/>
                <a:gd name="T38" fmla="*/ 2147483647 w 118"/>
                <a:gd name="T39" fmla="*/ 2147483647 h 193"/>
                <a:gd name="T40" fmla="*/ 2147483647 w 118"/>
                <a:gd name="T41" fmla="*/ 2147483647 h 193"/>
                <a:gd name="T42" fmla="*/ 2147483647 w 118"/>
                <a:gd name="T43" fmla="*/ 2147483647 h 193"/>
                <a:gd name="T44" fmla="*/ 2147483647 w 118"/>
                <a:gd name="T45" fmla="*/ 2147483647 h 193"/>
                <a:gd name="T46" fmla="*/ 2147483647 w 118"/>
                <a:gd name="T47" fmla="*/ 2147483647 h 193"/>
                <a:gd name="T48" fmla="*/ 2147483647 w 118"/>
                <a:gd name="T49" fmla="*/ 0 h 19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8"/>
                <a:gd name="T76" fmla="*/ 0 h 193"/>
                <a:gd name="T77" fmla="*/ 118 w 118"/>
                <a:gd name="T78" fmla="*/ 193 h 19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8" h="193">
                  <a:moveTo>
                    <a:pt x="70" y="0"/>
                  </a:moveTo>
                  <a:lnTo>
                    <a:pt x="52" y="11"/>
                  </a:lnTo>
                  <a:lnTo>
                    <a:pt x="37" y="22"/>
                  </a:lnTo>
                  <a:lnTo>
                    <a:pt x="22" y="26"/>
                  </a:lnTo>
                  <a:lnTo>
                    <a:pt x="0" y="22"/>
                  </a:lnTo>
                  <a:lnTo>
                    <a:pt x="4" y="45"/>
                  </a:lnTo>
                  <a:lnTo>
                    <a:pt x="15" y="59"/>
                  </a:lnTo>
                  <a:lnTo>
                    <a:pt x="11" y="97"/>
                  </a:lnTo>
                  <a:lnTo>
                    <a:pt x="11" y="115"/>
                  </a:lnTo>
                  <a:lnTo>
                    <a:pt x="15" y="130"/>
                  </a:lnTo>
                  <a:lnTo>
                    <a:pt x="4" y="160"/>
                  </a:lnTo>
                  <a:lnTo>
                    <a:pt x="7" y="182"/>
                  </a:lnTo>
                  <a:lnTo>
                    <a:pt x="22" y="193"/>
                  </a:lnTo>
                  <a:lnTo>
                    <a:pt x="44" y="178"/>
                  </a:lnTo>
                  <a:lnTo>
                    <a:pt x="52" y="174"/>
                  </a:lnTo>
                  <a:lnTo>
                    <a:pt x="74" y="178"/>
                  </a:lnTo>
                  <a:lnTo>
                    <a:pt x="89" y="163"/>
                  </a:lnTo>
                  <a:lnTo>
                    <a:pt x="89" y="148"/>
                  </a:lnTo>
                  <a:lnTo>
                    <a:pt x="107" y="119"/>
                  </a:lnTo>
                  <a:lnTo>
                    <a:pt x="114" y="100"/>
                  </a:lnTo>
                  <a:lnTo>
                    <a:pt x="107" y="82"/>
                  </a:lnTo>
                  <a:lnTo>
                    <a:pt x="118" y="59"/>
                  </a:lnTo>
                  <a:lnTo>
                    <a:pt x="111" y="26"/>
                  </a:lnTo>
                  <a:lnTo>
                    <a:pt x="107" y="7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71" name="Freeform 49"/>
            <p:cNvSpPr>
              <a:spLocks noChangeAspect="1"/>
            </p:cNvSpPr>
            <p:nvPr>
              <p:custDataLst>
                <p:tags r:id="rId73"/>
              </p:custDataLst>
            </p:nvPr>
          </p:nvSpPr>
          <p:spPr bwMode="gray">
            <a:xfrm>
              <a:off x="1779588" y="6073775"/>
              <a:ext cx="209550" cy="111125"/>
            </a:xfrm>
            <a:custGeom>
              <a:avLst/>
              <a:gdLst>
                <a:gd name="T0" fmla="*/ 2147483647 w 216"/>
                <a:gd name="T1" fmla="*/ 0 h 136"/>
                <a:gd name="T2" fmla="*/ 2147483647 w 216"/>
                <a:gd name="T3" fmla="*/ 2147483647 h 136"/>
                <a:gd name="T4" fmla="*/ 2147483647 w 216"/>
                <a:gd name="T5" fmla="*/ 2147483647 h 136"/>
                <a:gd name="T6" fmla="*/ 2147483647 w 216"/>
                <a:gd name="T7" fmla="*/ 2147483647 h 136"/>
                <a:gd name="T8" fmla="*/ 2147483647 w 216"/>
                <a:gd name="T9" fmla="*/ 2147483647 h 136"/>
                <a:gd name="T10" fmla="*/ 2147483647 w 216"/>
                <a:gd name="T11" fmla="*/ 2147483647 h 136"/>
                <a:gd name="T12" fmla="*/ 2147483647 w 216"/>
                <a:gd name="T13" fmla="*/ 2147483647 h 136"/>
                <a:gd name="T14" fmla="*/ 2147483647 w 216"/>
                <a:gd name="T15" fmla="*/ 2147483647 h 136"/>
                <a:gd name="T16" fmla="*/ 2147483647 w 216"/>
                <a:gd name="T17" fmla="*/ 2147483647 h 136"/>
                <a:gd name="T18" fmla="*/ 2147483647 w 216"/>
                <a:gd name="T19" fmla="*/ 2147483647 h 136"/>
                <a:gd name="T20" fmla="*/ 2147483647 w 216"/>
                <a:gd name="T21" fmla="*/ 2147483647 h 136"/>
                <a:gd name="T22" fmla="*/ 2147483647 w 216"/>
                <a:gd name="T23" fmla="*/ 2147483647 h 136"/>
                <a:gd name="T24" fmla="*/ 2147483647 w 216"/>
                <a:gd name="T25" fmla="*/ 2147483647 h 136"/>
                <a:gd name="T26" fmla="*/ 2147483647 w 216"/>
                <a:gd name="T27" fmla="*/ 2147483647 h 136"/>
                <a:gd name="T28" fmla="*/ 2147483647 w 216"/>
                <a:gd name="T29" fmla="*/ 2147483647 h 136"/>
                <a:gd name="T30" fmla="*/ 2147483647 w 216"/>
                <a:gd name="T31" fmla="*/ 2147483647 h 136"/>
                <a:gd name="T32" fmla="*/ 2147483647 w 216"/>
                <a:gd name="T33" fmla="*/ 2147483647 h 136"/>
                <a:gd name="T34" fmla="*/ 2147483647 w 216"/>
                <a:gd name="T35" fmla="*/ 2147483647 h 136"/>
                <a:gd name="T36" fmla="*/ 2147483647 w 216"/>
                <a:gd name="T37" fmla="*/ 2147483647 h 136"/>
                <a:gd name="T38" fmla="*/ 0 w 216"/>
                <a:gd name="T39" fmla="*/ 2147483647 h 136"/>
                <a:gd name="T40" fmla="*/ 0 w 216"/>
                <a:gd name="T41" fmla="*/ 2147483647 h 136"/>
                <a:gd name="T42" fmla="*/ 2147483647 w 216"/>
                <a:gd name="T43" fmla="*/ 2147483647 h 136"/>
                <a:gd name="T44" fmla="*/ 2147483647 w 216"/>
                <a:gd name="T45" fmla="*/ 2147483647 h 136"/>
                <a:gd name="T46" fmla="*/ 2147483647 w 216"/>
                <a:gd name="T47" fmla="*/ 2147483647 h 136"/>
                <a:gd name="T48" fmla="*/ 2147483647 w 216"/>
                <a:gd name="T49" fmla="*/ 2147483647 h 136"/>
                <a:gd name="T50" fmla="*/ 2147483647 w 216"/>
                <a:gd name="T51" fmla="*/ 2147483647 h 136"/>
                <a:gd name="T52" fmla="*/ 2147483647 w 216"/>
                <a:gd name="T53" fmla="*/ 2147483647 h 136"/>
                <a:gd name="T54" fmla="*/ 2147483647 w 216"/>
                <a:gd name="T55" fmla="*/ 2147483647 h 136"/>
                <a:gd name="T56" fmla="*/ 2147483647 w 216"/>
                <a:gd name="T57" fmla="*/ 0 h 1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16"/>
                <a:gd name="T88" fmla="*/ 0 h 136"/>
                <a:gd name="T89" fmla="*/ 216 w 216"/>
                <a:gd name="T90" fmla="*/ 136 h 1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16" h="136">
                  <a:moveTo>
                    <a:pt x="205" y="0"/>
                  </a:moveTo>
                  <a:lnTo>
                    <a:pt x="216" y="11"/>
                  </a:lnTo>
                  <a:lnTo>
                    <a:pt x="209" y="22"/>
                  </a:lnTo>
                  <a:lnTo>
                    <a:pt x="201" y="40"/>
                  </a:lnTo>
                  <a:lnTo>
                    <a:pt x="190" y="51"/>
                  </a:lnTo>
                  <a:lnTo>
                    <a:pt x="194" y="85"/>
                  </a:lnTo>
                  <a:lnTo>
                    <a:pt x="201" y="110"/>
                  </a:lnTo>
                  <a:lnTo>
                    <a:pt x="182" y="121"/>
                  </a:lnTo>
                  <a:lnTo>
                    <a:pt x="179" y="132"/>
                  </a:lnTo>
                  <a:lnTo>
                    <a:pt x="164" y="136"/>
                  </a:lnTo>
                  <a:lnTo>
                    <a:pt x="142" y="114"/>
                  </a:lnTo>
                  <a:lnTo>
                    <a:pt x="127" y="114"/>
                  </a:lnTo>
                  <a:lnTo>
                    <a:pt x="115" y="96"/>
                  </a:lnTo>
                  <a:lnTo>
                    <a:pt x="93" y="85"/>
                  </a:lnTo>
                  <a:lnTo>
                    <a:pt x="78" y="81"/>
                  </a:lnTo>
                  <a:lnTo>
                    <a:pt x="63" y="74"/>
                  </a:lnTo>
                  <a:lnTo>
                    <a:pt x="48" y="62"/>
                  </a:lnTo>
                  <a:lnTo>
                    <a:pt x="22" y="44"/>
                  </a:lnTo>
                  <a:lnTo>
                    <a:pt x="11" y="40"/>
                  </a:lnTo>
                  <a:lnTo>
                    <a:pt x="0" y="29"/>
                  </a:lnTo>
                  <a:lnTo>
                    <a:pt x="0" y="15"/>
                  </a:lnTo>
                  <a:lnTo>
                    <a:pt x="4" y="4"/>
                  </a:lnTo>
                  <a:lnTo>
                    <a:pt x="26" y="7"/>
                  </a:lnTo>
                  <a:lnTo>
                    <a:pt x="60" y="7"/>
                  </a:lnTo>
                  <a:lnTo>
                    <a:pt x="67" y="18"/>
                  </a:lnTo>
                  <a:lnTo>
                    <a:pt x="104" y="18"/>
                  </a:lnTo>
                  <a:lnTo>
                    <a:pt x="130" y="18"/>
                  </a:lnTo>
                  <a:lnTo>
                    <a:pt x="164" y="11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72" name="Freeform 50"/>
            <p:cNvSpPr>
              <a:spLocks noChangeAspect="1"/>
            </p:cNvSpPr>
            <p:nvPr>
              <p:custDataLst>
                <p:tags r:id="rId74"/>
              </p:custDataLst>
            </p:nvPr>
          </p:nvSpPr>
          <p:spPr bwMode="gray">
            <a:xfrm>
              <a:off x="1574800" y="5707062"/>
              <a:ext cx="63500" cy="98425"/>
            </a:xfrm>
            <a:custGeom>
              <a:avLst/>
              <a:gdLst>
                <a:gd name="T0" fmla="*/ 2147483647 w 67"/>
                <a:gd name="T1" fmla="*/ 0 h 122"/>
                <a:gd name="T2" fmla="*/ 2147483647 w 67"/>
                <a:gd name="T3" fmla="*/ 2147483647 h 122"/>
                <a:gd name="T4" fmla="*/ 2147483647 w 67"/>
                <a:gd name="T5" fmla="*/ 2147483647 h 122"/>
                <a:gd name="T6" fmla="*/ 0 w 67"/>
                <a:gd name="T7" fmla="*/ 2147483647 h 122"/>
                <a:gd name="T8" fmla="*/ 2147483647 w 67"/>
                <a:gd name="T9" fmla="*/ 2147483647 h 122"/>
                <a:gd name="T10" fmla="*/ 2147483647 w 67"/>
                <a:gd name="T11" fmla="*/ 2147483647 h 122"/>
                <a:gd name="T12" fmla="*/ 2147483647 w 67"/>
                <a:gd name="T13" fmla="*/ 2147483647 h 122"/>
                <a:gd name="T14" fmla="*/ 2147483647 w 67"/>
                <a:gd name="T15" fmla="*/ 2147483647 h 122"/>
                <a:gd name="T16" fmla="*/ 2147483647 w 67"/>
                <a:gd name="T17" fmla="*/ 2147483647 h 122"/>
                <a:gd name="T18" fmla="*/ 2147483647 w 67"/>
                <a:gd name="T19" fmla="*/ 2147483647 h 122"/>
                <a:gd name="T20" fmla="*/ 2147483647 w 67"/>
                <a:gd name="T21" fmla="*/ 2147483647 h 122"/>
                <a:gd name="T22" fmla="*/ 2147483647 w 67"/>
                <a:gd name="T23" fmla="*/ 0 h 1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"/>
                <a:gd name="T37" fmla="*/ 0 h 122"/>
                <a:gd name="T38" fmla="*/ 67 w 67"/>
                <a:gd name="T39" fmla="*/ 122 h 1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" h="122">
                  <a:moveTo>
                    <a:pt x="67" y="0"/>
                  </a:moveTo>
                  <a:lnTo>
                    <a:pt x="45" y="26"/>
                  </a:lnTo>
                  <a:lnTo>
                    <a:pt x="19" y="26"/>
                  </a:lnTo>
                  <a:lnTo>
                    <a:pt x="0" y="41"/>
                  </a:lnTo>
                  <a:lnTo>
                    <a:pt x="4" y="62"/>
                  </a:lnTo>
                  <a:lnTo>
                    <a:pt x="4" y="96"/>
                  </a:lnTo>
                  <a:lnTo>
                    <a:pt x="19" y="122"/>
                  </a:lnTo>
                  <a:lnTo>
                    <a:pt x="37" y="115"/>
                  </a:lnTo>
                  <a:lnTo>
                    <a:pt x="41" y="100"/>
                  </a:lnTo>
                  <a:lnTo>
                    <a:pt x="60" y="66"/>
                  </a:lnTo>
                  <a:lnTo>
                    <a:pt x="60" y="48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73" name="Freeform 51"/>
            <p:cNvSpPr>
              <a:spLocks noChangeAspect="1"/>
            </p:cNvSpPr>
            <p:nvPr>
              <p:custDataLst>
                <p:tags r:id="rId75"/>
              </p:custDataLst>
            </p:nvPr>
          </p:nvSpPr>
          <p:spPr bwMode="gray">
            <a:xfrm>
              <a:off x="2300288" y="5816600"/>
              <a:ext cx="411162" cy="311150"/>
            </a:xfrm>
            <a:custGeom>
              <a:avLst/>
              <a:gdLst>
                <a:gd name="T0" fmla="*/ 2147483647 w 429"/>
                <a:gd name="T1" fmla="*/ 2147483647 h 386"/>
                <a:gd name="T2" fmla="*/ 2147483647 w 429"/>
                <a:gd name="T3" fmla="*/ 2147483647 h 386"/>
                <a:gd name="T4" fmla="*/ 2147483647 w 429"/>
                <a:gd name="T5" fmla="*/ 2147483647 h 386"/>
                <a:gd name="T6" fmla="*/ 2147483647 w 429"/>
                <a:gd name="T7" fmla="*/ 2147483647 h 386"/>
                <a:gd name="T8" fmla="*/ 0 w 429"/>
                <a:gd name="T9" fmla="*/ 2147483647 h 386"/>
                <a:gd name="T10" fmla="*/ 2147483647 w 429"/>
                <a:gd name="T11" fmla="*/ 2147483647 h 386"/>
                <a:gd name="T12" fmla="*/ 2147483647 w 429"/>
                <a:gd name="T13" fmla="*/ 2147483647 h 386"/>
                <a:gd name="T14" fmla="*/ 2147483647 w 429"/>
                <a:gd name="T15" fmla="*/ 2147483647 h 386"/>
                <a:gd name="T16" fmla="*/ 2147483647 w 429"/>
                <a:gd name="T17" fmla="*/ 2147483647 h 386"/>
                <a:gd name="T18" fmla="*/ 2147483647 w 429"/>
                <a:gd name="T19" fmla="*/ 2147483647 h 386"/>
                <a:gd name="T20" fmla="*/ 2147483647 w 429"/>
                <a:gd name="T21" fmla="*/ 2147483647 h 386"/>
                <a:gd name="T22" fmla="*/ 2147483647 w 429"/>
                <a:gd name="T23" fmla="*/ 2147483647 h 386"/>
                <a:gd name="T24" fmla="*/ 2147483647 w 429"/>
                <a:gd name="T25" fmla="*/ 2147483647 h 386"/>
                <a:gd name="T26" fmla="*/ 2147483647 w 429"/>
                <a:gd name="T27" fmla="*/ 2147483647 h 386"/>
                <a:gd name="T28" fmla="*/ 2147483647 w 429"/>
                <a:gd name="T29" fmla="*/ 2147483647 h 386"/>
                <a:gd name="T30" fmla="*/ 2147483647 w 429"/>
                <a:gd name="T31" fmla="*/ 2147483647 h 386"/>
                <a:gd name="T32" fmla="*/ 2147483647 w 429"/>
                <a:gd name="T33" fmla="*/ 2147483647 h 386"/>
                <a:gd name="T34" fmla="*/ 2147483647 w 429"/>
                <a:gd name="T35" fmla="*/ 2147483647 h 386"/>
                <a:gd name="T36" fmla="*/ 2147483647 w 429"/>
                <a:gd name="T37" fmla="*/ 2147483647 h 386"/>
                <a:gd name="T38" fmla="*/ 2147483647 w 429"/>
                <a:gd name="T39" fmla="*/ 2147483647 h 386"/>
                <a:gd name="T40" fmla="*/ 2147483647 w 429"/>
                <a:gd name="T41" fmla="*/ 2147483647 h 386"/>
                <a:gd name="T42" fmla="*/ 2147483647 w 429"/>
                <a:gd name="T43" fmla="*/ 2147483647 h 386"/>
                <a:gd name="T44" fmla="*/ 2147483647 w 429"/>
                <a:gd name="T45" fmla="*/ 2147483647 h 386"/>
                <a:gd name="T46" fmla="*/ 2147483647 w 429"/>
                <a:gd name="T47" fmla="*/ 2147483647 h 386"/>
                <a:gd name="T48" fmla="*/ 2147483647 w 429"/>
                <a:gd name="T49" fmla="*/ 2147483647 h 386"/>
                <a:gd name="T50" fmla="*/ 2147483647 w 429"/>
                <a:gd name="T51" fmla="*/ 2147483647 h 386"/>
                <a:gd name="T52" fmla="*/ 2147483647 w 429"/>
                <a:gd name="T53" fmla="*/ 2147483647 h 386"/>
                <a:gd name="T54" fmla="*/ 2147483647 w 429"/>
                <a:gd name="T55" fmla="*/ 2147483647 h 386"/>
                <a:gd name="T56" fmla="*/ 2147483647 w 429"/>
                <a:gd name="T57" fmla="*/ 2147483647 h 386"/>
                <a:gd name="T58" fmla="*/ 2147483647 w 429"/>
                <a:gd name="T59" fmla="*/ 2147483647 h 386"/>
                <a:gd name="T60" fmla="*/ 2147483647 w 429"/>
                <a:gd name="T61" fmla="*/ 2147483647 h 386"/>
                <a:gd name="T62" fmla="*/ 2147483647 w 429"/>
                <a:gd name="T63" fmla="*/ 2147483647 h 386"/>
                <a:gd name="T64" fmla="*/ 2147483647 w 429"/>
                <a:gd name="T65" fmla="*/ 2147483647 h 386"/>
                <a:gd name="T66" fmla="*/ 2147483647 w 429"/>
                <a:gd name="T67" fmla="*/ 2147483647 h 386"/>
                <a:gd name="T68" fmla="*/ 2147483647 w 429"/>
                <a:gd name="T69" fmla="*/ 2147483647 h 386"/>
                <a:gd name="T70" fmla="*/ 2147483647 w 429"/>
                <a:gd name="T71" fmla="*/ 2147483647 h 386"/>
                <a:gd name="T72" fmla="*/ 2147483647 w 429"/>
                <a:gd name="T73" fmla="*/ 2147483647 h 386"/>
                <a:gd name="T74" fmla="*/ 2147483647 w 429"/>
                <a:gd name="T75" fmla="*/ 2147483647 h 386"/>
                <a:gd name="T76" fmla="*/ 2147483647 w 429"/>
                <a:gd name="T77" fmla="*/ 2147483647 h 386"/>
                <a:gd name="T78" fmla="*/ 2147483647 w 429"/>
                <a:gd name="T79" fmla="*/ 2147483647 h 386"/>
                <a:gd name="T80" fmla="*/ 2147483647 w 429"/>
                <a:gd name="T81" fmla="*/ 2147483647 h 386"/>
                <a:gd name="T82" fmla="*/ 2147483647 w 429"/>
                <a:gd name="T83" fmla="*/ 2147483647 h 386"/>
                <a:gd name="T84" fmla="*/ 2147483647 w 429"/>
                <a:gd name="T85" fmla="*/ 2147483647 h 386"/>
                <a:gd name="T86" fmla="*/ 2147483647 w 429"/>
                <a:gd name="T87" fmla="*/ 2147483647 h 386"/>
                <a:gd name="T88" fmla="*/ 2147483647 w 429"/>
                <a:gd name="T89" fmla="*/ 2147483647 h 386"/>
                <a:gd name="T90" fmla="*/ 2147483647 w 429"/>
                <a:gd name="T91" fmla="*/ 2147483647 h 386"/>
                <a:gd name="T92" fmla="*/ 2147483647 w 429"/>
                <a:gd name="T93" fmla="*/ 2147483647 h 386"/>
                <a:gd name="T94" fmla="*/ 2147483647 w 429"/>
                <a:gd name="T95" fmla="*/ 2147483647 h 386"/>
                <a:gd name="T96" fmla="*/ 2147483647 w 429"/>
                <a:gd name="T97" fmla="*/ 0 h 386"/>
                <a:gd name="T98" fmla="*/ 2147483647 w 429"/>
                <a:gd name="T99" fmla="*/ 2147483647 h 386"/>
                <a:gd name="T100" fmla="*/ 2147483647 w 429"/>
                <a:gd name="T101" fmla="*/ 2147483647 h 386"/>
                <a:gd name="T102" fmla="*/ 2147483647 w 429"/>
                <a:gd name="T103" fmla="*/ 2147483647 h 386"/>
                <a:gd name="T104" fmla="*/ 2147483647 w 429"/>
                <a:gd name="T105" fmla="*/ 2147483647 h 386"/>
                <a:gd name="T106" fmla="*/ 2147483647 w 429"/>
                <a:gd name="T107" fmla="*/ 2147483647 h 386"/>
                <a:gd name="T108" fmla="*/ 2147483647 w 429"/>
                <a:gd name="T109" fmla="*/ 2147483647 h 386"/>
                <a:gd name="T110" fmla="*/ 2147483647 w 429"/>
                <a:gd name="T111" fmla="*/ 2147483647 h 386"/>
                <a:gd name="T112" fmla="*/ 2147483647 w 429"/>
                <a:gd name="T113" fmla="*/ 2147483647 h 386"/>
                <a:gd name="T114" fmla="*/ 2147483647 w 429"/>
                <a:gd name="T115" fmla="*/ 2147483647 h 386"/>
                <a:gd name="T116" fmla="*/ 2147483647 w 429"/>
                <a:gd name="T117" fmla="*/ 2147483647 h 386"/>
                <a:gd name="T118" fmla="*/ 2147483647 w 429"/>
                <a:gd name="T119" fmla="*/ 2147483647 h 386"/>
                <a:gd name="T120" fmla="*/ 2147483647 w 429"/>
                <a:gd name="T121" fmla="*/ 2147483647 h 38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29"/>
                <a:gd name="T184" fmla="*/ 0 h 386"/>
                <a:gd name="T185" fmla="*/ 429 w 429"/>
                <a:gd name="T186" fmla="*/ 386 h 38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29" h="386">
                  <a:moveTo>
                    <a:pt x="87" y="95"/>
                  </a:moveTo>
                  <a:lnTo>
                    <a:pt x="78" y="102"/>
                  </a:lnTo>
                  <a:lnTo>
                    <a:pt x="68" y="135"/>
                  </a:lnTo>
                  <a:lnTo>
                    <a:pt x="55" y="167"/>
                  </a:lnTo>
                  <a:lnTo>
                    <a:pt x="50" y="171"/>
                  </a:lnTo>
                  <a:lnTo>
                    <a:pt x="44" y="182"/>
                  </a:lnTo>
                  <a:lnTo>
                    <a:pt x="37" y="193"/>
                  </a:lnTo>
                  <a:lnTo>
                    <a:pt x="24" y="200"/>
                  </a:lnTo>
                  <a:lnTo>
                    <a:pt x="13" y="204"/>
                  </a:lnTo>
                  <a:lnTo>
                    <a:pt x="0" y="204"/>
                  </a:lnTo>
                  <a:lnTo>
                    <a:pt x="17" y="241"/>
                  </a:lnTo>
                  <a:lnTo>
                    <a:pt x="31" y="260"/>
                  </a:lnTo>
                  <a:lnTo>
                    <a:pt x="44" y="260"/>
                  </a:lnTo>
                  <a:lnTo>
                    <a:pt x="57" y="260"/>
                  </a:lnTo>
                  <a:lnTo>
                    <a:pt x="61" y="269"/>
                  </a:lnTo>
                  <a:lnTo>
                    <a:pt x="48" y="278"/>
                  </a:lnTo>
                  <a:lnTo>
                    <a:pt x="48" y="290"/>
                  </a:lnTo>
                  <a:lnTo>
                    <a:pt x="57" y="308"/>
                  </a:lnTo>
                  <a:lnTo>
                    <a:pt x="68" y="323"/>
                  </a:lnTo>
                  <a:lnTo>
                    <a:pt x="76" y="330"/>
                  </a:lnTo>
                  <a:lnTo>
                    <a:pt x="80" y="319"/>
                  </a:lnTo>
                  <a:lnTo>
                    <a:pt x="91" y="317"/>
                  </a:lnTo>
                  <a:lnTo>
                    <a:pt x="104" y="328"/>
                  </a:lnTo>
                  <a:lnTo>
                    <a:pt x="107" y="319"/>
                  </a:lnTo>
                  <a:lnTo>
                    <a:pt x="128" y="321"/>
                  </a:lnTo>
                  <a:lnTo>
                    <a:pt x="159" y="325"/>
                  </a:lnTo>
                  <a:lnTo>
                    <a:pt x="181" y="332"/>
                  </a:lnTo>
                  <a:lnTo>
                    <a:pt x="190" y="341"/>
                  </a:lnTo>
                  <a:lnTo>
                    <a:pt x="200" y="354"/>
                  </a:lnTo>
                  <a:lnTo>
                    <a:pt x="207" y="362"/>
                  </a:lnTo>
                  <a:lnTo>
                    <a:pt x="216" y="354"/>
                  </a:lnTo>
                  <a:lnTo>
                    <a:pt x="229" y="353"/>
                  </a:lnTo>
                  <a:lnTo>
                    <a:pt x="248" y="366"/>
                  </a:lnTo>
                  <a:lnTo>
                    <a:pt x="270" y="386"/>
                  </a:lnTo>
                  <a:lnTo>
                    <a:pt x="276" y="382"/>
                  </a:lnTo>
                  <a:lnTo>
                    <a:pt x="277" y="367"/>
                  </a:lnTo>
                  <a:lnTo>
                    <a:pt x="277" y="351"/>
                  </a:lnTo>
                  <a:lnTo>
                    <a:pt x="276" y="336"/>
                  </a:lnTo>
                  <a:lnTo>
                    <a:pt x="266" y="319"/>
                  </a:lnTo>
                  <a:lnTo>
                    <a:pt x="259" y="323"/>
                  </a:lnTo>
                  <a:lnTo>
                    <a:pt x="242" y="315"/>
                  </a:lnTo>
                  <a:lnTo>
                    <a:pt x="215" y="295"/>
                  </a:lnTo>
                  <a:lnTo>
                    <a:pt x="207" y="288"/>
                  </a:lnTo>
                  <a:lnTo>
                    <a:pt x="189" y="286"/>
                  </a:lnTo>
                  <a:lnTo>
                    <a:pt x="179" y="280"/>
                  </a:lnTo>
                  <a:lnTo>
                    <a:pt x="179" y="273"/>
                  </a:lnTo>
                  <a:lnTo>
                    <a:pt x="190" y="262"/>
                  </a:lnTo>
                  <a:lnTo>
                    <a:pt x="194" y="258"/>
                  </a:lnTo>
                  <a:lnTo>
                    <a:pt x="187" y="249"/>
                  </a:lnTo>
                  <a:lnTo>
                    <a:pt x="183" y="236"/>
                  </a:lnTo>
                  <a:lnTo>
                    <a:pt x="187" y="230"/>
                  </a:lnTo>
                  <a:lnTo>
                    <a:pt x="202" y="245"/>
                  </a:lnTo>
                  <a:lnTo>
                    <a:pt x="215" y="251"/>
                  </a:lnTo>
                  <a:lnTo>
                    <a:pt x="215" y="238"/>
                  </a:lnTo>
                  <a:lnTo>
                    <a:pt x="207" y="223"/>
                  </a:lnTo>
                  <a:lnTo>
                    <a:pt x="190" y="202"/>
                  </a:lnTo>
                  <a:lnTo>
                    <a:pt x="172" y="174"/>
                  </a:lnTo>
                  <a:lnTo>
                    <a:pt x="170" y="160"/>
                  </a:lnTo>
                  <a:lnTo>
                    <a:pt x="168" y="147"/>
                  </a:lnTo>
                  <a:lnTo>
                    <a:pt x="165" y="134"/>
                  </a:lnTo>
                  <a:lnTo>
                    <a:pt x="163" y="121"/>
                  </a:lnTo>
                  <a:lnTo>
                    <a:pt x="176" y="117"/>
                  </a:lnTo>
                  <a:lnTo>
                    <a:pt x="174" y="126"/>
                  </a:lnTo>
                  <a:lnTo>
                    <a:pt x="185" y="139"/>
                  </a:lnTo>
                  <a:lnTo>
                    <a:pt x="192" y="139"/>
                  </a:lnTo>
                  <a:lnTo>
                    <a:pt x="190" y="147"/>
                  </a:lnTo>
                  <a:lnTo>
                    <a:pt x="226" y="182"/>
                  </a:lnTo>
                  <a:lnTo>
                    <a:pt x="227" y="176"/>
                  </a:lnTo>
                  <a:lnTo>
                    <a:pt x="220" y="160"/>
                  </a:lnTo>
                  <a:lnTo>
                    <a:pt x="231" y="156"/>
                  </a:lnTo>
                  <a:lnTo>
                    <a:pt x="248" y="163"/>
                  </a:lnTo>
                  <a:lnTo>
                    <a:pt x="257" y="176"/>
                  </a:lnTo>
                  <a:lnTo>
                    <a:pt x="259" y="167"/>
                  </a:lnTo>
                  <a:lnTo>
                    <a:pt x="246" y="152"/>
                  </a:lnTo>
                  <a:lnTo>
                    <a:pt x="248" y="145"/>
                  </a:lnTo>
                  <a:lnTo>
                    <a:pt x="257" y="141"/>
                  </a:lnTo>
                  <a:lnTo>
                    <a:pt x="281" y="152"/>
                  </a:lnTo>
                  <a:lnTo>
                    <a:pt x="287" y="148"/>
                  </a:lnTo>
                  <a:lnTo>
                    <a:pt x="285" y="137"/>
                  </a:lnTo>
                  <a:lnTo>
                    <a:pt x="274" y="130"/>
                  </a:lnTo>
                  <a:lnTo>
                    <a:pt x="257" y="122"/>
                  </a:lnTo>
                  <a:lnTo>
                    <a:pt x="246" y="113"/>
                  </a:lnTo>
                  <a:lnTo>
                    <a:pt x="244" y="106"/>
                  </a:lnTo>
                  <a:lnTo>
                    <a:pt x="248" y="98"/>
                  </a:lnTo>
                  <a:lnTo>
                    <a:pt x="272" y="95"/>
                  </a:lnTo>
                  <a:lnTo>
                    <a:pt x="298" y="87"/>
                  </a:lnTo>
                  <a:lnTo>
                    <a:pt x="316" y="89"/>
                  </a:lnTo>
                  <a:lnTo>
                    <a:pt x="349" y="82"/>
                  </a:lnTo>
                  <a:lnTo>
                    <a:pt x="355" y="78"/>
                  </a:lnTo>
                  <a:lnTo>
                    <a:pt x="377" y="87"/>
                  </a:lnTo>
                  <a:lnTo>
                    <a:pt x="396" y="97"/>
                  </a:lnTo>
                  <a:lnTo>
                    <a:pt x="405" y="76"/>
                  </a:lnTo>
                  <a:lnTo>
                    <a:pt x="422" y="54"/>
                  </a:lnTo>
                  <a:lnTo>
                    <a:pt x="427" y="48"/>
                  </a:lnTo>
                  <a:lnTo>
                    <a:pt x="429" y="9"/>
                  </a:lnTo>
                  <a:lnTo>
                    <a:pt x="427" y="6"/>
                  </a:lnTo>
                  <a:lnTo>
                    <a:pt x="418" y="0"/>
                  </a:lnTo>
                  <a:lnTo>
                    <a:pt x="407" y="0"/>
                  </a:lnTo>
                  <a:lnTo>
                    <a:pt x="401" y="6"/>
                  </a:lnTo>
                  <a:lnTo>
                    <a:pt x="401" y="20"/>
                  </a:lnTo>
                  <a:lnTo>
                    <a:pt x="403" y="32"/>
                  </a:lnTo>
                  <a:lnTo>
                    <a:pt x="388" y="35"/>
                  </a:lnTo>
                  <a:lnTo>
                    <a:pt x="377" y="43"/>
                  </a:lnTo>
                  <a:lnTo>
                    <a:pt x="370" y="45"/>
                  </a:lnTo>
                  <a:lnTo>
                    <a:pt x="346" y="39"/>
                  </a:lnTo>
                  <a:lnTo>
                    <a:pt x="337" y="33"/>
                  </a:lnTo>
                  <a:lnTo>
                    <a:pt x="324" y="41"/>
                  </a:lnTo>
                  <a:lnTo>
                    <a:pt x="305" y="20"/>
                  </a:lnTo>
                  <a:lnTo>
                    <a:pt x="285" y="35"/>
                  </a:lnTo>
                  <a:lnTo>
                    <a:pt x="270" y="45"/>
                  </a:lnTo>
                  <a:lnTo>
                    <a:pt x="255" y="52"/>
                  </a:lnTo>
                  <a:lnTo>
                    <a:pt x="231" y="56"/>
                  </a:lnTo>
                  <a:lnTo>
                    <a:pt x="215" y="61"/>
                  </a:lnTo>
                  <a:lnTo>
                    <a:pt x="202" y="61"/>
                  </a:lnTo>
                  <a:lnTo>
                    <a:pt x="196" y="63"/>
                  </a:lnTo>
                  <a:lnTo>
                    <a:pt x="183" y="78"/>
                  </a:lnTo>
                  <a:lnTo>
                    <a:pt x="172" y="78"/>
                  </a:lnTo>
                  <a:lnTo>
                    <a:pt x="153" y="82"/>
                  </a:lnTo>
                  <a:lnTo>
                    <a:pt x="135" y="80"/>
                  </a:lnTo>
                  <a:lnTo>
                    <a:pt x="126" y="97"/>
                  </a:lnTo>
                  <a:lnTo>
                    <a:pt x="111" y="98"/>
                  </a:lnTo>
                  <a:lnTo>
                    <a:pt x="98" y="97"/>
                  </a:lnTo>
                  <a:lnTo>
                    <a:pt x="87" y="95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74" name="Freeform 52"/>
            <p:cNvSpPr>
              <a:spLocks noChangeAspect="1"/>
            </p:cNvSpPr>
            <p:nvPr>
              <p:custDataLst>
                <p:tags r:id="rId76"/>
              </p:custDataLst>
            </p:nvPr>
          </p:nvSpPr>
          <p:spPr bwMode="gray">
            <a:xfrm>
              <a:off x="2116138" y="4710112"/>
              <a:ext cx="34925" cy="76200"/>
            </a:xfrm>
            <a:custGeom>
              <a:avLst/>
              <a:gdLst>
                <a:gd name="T0" fmla="*/ 2147483647 w 37"/>
                <a:gd name="T1" fmla="*/ 0 h 92"/>
                <a:gd name="T2" fmla="*/ 2147483647 w 37"/>
                <a:gd name="T3" fmla="*/ 2147483647 h 92"/>
                <a:gd name="T4" fmla="*/ 2147483647 w 37"/>
                <a:gd name="T5" fmla="*/ 2147483647 h 92"/>
                <a:gd name="T6" fmla="*/ 2147483647 w 37"/>
                <a:gd name="T7" fmla="*/ 2147483647 h 92"/>
                <a:gd name="T8" fmla="*/ 2147483647 w 37"/>
                <a:gd name="T9" fmla="*/ 2147483647 h 92"/>
                <a:gd name="T10" fmla="*/ 2147483647 w 37"/>
                <a:gd name="T11" fmla="*/ 2147483647 h 92"/>
                <a:gd name="T12" fmla="*/ 0 w 37"/>
                <a:gd name="T13" fmla="*/ 2147483647 h 92"/>
                <a:gd name="T14" fmla="*/ 2147483647 w 37"/>
                <a:gd name="T15" fmla="*/ 2147483647 h 92"/>
                <a:gd name="T16" fmla="*/ 2147483647 w 37"/>
                <a:gd name="T17" fmla="*/ 2147483647 h 92"/>
                <a:gd name="T18" fmla="*/ 2147483647 w 37"/>
                <a:gd name="T19" fmla="*/ 0 h 9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7"/>
                <a:gd name="T31" fmla="*/ 0 h 92"/>
                <a:gd name="T32" fmla="*/ 37 w 37"/>
                <a:gd name="T33" fmla="*/ 92 h 9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7" h="92">
                  <a:moveTo>
                    <a:pt x="37" y="0"/>
                  </a:moveTo>
                  <a:lnTo>
                    <a:pt x="35" y="31"/>
                  </a:lnTo>
                  <a:lnTo>
                    <a:pt x="24" y="55"/>
                  </a:lnTo>
                  <a:lnTo>
                    <a:pt x="7" y="70"/>
                  </a:lnTo>
                  <a:lnTo>
                    <a:pt x="11" y="86"/>
                  </a:lnTo>
                  <a:lnTo>
                    <a:pt x="4" y="92"/>
                  </a:lnTo>
                  <a:lnTo>
                    <a:pt x="0" y="72"/>
                  </a:lnTo>
                  <a:lnTo>
                    <a:pt x="6" y="57"/>
                  </a:lnTo>
                  <a:lnTo>
                    <a:pt x="11" y="4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75" name="Freeform 53"/>
            <p:cNvSpPr>
              <a:spLocks noChangeAspect="1"/>
            </p:cNvSpPr>
            <p:nvPr>
              <p:custDataLst>
                <p:tags r:id="rId77"/>
              </p:custDataLst>
            </p:nvPr>
          </p:nvSpPr>
          <p:spPr bwMode="gray">
            <a:xfrm>
              <a:off x="2195513" y="4675187"/>
              <a:ext cx="46037" cy="61912"/>
            </a:xfrm>
            <a:custGeom>
              <a:avLst/>
              <a:gdLst>
                <a:gd name="T0" fmla="*/ 2147483647 w 50"/>
                <a:gd name="T1" fmla="*/ 0 h 73"/>
                <a:gd name="T2" fmla="*/ 2147483647 w 50"/>
                <a:gd name="T3" fmla="*/ 0 h 73"/>
                <a:gd name="T4" fmla="*/ 2147483647 w 50"/>
                <a:gd name="T5" fmla="*/ 2147483647 h 73"/>
                <a:gd name="T6" fmla="*/ 2147483647 w 50"/>
                <a:gd name="T7" fmla="*/ 2147483647 h 73"/>
                <a:gd name="T8" fmla="*/ 2147483647 w 50"/>
                <a:gd name="T9" fmla="*/ 2147483647 h 73"/>
                <a:gd name="T10" fmla="*/ 2147483647 w 50"/>
                <a:gd name="T11" fmla="*/ 2147483647 h 73"/>
                <a:gd name="T12" fmla="*/ 2147483647 w 50"/>
                <a:gd name="T13" fmla="*/ 2147483647 h 73"/>
                <a:gd name="T14" fmla="*/ 2147483647 w 50"/>
                <a:gd name="T15" fmla="*/ 2147483647 h 73"/>
                <a:gd name="T16" fmla="*/ 0 w 50"/>
                <a:gd name="T17" fmla="*/ 2147483647 h 73"/>
                <a:gd name="T18" fmla="*/ 0 w 50"/>
                <a:gd name="T19" fmla="*/ 2147483647 h 73"/>
                <a:gd name="T20" fmla="*/ 2147483647 w 50"/>
                <a:gd name="T21" fmla="*/ 2147483647 h 73"/>
                <a:gd name="T22" fmla="*/ 2147483647 w 50"/>
                <a:gd name="T23" fmla="*/ 0 h 7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0"/>
                <a:gd name="T37" fmla="*/ 0 h 73"/>
                <a:gd name="T38" fmla="*/ 50 w 50"/>
                <a:gd name="T39" fmla="*/ 73 h 7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0" h="73">
                  <a:moveTo>
                    <a:pt x="39" y="0"/>
                  </a:moveTo>
                  <a:lnTo>
                    <a:pt x="50" y="0"/>
                  </a:lnTo>
                  <a:lnTo>
                    <a:pt x="37" y="15"/>
                  </a:lnTo>
                  <a:lnTo>
                    <a:pt x="35" y="26"/>
                  </a:lnTo>
                  <a:lnTo>
                    <a:pt x="39" y="41"/>
                  </a:lnTo>
                  <a:lnTo>
                    <a:pt x="26" y="56"/>
                  </a:lnTo>
                  <a:lnTo>
                    <a:pt x="9" y="73"/>
                  </a:lnTo>
                  <a:lnTo>
                    <a:pt x="6" y="56"/>
                  </a:lnTo>
                  <a:lnTo>
                    <a:pt x="0" y="49"/>
                  </a:lnTo>
                  <a:lnTo>
                    <a:pt x="0" y="36"/>
                  </a:lnTo>
                  <a:lnTo>
                    <a:pt x="15" y="22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76" name="Freeform 54"/>
            <p:cNvSpPr>
              <a:spLocks noChangeAspect="1"/>
            </p:cNvSpPr>
            <p:nvPr>
              <p:custDataLst>
                <p:tags r:id="rId78"/>
              </p:custDataLst>
            </p:nvPr>
          </p:nvSpPr>
          <p:spPr bwMode="gray">
            <a:xfrm>
              <a:off x="1908175" y="4038600"/>
              <a:ext cx="531813" cy="803275"/>
            </a:xfrm>
            <a:custGeom>
              <a:avLst/>
              <a:gdLst>
                <a:gd name="T0" fmla="*/ 2147483647 w 584"/>
                <a:gd name="T1" fmla="*/ 2147483647 h 935"/>
                <a:gd name="T2" fmla="*/ 2147483647 w 584"/>
                <a:gd name="T3" fmla="*/ 2147483647 h 935"/>
                <a:gd name="T4" fmla="*/ 2147483647 w 584"/>
                <a:gd name="T5" fmla="*/ 2147483647 h 935"/>
                <a:gd name="T6" fmla="*/ 2147483647 w 584"/>
                <a:gd name="T7" fmla="*/ 2147483647 h 935"/>
                <a:gd name="T8" fmla="*/ 2147483647 w 584"/>
                <a:gd name="T9" fmla="*/ 2147483647 h 935"/>
                <a:gd name="T10" fmla="*/ 2147483647 w 584"/>
                <a:gd name="T11" fmla="*/ 2147483647 h 935"/>
                <a:gd name="T12" fmla="*/ 2147483647 w 584"/>
                <a:gd name="T13" fmla="*/ 2147483647 h 935"/>
                <a:gd name="T14" fmla="*/ 2147483647 w 584"/>
                <a:gd name="T15" fmla="*/ 2147483647 h 935"/>
                <a:gd name="T16" fmla="*/ 2147483647 w 584"/>
                <a:gd name="T17" fmla="*/ 2147483647 h 935"/>
                <a:gd name="T18" fmla="*/ 2147483647 w 584"/>
                <a:gd name="T19" fmla="*/ 2147483647 h 935"/>
                <a:gd name="T20" fmla="*/ 2147483647 w 584"/>
                <a:gd name="T21" fmla="*/ 2147483647 h 935"/>
                <a:gd name="T22" fmla="*/ 2147483647 w 584"/>
                <a:gd name="T23" fmla="*/ 2147483647 h 935"/>
                <a:gd name="T24" fmla="*/ 2147483647 w 584"/>
                <a:gd name="T25" fmla="*/ 2147483647 h 935"/>
                <a:gd name="T26" fmla="*/ 2147483647 w 584"/>
                <a:gd name="T27" fmla="*/ 2147483647 h 935"/>
                <a:gd name="T28" fmla="*/ 2147483647 w 584"/>
                <a:gd name="T29" fmla="*/ 2147483647 h 935"/>
                <a:gd name="T30" fmla="*/ 2147483647 w 584"/>
                <a:gd name="T31" fmla="*/ 2147483647 h 935"/>
                <a:gd name="T32" fmla="*/ 2147483647 w 584"/>
                <a:gd name="T33" fmla="*/ 2147483647 h 935"/>
                <a:gd name="T34" fmla="*/ 2147483647 w 584"/>
                <a:gd name="T35" fmla="*/ 2147483647 h 935"/>
                <a:gd name="T36" fmla="*/ 2147483647 w 584"/>
                <a:gd name="T37" fmla="*/ 2147483647 h 935"/>
                <a:gd name="T38" fmla="*/ 2147483647 w 584"/>
                <a:gd name="T39" fmla="*/ 2147483647 h 935"/>
                <a:gd name="T40" fmla="*/ 2147483647 w 584"/>
                <a:gd name="T41" fmla="*/ 2147483647 h 935"/>
                <a:gd name="T42" fmla="*/ 2147483647 w 584"/>
                <a:gd name="T43" fmla="*/ 2147483647 h 935"/>
                <a:gd name="T44" fmla="*/ 2147483647 w 584"/>
                <a:gd name="T45" fmla="*/ 2147483647 h 935"/>
                <a:gd name="T46" fmla="*/ 2147483647 w 584"/>
                <a:gd name="T47" fmla="*/ 2147483647 h 935"/>
                <a:gd name="T48" fmla="*/ 2147483647 w 584"/>
                <a:gd name="T49" fmla="*/ 2147483647 h 935"/>
                <a:gd name="T50" fmla="*/ 2147483647 w 584"/>
                <a:gd name="T51" fmla="*/ 2147483647 h 935"/>
                <a:gd name="T52" fmla="*/ 2147483647 w 584"/>
                <a:gd name="T53" fmla="*/ 2147483647 h 935"/>
                <a:gd name="T54" fmla="*/ 2147483647 w 584"/>
                <a:gd name="T55" fmla="*/ 2147483647 h 935"/>
                <a:gd name="T56" fmla="*/ 2147483647 w 584"/>
                <a:gd name="T57" fmla="*/ 2147483647 h 935"/>
                <a:gd name="T58" fmla="*/ 2147483647 w 584"/>
                <a:gd name="T59" fmla="*/ 2147483647 h 935"/>
                <a:gd name="T60" fmla="*/ 2147483647 w 584"/>
                <a:gd name="T61" fmla="*/ 2147483647 h 935"/>
                <a:gd name="T62" fmla="*/ 2147483647 w 584"/>
                <a:gd name="T63" fmla="*/ 2147483647 h 935"/>
                <a:gd name="T64" fmla="*/ 2147483647 w 584"/>
                <a:gd name="T65" fmla="*/ 2147483647 h 935"/>
                <a:gd name="T66" fmla="*/ 2147483647 w 584"/>
                <a:gd name="T67" fmla="*/ 2147483647 h 935"/>
                <a:gd name="T68" fmla="*/ 2147483647 w 584"/>
                <a:gd name="T69" fmla="*/ 2147483647 h 935"/>
                <a:gd name="T70" fmla="*/ 2147483647 w 584"/>
                <a:gd name="T71" fmla="*/ 2147483647 h 935"/>
                <a:gd name="T72" fmla="*/ 2147483647 w 584"/>
                <a:gd name="T73" fmla="*/ 2147483647 h 935"/>
                <a:gd name="T74" fmla="*/ 2147483647 w 584"/>
                <a:gd name="T75" fmla="*/ 2147483647 h 935"/>
                <a:gd name="T76" fmla="*/ 2147483647 w 584"/>
                <a:gd name="T77" fmla="*/ 2147483647 h 935"/>
                <a:gd name="T78" fmla="*/ 2147483647 w 584"/>
                <a:gd name="T79" fmla="*/ 2147483647 h 935"/>
                <a:gd name="T80" fmla="*/ 2147483647 w 584"/>
                <a:gd name="T81" fmla="*/ 2147483647 h 935"/>
                <a:gd name="T82" fmla="*/ 2147483647 w 584"/>
                <a:gd name="T83" fmla="*/ 2147483647 h 935"/>
                <a:gd name="T84" fmla="*/ 2147483647 w 584"/>
                <a:gd name="T85" fmla="*/ 2147483647 h 935"/>
                <a:gd name="T86" fmla="*/ 2147483647 w 584"/>
                <a:gd name="T87" fmla="*/ 2147483647 h 935"/>
                <a:gd name="T88" fmla="*/ 2147483647 w 584"/>
                <a:gd name="T89" fmla="*/ 2147483647 h 935"/>
                <a:gd name="T90" fmla="*/ 2147483647 w 584"/>
                <a:gd name="T91" fmla="*/ 2147483647 h 935"/>
                <a:gd name="T92" fmla="*/ 2147483647 w 584"/>
                <a:gd name="T93" fmla="*/ 2147483647 h 935"/>
                <a:gd name="T94" fmla="*/ 2147483647 w 584"/>
                <a:gd name="T95" fmla="*/ 2147483647 h 93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84"/>
                <a:gd name="T145" fmla="*/ 0 h 935"/>
                <a:gd name="T146" fmla="*/ 584 w 584"/>
                <a:gd name="T147" fmla="*/ 935 h 93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84" h="935">
                  <a:moveTo>
                    <a:pt x="242" y="0"/>
                  </a:moveTo>
                  <a:lnTo>
                    <a:pt x="560" y="2"/>
                  </a:lnTo>
                  <a:lnTo>
                    <a:pt x="564" y="30"/>
                  </a:lnTo>
                  <a:lnTo>
                    <a:pt x="577" y="48"/>
                  </a:lnTo>
                  <a:lnTo>
                    <a:pt x="584" y="65"/>
                  </a:lnTo>
                  <a:lnTo>
                    <a:pt x="584" y="72"/>
                  </a:lnTo>
                  <a:lnTo>
                    <a:pt x="573" y="76"/>
                  </a:lnTo>
                  <a:lnTo>
                    <a:pt x="522" y="76"/>
                  </a:lnTo>
                  <a:lnTo>
                    <a:pt x="510" y="76"/>
                  </a:lnTo>
                  <a:lnTo>
                    <a:pt x="502" y="82"/>
                  </a:lnTo>
                  <a:lnTo>
                    <a:pt x="502" y="97"/>
                  </a:lnTo>
                  <a:lnTo>
                    <a:pt x="494" y="107"/>
                  </a:lnTo>
                  <a:lnTo>
                    <a:pt x="471" y="125"/>
                  </a:lnTo>
                  <a:lnTo>
                    <a:pt x="475" y="140"/>
                  </a:lnTo>
                  <a:lnTo>
                    <a:pt x="471" y="150"/>
                  </a:lnTo>
                  <a:lnTo>
                    <a:pt x="463" y="156"/>
                  </a:lnTo>
                  <a:lnTo>
                    <a:pt x="471" y="178"/>
                  </a:lnTo>
                  <a:lnTo>
                    <a:pt x="475" y="191"/>
                  </a:lnTo>
                  <a:lnTo>
                    <a:pt x="467" y="202"/>
                  </a:lnTo>
                  <a:lnTo>
                    <a:pt x="452" y="213"/>
                  </a:lnTo>
                  <a:lnTo>
                    <a:pt x="447" y="226"/>
                  </a:lnTo>
                  <a:lnTo>
                    <a:pt x="444" y="244"/>
                  </a:lnTo>
                  <a:lnTo>
                    <a:pt x="416" y="255"/>
                  </a:lnTo>
                  <a:lnTo>
                    <a:pt x="400" y="265"/>
                  </a:lnTo>
                  <a:lnTo>
                    <a:pt x="377" y="279"/>
                  </a:lnTo>
                  <a:lnTo>
                    <a:pt x="379" y="289"/>
                  </a:lnTo>
                  <a:lnTo>
                    <a:pt x="361" y="292"/>
                  </a:lnTo>
                  <a:lnTo>
                    <a:pt x="353" y="299"/>
                  </a:lnTo>
                  <a:lnTo>
                    <a:pt x="333" y="325"/>
                  </a:lnTo>
                  <a:lnTo>
                    <a:pt x="317" y="335"/>
                  </a:lnTo>
                  <a:lnTo>
                    <a:pt x="322" y="352"/>
                  </a:lnTo>
                  <a:lnTo>
                    <a:pt x="313" y="358"/>
                  </a:lnTo>
                  <a:lnTo>
                    <a:pt x="305" y="366"/>
                  </a:lnTo>
                  <a:lnTo>
                    <a:pt x="313" y="394"/>
                  </a:lnTo>
                  <a:lnTo>
                    <a:pt x="308" y="411"/>
                  </a:lnTo>
                  <a:lnTo>
                    <a:pt x="289" y="421"/>
                  </a:lnTo>
                  <a:lnTo>
                    <a:pt x="285" y="450"/>
                  </a:lnTo>
                  <a:lnTo>
                    <a:pt x="289" y="484"/>
                  </a:lnTo>
                  <a:lnTo>
                    <a:pt x="297" y="502"/>
                  </a:lnTo>
                  <a:lnTo>
                    <a:pt x="325" y="524"/>
                  </a:lnTo>
                  <a:lnTo>
                    <a:pt x="337" y="544"/>
                  </a:lnTo>
                  <a:lnTo>
                    <a:pt x="349" y="565"/>
                  </a:lnTo>
                  <a:lnTo>
                    <a:pt x="356" y="579"/>
                  </a:lnTo>
                  <a:lnTo>
                    <a:pt x="349" y="594"/>
                  </a:lnTo>
                  <a:lnTo>
                    <a:pt x="333" y="604"/>
                  </a:lnTo>
                  <a:lnTo>
                    <a:pt x="322" y="599"/>
                  </a:lnTo>
                  <a:lnTo>
                    <a:pt x="313" y="589"/>
                  </a:lnTo>
                  <a:lnTo>
                    <a:pt x="297" y="594"/>
                  </a:lnTo>
                  <a:lnTo>
                    <a:pt x="292" y="604"/>
                  </a:lnTo>
                  <a:lnTo>
                    <a:pt x="269" y="604"/>
                  </a:lnTo>
                  <a:lnTo>
                    <a:pt x="233" y="599"/>
                  </a:lnTo>
                  <a:lnTo>
                    <a:pt x="226" y="607"/>
                  </a:lnTo>
                  <a:lnTo>
                    <a:pt x="249" y="618"/>
                  </a:lnTo>
                  <a:lnTo>
                    <a:pt x="281" y="607"/>
                  </a:lnTo>
                  <a:lnTo>
                    <a:pt x="289" y="620"/>
                  </a:lnTo>
                  <a:lnTo>
                    <a:pt x="313" y="625"/>
                  </a:lnTo>
                  <a:lnTo>
                    <a:pt x="329" y="632"/>
                  </a:lnTo>
                  <a:lnTo>
                    <a:pt x="322" y="638"/>
                  </a:lnTo>
                  <a:lnTo>
                    <a:pt x="300" y="635"/>
                  </a:lnTo>
                  <a:lnTo>
                    <a:pt x="297" y="642"/>
                  </a:lnTo>
                  <a:lnTo>
                    <a:pt x="300" y="652"/>
                  </a:lnTo>
                  <a:lnTo>
                    <a:pt x="289" y="667"/>
                  </a:lnTo>
                  <a:lnTo>
                    <a:pt x="269" y="680"/>
                  </a:lnTo>
                  <a:lnTo>
                    <a:pt x="261" y="684"/>
                  </a:lnTo>
                  <a:lnTo>
                    <a:pt x="254" y="688"/>
                  </a:lnTo>
                  <a:lnTo>
                    <a:pt x="258" y="705"/>
                  </a:lnTo>
                  <a:lnTo>
                    <a:pt x="249" y="715"/>
                  </a:lnTo>
                  <a:lnTo>
                    <a:pt x="238" y="737"/>
                  </a:lnTo>
                  <a:lnTo>
                    <a:pt x="243" y="758"/>
                  </a:lnTo>
                  <a:lnTo>
                    <a:pt x="233" y="789"/>
                  </a:lnTo>
                  <a:lnTo>
                    <a:pt x="226" y="803"/>
                  </a:lnTo>
                  <a:lnTo>
                    <a:pt x="226" y="824"/>
                  </a:lnTo>
                  <a:lnTo>
                    <a:pt x="215" y="837"/>
                  </a:lnTo>
                  <a:lnTo>
                    <a:pt x="199" y="863"/>
                  </a:lnTo>
                  <a:lnTo>
                    <a:pt x="194" y="880"/>
                  </a:lnTo>
                  <a:lnTo>
                    <a:pt x="168" y="876"/>
                  </a:lnTo>
                  <a:lnTo>
                    <a:pt x="140" y="876"/>
                  </a:lnTo>
                  <a:lnTo>
                    <a:pt x="137" y="887"/>
                  </a:lnTo>
                  <a:lnTo>
                    <a:pt x="121" y="890"/>
                  </a:lnTo>
                  <a:lnTo>
                    <a:pt x="113" y="895"/>
                  </a:lnTo>
                  <a:lnTo>
                    <a:pt x="117" y="906"/>
                  </a:lnTo>
                  <a:lnTo>
                    <a:pt x="113" y="925"/>
                  </a:lnTo>
                  <a:lnTo>
                    <a:pt x="93" y="935"/>
                  </a:lnTo>
                  <a:lnTo>
                    <a:pt x="82" y="925"/>
                  </a:lnTo>
                  <a:lnTo>
                    <a:pt x="67" y="935"/>
                  </a:lnTo>
                  <a:lnTo>
                    <a:pt x="46" y="935"/>
                  </a:lnTo>
                  <a:lnTo>
                    <a:pt x="39" y="925"/>
                  </a:lnTo>
                  <a:lnTo>
                    <a:pt x="46" y="917"/>
                  </a:lnTo>
                  <a:lnTo>
                    <a:pt x="51" y="897"/>
                  </a:lnTo>
                  <a:lnTo>
                    <a:pt x="34" y="869"/>
                  </a:lnTo>
                  <a:lnTo>
                    <a:pt x="28" y="856"/>
                  </a:lnTo>
                  <a:lnTo>
                    <a:pt x="31" y="848"/>
                  </a:lnTo>
                  <a:lnTo>
                    <a:pt x="39" y="848"/>
                  </a:lnTo>
                  <a:lnTo>
                    <a:pt x="44" y="842"/>
                  </a:lnTo>
                  <a:lnTo>
                    <a:pt x="46" y="834"/>
                  </a:lnTo>
                  <a:lnTo>
                    <a:pt x="51" y="827"/>
                  </a:lnTo>
                  <a:lnTo>
                    <a:pt x="46" y="821"/>
                  </a:lnTo>
                  <a:lnTo>
                    <a:pt x="39" y="806"/>
                  </a:lnTo>
                  <a:lnTo>
                    <a:pt x="23" y="786"/>
                  </a:lnTo>
                  <a:lnTo>
                    <a:pt x="28" y="764"/>
                  </a:lnTo>
                  <a:lnTo>
                    <a:pt x="16" y="748"/>
                  </a:lnTo>
                  <a:lnTo>
                    <a:pt x="5" y="737"/>
                  </a:lnTo>
                  <a:lnTo>
                    <a:pt x="11" y="719"/>
                  </a:lnTo>
                  <a:lnTo>
                    <a:pt x="20" y="684"/>
                  </a:lnTo>
                  <a:lnTo>
                    <a:pt x="5" y="667"/>
                  </a:lnTo>
                  <a:lnTo>
                    <a:pt x="0" y="649"/>
                  </a:lnTo>
                  <a:lnTo>
                    <a:pt x="0" y="638"/>
                  </a:lnTo>
                  <a:lnTo>
                    <a:pt x="7" y="618"/>
                  </a:lnTo>
                  <a:lnTo>
                    <a:pt x="20" y="620"/>
                  </a:lnTo>
                  <a:lnTo>
                    <a:pt x="31" y="594"/>
                  </a:lnTo>
                  <a:lnTo>
                    <a:pt x="31" y="561"/>
                  </a:lnTo>
                  <a:lnTo>
                    <a:pt x="34" y="551"/>
                  </a:lnTo>
                  <a:lnTo>
                    <a:pt x="51" y="541"/>
                  </a:lnTo>
                  <a:lnTo>
                    <a:pt x="74" y="526"/>
                  </a:lnTo>
                  <a:lnTo>
                    <a:pt x="74" y="510"/>
                  </a:lnTo>
                  <a:lnTo>
                    <a:pt x="70" y="457"/>
                  </a:lnTo>
                  <a:lnTo>
                    <a:pt x="62" y="450"/>
                  </a:lnTo>
                  <a:lnTo>
                    <a:pt x="62" y="435"/>
                  </a:lnTo>
                  <a:lnTo>
                    <a:pt x="82" y="428"/>
                  </a:lnTo>
                  <a:lnTo>
                    <a:pt x="90" y="421"/>
                  </a:lnTo>
                  <a:lnTo>
                    <a:pt x="78" y="401"/>
                  </a:lnTo>
                  <a:lnTo>
                    <a:pt x="62" y="380"/>
                  </a:lnTo>
                  <a:lnTo>
                    <a:pt x="67" y="356"/>
                  </a:lnTo>
                  <a:lnTo>
                    <a:pt x="70" y="338"/>
                  </a:lnTo>
                  <a:lnTo>
                    <a:pt x="86" y="307"/>
                  </a:lnTo>
                  <a:lnTo>
                    <a:pt x="86" y="292"/>
                  </a:lnTo>
                  <a:lnTo>
                    <a:pt x="86" y="265"/>
                  </a:lnTo>
                  <a:lnTo>
                    <a:pt x="98" y="240"/>
                  </a:lnTo>
                  <a:lnTo>
                    <a:pt x="117" y="226"/>
                  </a:lnTo>
                  <a:lnTo>
                    <a:pt x="137" y="215"/>
                  </a:lnTo>
                  <a:lnTo>
                    <a:pt x="155" y="219"/>
                  </a:lnTo>
                  <a:lnTo>
                    <a:pt x="176" y="226"/>
                  </a:lnTo>
                  <a:lnTo>
                    <a:pt x="183" y="202"/>
                  </a:lnTo>
                  <a:lnTo>
                    <a:pt x="176" y="181"/>
                  </a:lnTo>
                  <a:lnTo>
                    <a:pt x="168" y="166"/>
                  </a:lnTo>
                  <a:lnTo>
                    <a:pt x="164" y="156"/>
                  </a:lnTo>
                  <a:lnTo>
                    <a:pt x="168" y="145"/>
                  </a:lnTo>
                  <a:lnTo>
                    <a:pt x="180" y="142"/>
                  </a:lnTo>
                  <a:lnTo>
                    <a:pt x="183" y="118"/>
                  </a:lnTo>
                  <a:lnTo>
                    <a:pt x="192" y="97"/>
                  </a:lnTo>
                  <a:lnTo>
                    <a:pt x="194" y="80"/>
                  </a:lnTo>
                  <a:lnTo>
                    <a:pt x="194" y="61"/>
                  </a:lnTo>
                  <a:lnTo>
                    <a:pt x="206" y="44"/>
                  </a:lnTo>
                  <a:lnTo>
                    <a:pt x="230" y="30"/>
                  </a:lnTo>
                  <a:lnTo>
                    <a:pt x="246" y="27"/>
                  </a:lnTo>
                  <a:lnTo>
                    <a:pt x="251" y="4"/>
                  </a:lnTo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77" name="Freeform 55"/>
            <p:cNvSpPr>
              <a:spLocks noChangeAspect="1"/>
            </p:cNvSpPr>
            <p:nvPr>
              <p:custDataLst>
                <p:tags r:id="rId79"/>
              </p:custDataLst>
            </p:nvPr>
          </p:nvSpPr>
          <p:spPr bwMode="gray">
            <a:xfrm>
              <a:off x="350838" y="5524500"/>
              <a:ext cx="295275" cy="354013"/>
            </a:xfrm>
            <a:custGeom>
              <a:avLst/>
              <a:gdLst>
                <a:gd name="T0" fmla="*/ 2147483647 w 307"/>
                <a:gd name="T1" fmla="*/ 0 h 436"/>
                <a:gd name="T2" fmla="*/ 2147483647 w 307"/>
                <a:gd name="T3" fmla="*/ 2147483647 h 436"/>
                <a:gd name="T4" fmla="*/ 2147483647 w 307"/>
                <a:gd name="T5" fmla="*/ 2147483647 h 436"/>
                <a:gd name="T6" fmla="*/ 2147483647 w 307"/>
                <a:gd name="T7" fmla="*/ 2147483647 h 436"/>
                <a:gd name="T8" fmla="*/ 2147483647 w 307"/>
                <a:gd name="T9" fmla="*/ 2147483647 h 436"/>
                <a:gd name="T10" fmla="*/ 2147483647 w 307"/>
                <a:gd name="T11" fmla="*/ 2147483647 h 436"/>
                <a:gd name="T12" fmla="*/ 2147483647 w 307"/>
                <a:gd name="T13" fmla="*/ 2147483647 h 436"/>
                <a:gd name="T14" fmla="*/ 2147483647 w 307"/>
                <a:gd name="T15" fmla="*/ 2147483647 h 436"/>
                <a:gd name="T16" fmla="*/ 2147483647 w 307"/>
                <a:gd name="T17" fmla="*/ 2147483647 h 436"/>
                <a:gd name="T18" fmla="*/ 2147483647 w 307"/>
                <a:gd name="T19" fmla="*/ 2147483647 h 436"/>
                <a:gd name="T20" fmla="*/ 2147483647 w 307"/>
                <a:gd name="T21" fmla="*/ 2147483647 h 436"/>
                <a:gd name="T22" fmla="*/ 2147483647 w 307"/>
                <a:gd name="T23" fmla="*/ 2147483647 h 436"/>
                <a:gd name="T24" fmla="*/ 2147483647 w 307"/>
                <a:gd name="T25" fmla="*/ 2147483647 h 436"/>
                <a:gd name="T26" fmla="*/ 2147483647 w 307"/>
                <a:gd name="T27" fmla="*/ 2147483647 h 436"/>
                <a:gd name="T28" fmla="*/ 2147483647 w 307"/>
                <a:gd name="T29" fmla="*/ 2147483647 h 436"/>
                <a:gd name="T30" fmla="*/ 2147483647 w 307"/>
                <a:gd name="T31" fmla="*/ 2147483647 h 436"/>
                <a:gd name="T32" fmla="*/ 2147483647 w 307"/>
                <a:gd name="T33" fmla="*/ 2147483647 h 436"/>
                <a:gd name="T34" fmla="*/ 2147483647 w 307"/>
                <a:gd name="T35" fmla="*/ 2147483647 h 436"/>
                <a:gd name="T36" fmla="*/ 2147483647 w 307"/>
                <a:gd name="T37" fmla="*/ 2147483647 h 436"/>
                <a:gd name="T38" fmla="*/ 2147483647 w 307"/>
                <a:gd name="T39" fmla="*/ 2147483647 h 436"/>
                <a:gd name="T40" fmla="*/ 2147483647 w 307"/>
                <a:gd name="T41" fmla="*/ 2147483647 h 436"/>
                <a:gd name="T42" fmla="*/ 0 w 307"/>
                <a:gd name="T43" fmla="*/ 2147483647 h 436"/>
                <a:gd name="T44" fmla="*/ 2147483647 w 307"/>
                <a:gd name="T45" fmla="*/ 2147483647 h 436"/>
                <a:gd name="T46" fmla="*/ 2147483647 w 307"/>
                <a:gd name="T47" fmla="*/ 2147483647 h 436"/>
                <a:gd name="T48" fmla="*/ 2147483647 w 307"/>
                <a:gd name="T49" fmla="*/ 2147483647 h 436"/>
                <a:gd name="T50" fmla="*/ 2147483647 w 307"/>
                <a:gd name="T51" fmla="*/ 2147483647 h 436"/>
                <a:gd name="T52" fmla="*/ 2147483647 w 307"/>
                <a:gd name="T53" fmla="*/ 2147483647 h 436"/>
                <a:gd name="T54" fmla="*/ 2147483647 w 307"/>
                <a:gd name="T55" fmla="*/ 2147483647 h 436"/>
                <a:gd name="T56" fmla="*/ 2147483647 w 307"/>
                <a:gd name="T57" fmla="*/ 2147483647 h 436"/>
                <a:gd name="T58" fmla="*/ 2147483647 w 307"/>
                <a:gd name="T59" fmla="*/ 2147483647 h 436"/>
                <a:gd name="T60" fmla="*/ 2147483647 w 307"/>
                <a:gd name="T61" fmla="*/ 2147483647 h 436"/>
                <a:gd name="T62" fmla="*/ 2147483647 w 307"/>
                <a:gd name="T63" fmla="*/ 2147483647 h 436"/>
                <a:gd name="T64" fmla="*/ 2147483647 w 307"/>
                <a:gd name="T65" fmla="*/ 2147483647 h 436"/>
                <a:gd name="T66" fmla="*/ 2147483647 w 307"/>
                <a:gd name="T67" fmla="*/ 2147483647 h 436"/>
                <a:gd name="T68" fmla="*/ 2147483647 w 307"/>
                <a:gd name="T69" fmla="*/ 2147483647 h 4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07"/>
                <a:gd name="T106" fmla="*/ 0 h 436"/>
                <a:gd name="T107" fmla="*/ 307 w 307"/>
                <a:gd name="T108" fmla="*/ 436 h 4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07" h="436">
                  <a:moveTo>
                    <a:pt x="155" y="4"/>
                  </a:moveTo>
                  <a:lnTo>
                    <a:pt x="177" y="0"/>
                  </a:lnTo>
                  <a:lnTo>
                    <a:pt x="192" y="17"/>
                  </a:lnTo>
                  <a:lnTo>
                    <a:pt x="194" y="37"/>
                  </a:lnTo>
                  <a:lnTo>
                    <a:pt x="200" y="41"/>
                  </a:lnTo>
                  <a:lnTo>
                    <a:pt x="211" y="38"/>
                  </a:lnTo>
                  <a:lnTo>
                    <a:pt x="246" y="52"/>
                  </a:lnTo>
                  <a:lnTo>
                    <a:pt x="256" y="45"/>
                  </a:lnTo>
                  <a:lnTo>
                    <a:pt x="270" y="44"/>
                  </a:lnTo>
                  <a:lnTo>
                    <a:pt x="279" y="56"/>
                  </a:lnTo>
                  <a:lnTo>
                    <a:pt x="287" y="76"/>
                  </a:lnTo>
                  <a:lnTo>
                    <a:pt x="299" y="89"/>
                  </a:lnTo>
                  <a:lnTo>
                    <a:pt x="307" y="96"/>
                  </a:lnTo>
                  <a:lnTo>
                    <a:pt x="304" y="103"/>
                  </a:lnTo>
                  <a:lnTo>
                    <a:pt x="277" y="110"/>
                  </a:lnTo>
                  <a:lnTo>
                    <a:pt x="248" y="126"/>
                  </a:lnTo>
                  <a:lnTo>
                    <a:pt x="249" y="153"/>
                  </a:lnTo>
                  <a:lnTo>
                    <a:pt x="232" y="167"/>
                  </a:lnTo>
                  <a:lnTo>
                    <a:pt x="218" y="179"/>
                  </a:lnTo>
                  <a:lnTo>
                    <a:pt x="216" y="205"/>
                  </a:lnTo>
                  <a:lnTo>
                    <a:pt x="216" y="222"/>
                  </a:lnTo>
                  <a:lnTo>
                    <a:pt x="205" y="234"/>
                  </a:lnTo>
                  <a:lnTo>
                    <a:pt x="196" y="222"/>
                  </a:lnTo>
                  <a:lnTo>
                    <a:pt x="180" y="227"/>
                  </a:lnTo>
                  <a:lnTo>
                    <a:pt x="178" y="235"/>
                  </a:lnTo>
                  <a:lnTo>
                    <a:pt x="175" y="257"/>
                  </a:lnTo>
                  <a:lnTo>
                    <a:pt x="181" y="265"/>
                  </a:lnTo>
                  <a:lnTo>
                    <a:pt x="178" y="287"/>
                  </a:lnTo>
                  <a:lnTo>
                    <a:pt x="168" y="297"/>
                  </a:lnTo>
                  <a:lnTo>
                    <a:pt x="155" y="314"/>
                  </a:lnTo>
                  <a:lnTo>
                    <a:pt x="149" y="328"/>
                  </a:lnTo>
                  <a:lnTo>
                    <a:pt x="152" y="354"/>
                  </a:lnTo>
                  <a:lnTo>
                    <a:pt x="163" y="369"/>
                  </a:lnTo>
                  <a:lnTo>
                    <a:pt x="156" y="378"/>
                  </a:lnTo>
                  <a:lnTo>
                    <a:pt x="127" y="387"/>
                  </a:lnTo>
                  <a:lnTo>
                    <a:pt x="116" y="398"/>
                  </a:lnTo>
                  <a:lnTo>
                    <a:pt x="115" y="410"/>
                  </a:lnTo>
                  <a:lnTo>
                    <a:pt x="115" y="432"/>
                  </a:lnTo>
                  <a:lnTo>
                    <a:pt x="82" y="432"/>
                  </a:lnTo>
                  <a:lnTo>
                    <a:pt x="59" y="436"/>
                  </a:lnTo>
                  <a:lnTo>
                    <a:pt x="33" y="406"/>
                  </a:lnTo>
                  <a:lnTo>
                    <a:pt x="19" y="406"/>
                  </a:lnTo>
                  <a:lnTo>
                    <a:pt x="7" y="406"/>
                  </a:lnTo>
                  <a:lnTo>
                    <a:pt x="0" y="395"/>
                  </a:lnTo>
                  <a:lnTo>
                    <a:pt x="7" y="384"/>
                  </a:lnTo>
                  <a:lnTo>
                    <a:pt x="22" y="362"/>
                  </a:lnTo>
                  <a:lnTo>
                    <a:pt x="30" y="340"/>
                  </a:lnTo>
                  <a:lnTo>
                    <a:pt x="48" y="314"/>
                  </a:lnTo>
                  <a:lnTo>
                    <a:pt x="52" y="299"/>
                  </a:lnTo>
                  <a:lnTo>
                    <a:pt x="44" y="288"/>
                  </a:lnTo>
                  <a:lnTo>
                    <a:pt x="33" y="278"/>
                  </a:lnTo>
                  <a:lnTo>
                    <a:pt x="30" y="272"/>
                  </a:lnTo>
                  <a:lnTo>
                    <a:pt x="44" y="267"/>
                  </a:lnTo>
                  <a:lnTo>
                    <a:pt x="52" y="252"/>
                  </a:lnTo>
                  <a:lnTo>
                    <a:pt x="37" y="248"/>
                  </a:lnTo>
                  <a:lnTo>
                    <a:pt x="22" y="256"/>
                  </a:lnTo>
                  <a:lnTo>
                    <a:pt x="22" y="237"/>
                  </a:lnTo>
                  <a:lnTo>
                    <a:pt x="30" y="226"/>
                  </a:lnTo>
                  <a:lnTo>
                    <a:pt x="37" y="215"/>
                  </a:lnTo>
                  <a:lnTo>
                    <a:pt x="41" y="200"/>
                  </a:lnTo>
                  <a:lnTo>
                    <a:pt x="44" y="189"/>
                  </a:lnTo>
                  <a:lnTo>
                    <a:pt x="52" y="186"/>
                  </a:lnTo>
                  <a:lnTo>
                    <a:pt x="63" y="193"/>
                  </a:lnTo>
                  <a:lnTo>
                    <a:pt x="82" y="167"/>
                  </a:lnTo>
                  <a:lnTo>
                    <a:pt x="93" y="149"/>
                  </a:lnTo>
                  <a:lnTo>
                    <a:pt x="122" y="115"/>
                  </a:lnTo>
                  <a:lnTo>
                    <a:pt x="122" y="101"/>
                  </a:lnTo>
                  <a:lnTo>
                    <a:pt x="137" y="78"/>
                  </a:lnTo>
                  <a:lnTo>
                    <a:pt x="141" y="52"/>
                  </a:lnTo>
                  <a:lnTo>
                    <a:pt x="148" y="38"/>
                  </a:lnTo>
                  <a:lnTo>
                    <a:pt x="155" y="4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78" name="Freeform 56"/>
            <p:cNvSpPr>
              <a:spLocks noChangeAspect="1"/>
            </p:cNvSpPr>
            <p:nvPr>
              <p:custDataLst>
                <p:tags r:id="rId80"/>
              </p:custDataLst>
            </p:nvPr>
          </p:nvSpPr>
          <p:spPr bwMode="gray">
            <a:xfrm>
              <a:off x="460375" y="5413375"/>
              <a:ext cx="773113" cy="581025"/>
            </a:xfrm>
            <a:custGeom>
              <a:avLst/>
              <a:gdLst>
                <a:gd name="T0" fmla="*/ 2147483647 w 850"/>
                <a:gd name="T1" fmla="*/ 2147483647 h 676"/>
                <a:gd name="T2" fmla="*/ 2147483647 w 850"/>
                <a:gd name="T3" fmla="*/ 2147483647 h 676"/>
                <a:gd name="T4" fmla="*/ 2147483647 w 850"/>
                <a:gd name="T5" fmla="*/ 2147483647 h 676"/>
                <a:gd name="T6" fmla="*/ 2147483647 w 850"/>
                <a:gd name="T7" fmla="*/ 2147483647 h 676"/>
                <a:gd name="T8" fmla="*/ 2147483647 w 850"/>
                <a:gd name="T9" fmla="*/ 2147483647 h 676"/>
                <a:gd name="T10" fmla="*/ 2147483647 w 850"/>
                <a:gd name="T11" fmla="*/ 2147483647 h 676"/>
                <a:gd name="T12" fmla="*/ 2147483647 w 850"/>
                <a:gd name="T13" fmla="*/ 2147483647 h 676"/>
                <a:gd name="T14" fmla="*/ 2147483647 w 850"/>
                <a:gd name="T15" fmla="*/ 2147483647 h 676"/>
                <a:gd name="T16" fmla="*/ 2147483647 w 850"/>
                <a:gd name="T17" fmla="*/ 2147483647 h 676"/>
                <a:gd name="T18" fmla="*/ 2147483647 w 850"/>
                <a:gd name="T19" fmla="*/ 2147483647 h 676"/>
                <a:gd name="T20" fmla="*/ 2147483647 w 850"/>
                <a:gd name="T21" fmla="*/ 2147483647 h 676"/>
                <a:gd name="T22" fmla="*/ 2147483647 w 850"/>
                <a:gd name="T23" fmla="*/ 2147483647 h 676"/>
                <a:gd name="T24" fmla="*/ 2147483647 w 850"/>
                <a:gd name="T25" fmla="*/ 2147483647 h 676"/>
                <a:gd name="T26" fmla="*/ 2147483647 w 850"/>
                <a:gd name="T27" fmla="*/ 2147483647 h 676"/>
                <a:gd name="T28" fmla="*/ 2147483647 w 850"/>
                <a:gd name="T29" fmla="*/ 2147483647 h 676"/>
                <a:gd name="T30" fmla="*/ 2147483647 w 850"/>
                <a:gd name="T31" fmla="*/ 2147483647 h 676"/>
                <a:gd name="T32" fmla="*/ 2147483647 w 850"/>
                <a:gd name="T33" fmla="*/ 2147483647 h 676"/>
                <a:gd name="T34" fmla="*/ 2147483647 w 850"/>
                <a:gd name="T35" fmla="*/ 2147483647 h 676"/>
                <a:gd name="T36" fmla="*/ 2147483647 w 850"/>
                <a:gd name="T37" fmla="*/ 2147483647 h 676"/>
                <a:gd name="T38" fmla="*/ 2147483647 w 850"/>
                <a:gd name="T39" fmla="*/ 2147483647 h 676"/>
                <a:gd name="T40" fmla="*/ 2147483647 w 850"/>
                <a:gd name="T41" fmla="*/ 2147483647 h 676"/>
                <a:gd name="T42" fmla="*/ 2147483647 w 850"/>
                <a:gd name="T43" fmla="*/ 2147483647 h 676"/>
                <a:gd name="T44" fmla="*/ 2147483647 w 850"/>
                <a:gd name="T45" fmla="*/ 2147483647 h 676"/>
                <a:gd name="T46" fmla="*/ 2147483647 w 850"/>
                <a:gd name="T47" fmla="*/ 2147483647 h 676"/>
                <a:gd name="T48" fmla="*/ 2147483647 w 850"/>
                <a:gd name="T49" fmla="*/ 2147483647 h 676"/>
                <a:gd name="T50" fmla="*/ 2147483647 w 850"/>
                <a:gd name="T51" fmla="*/ 2147483647 h 676"/>
                <a:gd name="T52" fmla="*/ 2147483647 w 850"/>
                <a:gd name="T53" fmla="*/ 2147483647 h 676"/>
                <a:gd name="T54" fmla="*/ 2147483647 w 850"/>
                <a:gd name="T55" fmla="*/ 2147483647 h 676"/>
                <a:gd name="T56" fmla="*/ 2147483647 w 850"/>
                <a:gd name="T57" fmla="*/ 2147483647 h 676"/>
                <a:gd name="T58" fmla="*/ 2147483647 w 850"/>
                <a:gd name="T59" fmla="*/ 2147483647 h 676"/>
                <a:gd name="T60" fmla="*/ 2147483647 w 850"/>
                <a:gd name="T61" fmla="*/ 2147483647 h 676"/>
                <a:gd name="T62" fmla="*/ 2147483647 w 850"/>
                <a:gd name="T63" fmla="*/ 2147483647 h 676"/>
                <a:gd name="T64" fmla="*/ 2147483647 w 850"/>
                <a:gd name="T65" fmla="*/ 2147483647 h 676"/>
                <a:gd name="T66" fmla="*/ 2147483647 w 850"/>
                <a:gd name="T67" fmla="*/ 2147483647 h 676"/>
                <a:gd name="T68" fmla="*/ 2147483647 w 850"/>
                <a:gd name="T69" fmla="*/ 2147483647 h 676"/>
                <a:gd name="T70" fmla="*/ 2147483647 w 850"/>
                <a:gd name="T71" fmla="*/ 2147483647 h 676"/>
                <a:gd name="T72" fmla="*/ 2147483647 w 850"/>
                <a:gd name="T73" fmla="*/ 2147483647 h 676"/>
                <a:gd name="T74" fmla="*/ 2147483647 w 850"/>
                <a:gd name="T75" fmla="*/ 2147483647 h 676"/>
                <a:gd name="T76" fmla="*/ 2147483647 w 850"/>
                <a:gd name="T77" fmla="*/ 2147483647 h 676"/>
                <a:gd name="T78" fmla="*/ 2147483647 w 850"/>
                <a:gd name="T79" fmla="*/ 2147483647 h 676"/>
                <a:gd name="T80" fmla="*/ 2147483647 w 850"/>
                <a:gd name="T81" fmla="*/ 2147483647 h 676"/>
                <a:gd name="T82" fmla="*/ 2147483647 w 850"/>
                <a:gd name="T83" fmla="*/ 2147483647 h 676"/>
                <a:gd name="T84" fmla="*/ 2147483647 w 850"/>
                <a:gd name="T85" fmla="*/ 2147483647 h 676"/>
                <a:gd name="T86" fmla="*/ 0 w 850"/>
                <a:gd name="T87" fmla="*/ 2147483647 h 676"/>
                <a:gd name="T88" fmla="*/ 2147483647 w 850"/>
                <a:gd name="T89" fmla="*/ 2147483647 h 676"/>
                <a:gd name="T90" fmla="*/ 2147483647 w 850"/>
                <a:gd name="T91" fmla="*/ 2147483647 h 676"/>
                <a:gd name="T92" fmla="*/ 2147483647 w 850"/>
                <a:gd name="T93" fmla="*/ 2147483647 h 676"/>
                <a:gd name="T94" fmla="*/ 2147483647 w 850"/>
                <a:gd name="T95" fmla="*/ 2147483647 h 676"/>
                <a:gd name="T96" fmla="*/ 2147483647 w 850"/>
                <a:gd name="T97" fmla="*/ 2147483647 h 676"/>
                <a:gd name="T98" fmla="*/ 2147483647 w 850"/>
                <a:gd name="T99" fmla="*/ 2147483647 h 676"/>
                <a:gd name="T100" fmla="*/ 2147483647 w 850"/>
                <a:gd name="T101" fmla="*/ 2147483647 h 676"/>
                <a:gd name="T102" fmla="*/ 2147483647 w 850"/>
                <a:gd name="T103" fmla="*/ 2147483647 h 676"/>
                <a:gd name="T104" fmla="*/ 2147483647 w 850"/>
                <a:gd name="T105" fmla="*/ 2147483647 h 676"/>
                <a:gd name="T106" fmla="*/ 2147483647 w 850"/>
                <a:gd name="T107" fmla="*/ 2147483647 h 676"/>
                <a:gd name="T108" fmla="*/ 2147483647 w 850"/>
                <a:gd name="T109" fmla="*/ 2147483647 h 676"/>
                <a:gd name="T110" fmla="*/ 2147483647 w 850"/>
                <a:gd name="T111" fmla="*/ 2147483647 h 676"/>
                <a:gd name="T112" fmla="*/ 2147483647 w 850"/>
                <a:gd name="T113" fmla="*/ 2147483647 h 676"/>
                <a:gd name="T114" fmla="*/ 2147483647 w 850"/>
                <a:gd name="T115" fmla="*/ 2147483647 h 676"/>
                <a:gd name="T116" fmla="*/ 2147483647 w 850"/>
                <a:gd name="T117" fmla="*/ 2147483647 h 676"/>
                <a:gd name="T118" fmla="*/ 2147483647 w 850"/>
                <a:gd name="T119" fmla="*/ 2147483647 h 67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50"/>
                <a:gd name="T181" fmla="*/ 0 h 676"/>
                <a:gd name="T182" fmla="*/ 850 w 850"/>
                <a:gd name="T183" fmla="*/ 676 h 67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50" h="676">
                  <a:moveTo>
                    <a:pt x="43" y="133"/>
                  </a:moveTo>
                  <a:lnTo>
                    <a:pt x="39" y="122"/>
                  </a:lnTo>
                  <a:lnTo>
                    <a:pt x="43" y="108"/>
                  </a:lnTo>
                  <a:lnTo>
                    <a:pt x="66" y="73"/>
                  </a:lnTo>
                  <a:lnTo>
                    <a:pt x="55" y="66"/>
                  </a:lnTo>
                  <a:lnTo>
                    <a:pt x="59" y="56"/>
                  </a:lnTo>
                  <a:lnTo>
                    <a:pt x="46" y="53"/>
                  </a:lnTo>
                  <a:lnTo>
                    <a:pt x="46" y="39"/>
                  </a:lnTo>
                  <a:lnTo>
                    <a:pt x="55" y="28"/>
                  </a:lnTo>
                  <a:lnTo>
                    <a:pt x="93" y="18"/>
                  </a:lnTo>
                  <a:lnTo>
                    <a:pt x="125" y="21"/>
                  </a:lnTo>
                  <a:lnTo>
                    <a:pt x="128" y="10"/>
                  </a:lnTo>
                  <a:lnTo>
                    <a:pt x="151" y="0"/>
                  </a:lnTo>
                  <a:lnTo>
                    <a:pt x="164" y="4"/>
                  </a:lnTo>
                  <a:lnTo>
                    <a:pt x="191" y="35"/>
                  </a:lnTo>
                  <a:lnTo>
                    <a:pt x="234" y="53"/>
                  </a:lnTo>
                  <a:lnTo>
                    <a:pt x="273" y="53"/>
                  </a:lnTo>
                  <a:lnTo>
                    <a:pt x="283" y="56"/>
                  </a:lnTo>
                  <a:lnTo>
                    <a:pt x="387" y="108"/>
                  </a:lnTo>
                  <a:lnTo>
                    <a:pt x="418" y="112"/>
                  </a:lnTo>
                  <a:lnTo>
                    <a:pt x="441" y="133"/>
                  </a:lnTo>
                  <a:lnTo>
                    <a:pt x="476" y="125"/>
                  </a:lnTo>
                  <a:lnTo>
                    <a:pt x="496" y="137"/>
                  </a:lnTo>
                  <a:lnTo>
                    <a:pt x="516" y="153"/>
                  </a:lnTo>
                  <a:lnTo>
                    <a:pt x="539" y="153"/>
                  </a:lnTo>
                  <a:lnTo>
                    <a:pt x="554" y="157"/>
                  </a:lnTo>
                  <a:lnTo>
                    <a:pt x="562" y="164"/>
                  </a:lnTo>
                  <a:lnTo>
                    <a:pt x="554" y="174"/>
                  </a:lnTo>
                  <a:lnTo>
                    <a:pt x="554" y="188"/>
                  </a:lnTo>
                  <a:lnTo>
                    <a:pt x="616" y="227"/>
                  </a:lnTo>
                  <a:lnTo>
                    <a:pt x="651" y="251"/>
                  </a:lnTo>
                  <a:lnTo>
                    <a:pt x="667" y="248"/>
                  </a:lnTo>
                  <a:lnTo>
                    <a:pt x="685" y="244"/>
                  </a:lnTo>
                  <a:lnTo>
                    <a:pt x="744" y="268"/>
                  </a:lnTo>
                  <a:lnTo>
                    <a:pt x="751" y="286"/>
                  </a:lnTo>
                  <a:lnTo>
                    <a:pt x="760" y="293"/>
                  </a:lnTo>
                  <a:lnTo>
                    <a:pt x="779" y="291"/>
                  </a:lnTo>
                  <a:lnTo>
                    <a:pt x="807" y="303"/>
                  </a:lnTo>
                  <a:lnTo>
                    <a:pt x="823" y="303"/>
                  </a:lnTo>
                  <a:lnTo>
                    <a:pt x="838" y="307"/>
                  </a:lnTo>
                  <a:lnTo>
                    <a:pt x="843" y="303"/>
                  </a:lnTo>
                  <a:lnTo>
                    <a:pt x="850" y="317"/>
                  </a:lnTo>
                  <a:lnTo>
                    <a:pt x="850" y="335"/>
                  </a:lnTo>
                  <a:lnTo>
                    <a:pt x="838" y="346"/>
                  </a:lnTo>
                  <a:lnTo>
                    <a:pt x="776" y="387"/>
                  </a:lnTo>
                  <a:lnTo>
                    <a:pt x="748" y="387"/>
                  </a:lnTo>
                  <a:lnTo>
                    <a:pt x="671" y="404"/>
                  </a:lnTo>
                  <a:lnTo>
                    <a:pt x="644" y="408"/>
                  </a:lnTo>
                  <a:lnTo>
                    <a:pt x="644" y="428"/>
                  </a:lnTo>
                  <a:lnTo>
                    <a:pt x="628" y="428"/>
                  </a:lnTo>
                  <a:lnTo>
                    <a:pt x="612" y="439"/>
                  </a:lnTo>
                  <a:lnTo>
                    <a:pt x="596" y="457"/>
                  </a:lnTo>
                  <a:lnTo>
                    <a:pt x="581" y="470"/>
                  </a:lnTo>
                  <a:lnTo>
                    <a:pt x="562" y="474"/>
                  </a:lnTo>
                  <a:lnTo>
                    <a:pt x="546" y="491"/>
                  </a:lnTo>
                  <a:lnTo>
                    <a:pt x="546" y="516"/>
                  </a:lnTo>
                  <a:lnTo>
                    <a:pt x="558" y="529"/>
                  </a:lnTo>
                  <a:lnTo>
                    <a:pt x="562" y="539"/>
                  </a:lnTo>
                  <a:lnTo>
                    <a:pt x="562" y="557"/>
                  </a:lnTo>
                  <a:lnTo>
                    <a:pt x="558" y="564"/>
                  </a:lnTo>
                  <a:lnTo>
                    <a:pt x="542" y="568"/>
                  </a:lnTo>
                  <a:lnTo>
                    <a:pt x="519" y="586"/>
                  </a:lnTo>
                  <a:lnTo>
                    <a:pt x="488" y="610"/>
                  </a:lnTo>
                  <a:lnTo>
                    <a:pt x="476" y="620"/>
                  </a:lnTo>
                  <a:lnTo>
                    <a:pt x="468" y="627"/>
                  </a:lnTo>
                  <a:lnTo>
                    <a:pt x="468" y="637"/>
                  </a:lnTo>
                  <a:lnTo>
                    <a:pt x="434" y="637"/>
                  </a:lnTo>
                  <a:lnTo>
                    <a:pt x="414" y="641"/>
                  </a:lnTo>
                  <a:lnTo>
                    <a:pt x="398" y="645"/>
                  </a:lnTo>
                  <a:lnTo>
                    <a:pt x="391" y="652"/>
                  </a:lnTo>
                  <a:lnTo>
                    <a:pt x="379" y="666"/>
                  </a:lnTo>
                  <a:lnTo>
                    <a:pt x="359" y="672"/>
                  </a:lnTo>
                  <a:lnTo>
                    <a:pt x="348" y="672"/>
                  </a:lnTo>
                  <a:lnTo>
                    <a:pt x="325" y="669"/>
                  </a:lnTo>
                  <a:lnTo>
                    <a:pt x="286" y="666"/>
                  </a:lnTo>
                  <a:lnTo>
                    <a:pt x="218" y="641"/>
                  </a:lnTo>
                  <a:lnTo>
                    <a:pt x="191" y="637"/>
                  </a:lnTo>
                  <a:lnTo>
                    <a:pt x="164" y="645"/>
                  </a:lnTo>
                  <a:lnTo>
                    <a:pt x="144" y="655"/>
                  </a:lnTo>
                  <a:lnTo>
                    <a:pt x="121" y="658"/>
                  </a:lnTo>
                  <a:lnTo>
                    <a:pt x="101" y="669"/>
                  </a:lnTo>
                  <a:lnTo>
                    <a:pt x="89" y="676"/>
                  </a:lnTo>
                  <a:lnTo>
                    <a:pt x="46" y="635"/>
                  </a:lnTo>
                  <a:lnTo>
                    <a:pt x="46" y="575"/>
                  </a:lnTo>
                  <a:lnTo>
                    <a:pt x="27" y="554"/>
                  </a:lnTo>
                  <a:lnTo>
                    <a:pt x="4" y="537"/>
                  </a:lnTo>
                  <a:lnTo>
                    <a:pt x="0" y="526"/>
                  </a:lnTo>
                  <a:lnTo>
                    <a:pt x="0" y="505"/>
                  </a:lnTo>
                  <a:lnTo>
                    <a:pt x="12" y="494"/>
                  </a:lnTo>
                  <a:lnTo>
                    <a:pt x="43" y="484"/>
                  </a:lnTo>
                  <a:lnTo>
                    <a:pt x="50" y="477"/>
                  </a:lnTo>
                  <a:lnTo>
                    <a:pt x="39" y="463"/>
                  </a:lnTo>
                  <a:lnTo>
                    <a:pt x="35" y="439"/>
                  </a:lnTo>
                  <a:lnTo>
                    <a:pt x="46" y="418"/>
                  </a:lnTo>
                  <a:lnTo>
                    <a:pt x="70" y="397"/>
                  </a:lnTo>
                  <a:lnTo>
                    <a:pt x="70" y="380"/>
                  </a:lnTo>
                  <a:lnTo>
                    <a:pt x="62" y="366"/>
                  </a:lnTo>
                  <a:lnTo>
                    <a:pt x="70" y="342"/>
                  </a:lnTo>
                  <a:lnTo>
                    <a:pt x="73" y="339"/>
                  </a:lnTo>
                  <a:lnTo>
                    <a:pt x="85" y="339"/>
                  </a:lnTo>
                  <a:lnTo>
                    <a:pt x="93" y="349"/>
                  </a:lnTo>
                  <a:lnTo>
                    <a:pt x="105" y="335"/>
                  </a:lnTo>
                  <a:lnTo>
                    <a:pt x="109" y="297"/>
                  </a:lnTo>
                  <a:lnTo>
                    <a:pt x="139" y="272"/>
                  </a:lnTo>
                  <a:lnTo>
                    <a:pt x="139" y="258"/>
                  </a:lnTo>
                  <a:lnTo>
                    <a:pt x="139" y="248"/>
                  </a:lnTo>
                  <a:lnTo>
                    <a:pt x="171" y="231"/>
                  </a:lnTo>
                  <a:lnTo>
                    <a:pt x="195" y="227"/>
                  </a:lnTo>
                  <a:lnTo>
                    <a:pt x="203" y="219"/>
                  </a:lnTo>
                  <a:lnTo>
                    <a:pt x="183" y="202"/>
                  </a:lnTo>
                  <a:lnTo>
                    <a:pt x="167" y="174"/>
                  </a:lnTo>
                  <a:lnTo>
                    <a:pt x="159" y="168"/>
                  </a:lnTo>
                  <a:lnTo>
                    <a:pt x="136" y="178"/>
                  </a:lnTo>
                  <a:lnTo>
                    <a:pt x="121" y="171"/>
                  </a:lnTo>
                  <a:lnTo>
                    <a:pt x="97" y="164"/>
                  </a:lnTo>
                  <a:lnTo>
                    <a:pt x="89" y="168"/>
                  </a:lnTo>
                  <a:lnTo>
                    <a:pt x="82" y="160"/>
                  </a:lnTo>
                  <a:lnTo>
                    <a:pt x="82" y="147"/>
                  </a:lnTo>
                  <a:lnTo>
                    <a:pt x="70" y="133"/>
                  </a:lnTo>
                  <a:lnTo>
                    <a:pt x="62" y="129"/>
                  </a:lnTo>
                  <a:lnTo>
                    <a:pt x="43" y="13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79" name="Freeform 57"/>
            <p:cNvSpPr>
              <a:spLocks noChangeAspect="1"/>
            </p:cNvSpPr>
            <p:nvPr>
              <p:custDataLst>
                <p:tags r:id="rId81"/>
              </p:custDataLst>
            </p:nvPr>
          </p:nvSpPr>
          <p:spPr bwMode="gray">
            <a:xfrm>
              <a:off x="1495425" y="5429250"/>
              <a:ext cx="701675" cy="676275"/>
            </a:xfrm>
            <a:custGeom>
              <a:avLst/>
              <a:gdLst>
                <a:gd name="T0" fmla="*/ 2147483647 w 736"/>
                <a:gd name="T1" fmla="*/ 2147483647 h 830"/>
                <a:gd name="T2" fmla="*/ 2147483647 w 736"/>
                <a:gd name="T3" fmla="*/ 2147483647 h 830"/>
                <a:gd name="T4" fmla="*/ 2147483647 w 736"/>
                <a:gd name="T5" fmla="*/ 2147483647 h 830"/>
                <a:gd name="T6" fmla="*/ 2147483647 w 736"/>
                <a:gd name="T7" fmla="*/ 2147483647 h 830"/>
                <a:gd name="T8" fmla="*/ 2147483647 w 736"/>
                <a:gd name="T9" fmla="*/ 2147483647 h 830"/>
                <a:gd name="T10" fmla="*/ 2147483647 w 736"/>
                <a:gd name="T11" fmla="*/ 2147483647 h 830"/>
                <a:gd name="T12" fmla="*/ 2147483647 w 736"/>
                <a:gd name="T13" fmla="*/ 2147483647 h 830"/>
                <a:gd name="T14" fmla="*/ 2147483647 w 736"/>
                <a:gd name="T15" fmla="*/ 2147483647 h 830"/>
                <a:gd name="T16" fmla="*/ 2147483647 w 736"/>
                <a:gd name="T17" fmla="*/ 2147483647 h 830"/>
                <a:gd name="T18" fmla="*/ 2147483647 w 736"/>
                <a:gd name="T19" fmla="*/ 2147483647 h 830"/>
                <a:gd name="T20" fmla="*/ 2147483647 w 736"/>
                <a:gd name="T21" fmla="*/ 2147483647 h 830"/>
                <a:gd name="T22" fmla="*/ 2147483647 w 736"/>
                <a:gd name="T23" fmla="*/ 2147483647 h 830"/>
                <a:gd name="T24" fmla="*/ 2147483647 w 736"/>
                <a:gd name="T25" fmla="*/ 2147483647 h 830"/>
                <a:gd name="T26" fmla="*/ 2147483647 w 736"/>
                <a:gd name="T27" fmla="*/ 2147483647 h 830"/>
                <a:gd name="T28" fmla="*/ 2147483647 w 736"/>
                <a:gd name="T29" fmla="*/ 2147483647 h 830"/>
                <a:gd name="T30" fmla="*/ 2147483647 w 736"/>
                <a:gd name="T31" fmla="*/ 2147483647 h 830"/>
                <a:gd name="T32" fmla="*/ 2147483647 w 736"/>
                <a:gd name="T33" fmla="*/ 2147483647 h 830"/>
                <a:gd name="T34" fmla="*/ 2147483647 w 736"/>
                <a:gd name="T35" fmla="*/ 2147483647 h 830"/>
                <a:gd name="T36" fmla="*/ 2147483647 w 736"/>
                <a:gd name="T37" fmla="*/ 2147483647 h 830"/>
                <a:gd name="T38" fmla="*/ 2147483647 w 736"/>
                <a:gd name="T39" fmla="*/ 2147483647 h 830"/>
                <a:gd name="T40" fmla="*/ 2147483647 w 736"/>
                <a:gd name="T41" fmla="*/ 2147483647 h 830"/>
                <a:gd name="T42" fmla="*/ 2147483647 w 736"/>
                <a:gd name="T43" fmla="*/ 2147483647 h 830"/>
                <a:gd name="T44" fmla="*/ 2147483647 w 736"/>
                <a:gd name="T45" fmla="*/ 2147483647 h 830"/>
                <a:gd name="T46" fmla="*/ 2147483647 w 736"/>
                <a:gd name="T47" fmla="*/ 2147483647 h 830"/>
                <a:gd name="T48" fmla="*/ 2147483647 w 736"/>
                <a:gd name="T49" fmla="*/ 2147483647 h 830"/>
                <a:gd name="T50" fmla="*/ 2147483647 w 736"/>
                <a:gd name="T51" fmla="*/ 2147483647 h 830"/>
                <a:gd name="T52" fmla="*/ 2147483647 w 736"/>
                <a:gd name="T53" fmla="*/ 2147483647 h 830"/>
                <a:gd name="T54" fmla="*/ 2147483647 w 736"/>
                <a:gd name="T55" fmla="*/ 2147483647 h 830"/>
                <a:gd name="T56" fmla="*/ 2147483647 w 736"/>
                <a:gd name="T57" fmla="*/ 2147483647 h 830"/>
                <a:gd name="T58" fmla="*/ 2147483647 w 736"/>
                <a:gd name="T59" fmla="*/ 2147483647 h 830"/>
                <a:gd name="T60" fmla="*/ 2147483647 w 736"/>
                <a:gd name="T61" fmla="*/ 2147483647 h 830"/>
                <a:gd name="T62" fmla="*/ 0 w 736"/>
                <a:gd name="T63" fmla="*/ 2147483647 h 830"/>
                <a:gd name="T64" fmla="*/ 2147483647 w 736"/>
                <a:gd name="T65" fmla="*/ 2147483647 h 830"/>
                <a:gd name="T66" fmla="*/ 2147483647 w 736"/>
                <a:gd name="T67" fmla="*/ 2147483647 h 830"/>
                <a:gd name="T68" fmla="*/ 2147483647 w 736"/>
                <a:gd name="T69" fmla="*/ 2147483647 h 830"/>
                <a:gd name="T70" fmla="*/ 2147483647 w 736"/>
                <a:gd name="T71" fmla="*/ 2147483647 h 830"/>
                <a:gd name="T72" fmla="*/ 2147483647 w 736"/>
                <a:gd name="T73" fmla="*/ 2147483647 h 830"/>
                <a:gd name="T74" fmla="*/ 2147483647 w 736"/>
                <a:gd name="T75" fmla="*/ 2147483647 h 830"/>
                <a:gd name="T76" fmla="*/ 2147483647 w 736"/>
                <a:gd name="T77" fmla="*/ 2147483647 h 830"/>
                <a:gd name="T78" fmla="*/ 2147483647 w 736"/>
                <a:gd name="T79" fmla="*/ 2147483647 h 830"/>
                <a:gd name="T80" fmla="*/ 2147483647 w 736"/>
                <a:gd name="T81" fmla="*/ 2147483647 h 830"/>
                <a:gd name="T82" fmla="*/ 2147483647 w 736"/>
                <a:gd name="T83" fmla="*/ 2147483647 h 830"/>
                <a:gd name="T84" fmla="*/ 2147483647 w 736"/>
                <a:gd name="T85" fmla="*/ 2147483647 h 830"/>
                <a:gd name="T86" fmla="*/ 2147483647 w 736"/>
                <a:gd name="T87" fmla="*/ 2147483647 h 830"/>
                <a:gd name="T88" fmla="*/ 2147483647 w 736"/>
                <a:gd name="T89" fmla="*/ 2147483647 h 830"/>
                <a:gd name="T90" fmla="*/ 2147483647 w 736"/>
                <a:gd name="T91" fmla="*/ 2147483647 h 8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6"/>
                <a:gd name="T139" fmla="*/ 0 h 830"/>
                <a:gd name="T140" fmla="*/ 736 w 736"/>
                <a:gd name="T141" fmla="*/ 830 h 8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6" h="830">
                  <a:moveTo>
                    <a:pt x="534" y="819"/>
                  </a:moveTo>
                  <a:lnTo>
                    <a:pt x="545" y="830"/>
                  </a:lnTo>
                  <a:lnTo>
                    <a:pt x="564" y="819"/>
                  </a:lnTo>
                  <a:lnTo>
                    <a:pt x="586" y="789"/>
                  </a:lnTo>
                  <a:lnTo>
                    <a:pt x="597" y="745"/>
                  </a:lnTo>
                  <a:lnTo>
                    <a:pt x="608" y="741"/>
                  </a:lnTo>
                  <a:lnTo>
                    <a:pt x="616" y="748"/>
                  </a:lnTo>
                  <a:lnTo>
                    <a:pt x="631" y="734"/>
                  </a:lnTo>
                  <a:lnTo>
                    <a:pt x="627" y="715"/>
                  </a:lnTo>
                  <a:lnTo>
                    <a:pt x="634" y="700"/>
                  </a:lnTo>
                  <a:lnTo>
                    <a:pt x="631" y="693"/>
                  </a:lnTo>
                  <a:lnTo>
                    <a:pt x="612" y="678"/>
                  </a:lnTo>
                  <a:lnTo>
                    <a:pt x="605" y="678"/>
                  </a:lnTo>
                  <a:lnTo>
                    <a:pt x="608" y="670"/>
                  </a:lnTo>
                  <a:lnTo>
                    <a:pt x="594" y="674"/>
                  </a:lnTo>
                  <a:lnTo>
                    <a:pt x="586" y="667"/>
                  </a:lnTo>
                  <a:lnTo>
                    <a:pt x="586" y="659"/>
                  </a:lnTo>
                  <a:lnTo>
                    <a:pt x="608" y="645"/>
                  </a:lnTo>
                  <a:lnTo>
                    <a:pt x="619" y="630"/>
                  </a:lnTo>
                  <a:lnTo>
                    <a:pt x="619" y="607"/>
                  </a:lnTo>
                  <a:lnTo>
                    <a:pt x="631" y="604"/>
                  </a:lnTo>
                  <a:lnTo>
                    <a:pt x="668" y="622"/>
                  </a:lnTo>
                  <a:lnTo>
                    <a:pt x="682" y="626"/>
                  </a:lnTo>
                  <a:lnTo>
                    <a:pt x="701" y="652"/>
                  </a:lnTo>
                  <a:lnTo>
                    <a:pt x="708" y="667"/>
                  </a:lnTo>
                  <a:lnTo>
                    <a:pt x="719" y="667"/>
                  </a:lnTo>
                  <a:lnTo>
                    <a:pt x="730" y="652"/>
                  </a:lnTo>
                  <a:lnTo>
                    <a:pt x="736" y="637"/>
                  </a:lnTo>
                  <a:lnTo>
                    <a:pt x="723" y="611"/>
                  </a:lnTo>
                  <a:lnTo>
                    <a:pt x="708" y="596"/>
                  </a:lnTo>
                  <a:lnTo>
                    <a:pt x="694" y="596"/>
                  </a:lnTo>
                  <a:lnTo>
                    <a:pt x="694" y="593"/>
                  </a:lnTo>
                  <a:lnTo>
                    <a:pt x="686" y="593"/>
                  </a:lnTo>
                  <a:lnTo>
                    <a:pt x="649" y="555"/>
                  </a:lnTo>
                  <a:lnTo>
                    <a:pt x="631" y="559"/>
                  </a:lnTo>
                  <a:lnTo>
                    <a:pt x="608" y="530"/>
                  </a:lnTo>
                  <a:lnTo>
                    <a:pt x="594" y="526"/>
                  </a:lnTo>
                  <a:lnTo>
                    <a:pt x="571" y="504"/>
                  </a:lnTo>
                  <a:lnTo>
                    <a:pt x="560" y="496"/>
                  </a:lnTo>
                  <a:lnTo>
                    <a:pt x="568" y="489"/>
                  </a:lnTo>
                  <a:lnTo>
                    <a:pt x="579" y="485"/>
                  </a:lnTo>
                  <a:lnTo>
                    <a:pt x="564" y="474"/>
                  </a:lnTo>
                  <a:lnTo>
                    <a:pt x="545" y="481"/>
                  </a:lnTo>
                  <a:lnTo>
                    <a:pt x="531" y="474"/>
                  </a:lnTo>
                  <a:lnTo>
                    <a:pt x="490" y="440"/>
                  </a:lnTo>
                  <a:lnTo>
                    <a:pt x="486" y="426"/>
                  </a:lnTo>
                  <a:lnTo>
                    <a:pt x="471" y="422"/>
                  </a:lnTo>
                  <a:lnTo>
                    <a:pt x="457" y="411"/>
                  </a:lnTo>
                  <a:lnTo>
                    <a:pt x="419" y="330"/>
                  </a:lnTo>
                  <a:lnTo>
                    <a:pt x="408" y="319"/>
                  </a:lnTo>
                  <a:lnTo>
                    <a:pt x="379" y="293"/>
                  </a:lnTo>
                  <a:lnTo>
                    <a:pt x="345" y="241"/>
                  </a:lnTo>
                  <a:lnTo>
                    <a:pt x="345" y="211"/>
                  </a:lnTo>
                  <a:lnTo>
                    <a:pt x="364" y="200"/>
                  </a:lnTo>
                  <a:lnTo>
                    <a:pt x="364" y="185"/>
                  </a:lnTo>
                  <a:lnTo>
                    <a:pt x="349" y="171"/>
                  </a:lnTo>
                  <a:lnTo>
                    <a:pt x="342" y="163"/>
                  </a:lnTo>
                  <a:lnTo>
                    <a:pt x="345" y="152"/>
                  </a:lnTo>
                  <a:lnTo>
                    <a:pt x="360" y="145"/>
                  </a:lnTo>
                  <a:lnTo>
                    <a:pt x="405" y="134"/>
                  </a:lnTo>
                  <a:lnTo>
                    <a:pt x="423" y="122"/>
                  </a:lnTo>
                  <a:lnTo>
                    <a:pt x="438" y="108"/>
                  </a:lnTo>
                  <a:lnTo>
                    <a:pt x="434" y="70"/>
                  </a:lnTo>
                  <a:lnTo>
                    <a:pt x="438" y="56"/>
                  </a:lnTo>
                  <a:lnTo>
                    <a:pt x="416" y="52"/>
                  </a:lnTo>
                  <a:lnTo>
                    <a:pt x="368" y="41"/>
                  </a:lnTo>
                  <a:lnTo>
                    <a:pt x="360" y="30"/>
                  </a:lnTo>
                  <a:lnTo>
                    <a:pt x="357" y="26"/>
                  </a:lnTo>
                  <a:lnTo>
                    <a:pt x="357" y="15"/>
                  </a:lnTo>
                  <a:lnTo>
                    <a:pt x="353" y="4"/>
                  </a:lnTo>
                  <a:lnTo>
                    <a:pt x="327" y="0"/>
                  </a:lnTo>
                  <a:lnTo>
                    <a:pt x="264" y="4"/>
                  </a:lnTo>
                  <a:lnTo>
                    <a:pt x="257" y="19"/>
                  </a:lnTo>
                  <a:lnTo>
                    <a:pt x="233" y="22"/>
                  </a:lnTo>
                  <a:lnTo>
                    <a:pt x="219" y="52"/>
                  </a:lnTo>
                  <a:lnTo>
                    <a:pt x="219" y="63"/>
                  </a:lnTo>
                  <a:lnTo>
                    <a:pt x="204" y="52"/>
                  </a:lnTo>
                  <a:lnTo>
                    <a:pt x="181" y="48"/>
                  </a:lnTo>
                  <a:lnTo>
                    <a:pt x="167" y="56"/>
                  </a:lnTo>
                  <a:lnTo>
                    <a:pt x="156" y="78"/>
                  </a:lnTo>
                  <a:lnTo>
                    <a:pt x="133" y="63"/>
                  </a:lnTo>
                  <a:lnTo>
                    <a:pt x="137" y="41"/>
                  </a:lnTo>
                  <a:lnTo>
                    <a:pt x="130" y="26"/>
                  </a:lnTo>
                  <a:lnTo>
                    <a:pt x="115" y="30"/>
                  </a:lnTo>
                  <a:lnTo>
                    <a:pt x="111" y="48"/>
                  </a:lnTo>
                  <a:lnTo>
                    <a:pt x="100" y="59"/>
                  </a:lnTo>
                  <a:lnTo>
                    <a:pt x="89" y="59"/>
                  </a:lnTo>
                  <a:lnTo>
                    <a:pt x="37" y="52"/>
                  </a:lnTo>
                  <a:lnTo>
                    <a:pt x="19" y="67"/>
                  </a:lnTo>
                  <a:lnTo>
                    <a:pt x="22" y="85"/>
                  </a:lnTo>
                  <a:lnTo>
                    <a:pt x="26" y="100"/>
                  </a:lnTo>
                  <a:lnTo>
                    <a:pt x="0" y="122"/>
                  </a:lnTo>
                  <a:lnTo>
                    <a:pt x="7" y="137"/>
                  </a:lnTo>
                  <a:lnTo>
                    <a:pt x="15" y="145"/>
                  </a:lnTo>
                  <a:lnTo>
                    <a:pt x="0" y="163"/>
                  </a:lnTo>
                  <a:lnTo>
                    <a:pt x="0" y="189"/>
                  </a:lnTo>
                  <a:lnTo>
                    <a:pt x="7" y="200"/>
                  </a:lnTo>
                  <a:lnTo>
                    <a:pt x="22" y="200"/>
                  </a:lnTo>
                  <a:lnTo>
                    <a:pt x="30" y="208"/>
                  </a:lnTo>
                  <a:lnTo>
                    <a:pt x="37" y="226"/>
                  </a:lnTo>
                  <a:lnTo>
                    <a:pt x="37" y="245"/>
                  </a:lnTo>
                  <a:lnTo>
                    <a:pt x="52" y="249"/>
                  </a:lnTo>
                  <a:lnTo>
                    <a:pt x="63" y="245"/>
                  </a:lnTo>
                  <a:lnTo>
                    <a:pt x="104" y="204"/>
                  </a:lnTo>
                  <a:lnTo>
                    <a:pt x="122" y="211"/>
                  </a:lnTo>
                  <a:lnTo>
                    <a:pt x="159" y="230"/>
                  </a:lnTo>
                  <a:lnTo>
                    <a:pt x="185" y="249"/>
                  </a:lnTo>
                  <a:lnTo>
                    <a:pt x="189" y="271"/>
                  </a:lnTo>
                  <a:lnTo>
                    <a:pt x="204" y="286"/>
                  </a:lnTo>
                  <a:lnTo>
                    <a:pt x="211" y="312"/>
                  </a:lnTo>
                  <a:lnTo>
                    <a:pt x="219" y="352"/>
                  </a:lnTo>
                  <a:lnTo>
                    <a:pt x="230" y="371"/>
                  </a:lnTo>
                  <a:lnTo>
                    <a:pt x="244" y="387"/>
                  </a:lnTo>
                  <a:lnTo>
                    <a:pt x="271" y="397"/>
                  </a:lnTo>
                  <a:lnTo>
                    <a:pt x="294" y="433"/>
                  </a:lnTo>
                  <a:lnTo>
                    <a:pt x="316" y="463"/>
                  </a:lnTo>
                  <a:lnTo>
                    <a:pt x="338" y="478"/>
                  </a:lnTo>
                  <a:lnTo>
                    <a:pt x="379" y="526"/>
                  </a:lnTo>
                  <a:lnTo>
                    <a:pt x="408" y="526"/>
                  </a:lnTo>
                  <a:lnTo>
                    <a:pt x="442" y="555"/>
                  </a:lnTo>
                  <a:lnTo>
                    <a:pt x="442" y="585"/>
                  </a:lnTo>
                  <a:lnTo>
                    <a:pt x="453" y="593"/>
                  </a:lnTo>
                  <a:lnTo>
                    <a:pt x="475" y="578"/>
                  </a:lnTo>
                  <a:lnTo>
                    <a:pt x="479" y="593"/>
                  </a:lnTo>
                  <a:lnTo>
                    <a:pt x="479" y="611"/>
                  </a:lnTo>
                  <a:lnTo>
                    <a:pt x="501" y="630"/>
                  </a:lnTo>
                  <a:lnTo>
                    <a:pt x="508" y="641"/>
                  </a:lnTo>
                  <a:lnTo>
                    <a:pt x="538" y="633"/>
                  </a:lnTo>
                  <a:lnTo>
                    <a:pt x="542" y="645"/>
                  </a:lnTo>
                  <a:lnTo>
                    <a:pt x="538" y="670"/>
                  </a:lnTo>
                  <a:lnTo>
                    <a:pt x="553" y="693"/>
                  </a:lnTo>
                  <a:lnTo>
                    <a:pt x="557" y="711"/>
                  </a:lnTo>
                  <a:lnTo>
                    <a:pt x="564" y="730"/>
                  </a:lnTo>
                  <a:lnTo>
                    <a:pt x="560" y="745"/>
                  </a:lnTo>
                  <a:lnTo>
                    <a:pt x="545" y="760"/>
                  </a:lnTo>
                  <a:lnTo>
                    <a:pt x="542" y="778"/>
                  </a:lnTo>
                  <a:lnTo>
                    <a:pt x="531" y="800"/>
                  </a:lnTo>
                  <a:lnTo>
                    <a:pt x="534" y="819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0" name="Freeform 58"/>
            <p:cNvSpPr>
              <a:spLocks noChangeAspect="1"/>
            </p:cNvSpPr>
            <p:nvPr>
              <p:custDataLst>
                <p:tags r:id="rId82"/>
              </p:custDataLst>
            </p:nvPr>
          </p:nvSpPr>
          <p:spPr bwMode="gray">
            <a:xfrm>
              <a:off x="739775" y="4646612"/>
              <a:ext cx="288925" cy="227012"/>
            </a:xfrm>
            <a:custGeom>
              <a:avLst/>
              <a:gdLst>
                <a:gd name="T0" fmla="*/ 2147483647 w 303"/>
                <a:gd name="T1" fmla="*/ 2147483647 h 277"/>
                <a:gd name="T2" fmla="*/ 2147483647 w 303"/>
                <a:gd name="T3" fmla="*/ 2147483647 h 277"/>
                <a:gd name="T4" fmla="*/ 2147483647 w 303"/>
                <a:gd name="T5" fmla="*/ 2147483647 h 277"/>
                <a:gd name="T6" fmla="*/ 2147483647 w 303"/>
                <a:gd name="T7" fmla="*/ 2147483647 h 277"/>
                <a:gd name="T8" fmla="*/ 2147483647 w 303"/>
                <a:gd name="T9" fmla="*/ 2147483647 h 277"/>
                <a:gd name="T10" fmla="*/ 2147483647 w 303"/>
                <a:gd name="T11" fmla="*/ 2147483647 h 277"/>
                <a:gd name="T12" fmla="*/ 2147483647 w 303"/>
                <a:gd name="T13" fmla="*/ 2147483647 h 277"/>
                <a:gd name="T14" fmla="*/ 2147483647 w 303"/>
                <a:gd name="T15" fmla="*/ 2147483647 h 277"/>
                <a:gd name="T16" fmla="*/ 2147483647 w 303"/>
                <a:gd name="T17" fmla="*/ 2147483647 h 277"/>
                <a:gd name="T18" fmla="*/ 2147483647 w 303"/>
                <a:gd name="T19" fmla="*/ 2147483647 h 277"/>
                <a:gd name="T20" fmla="*/ 2147483647 w 303"/>
                <a:gd name="T21" fmla="*/ 2147483647 h 277"/>
                <a:gd name="T22" fmla="*/ 2147483647 w 303"/>
                <a:gd name="T23" fmla="*/ 2147483647 h 277"/>
                <a:gd name="T24" fmla="*/ 2147483647 w 303"/>
                <a:gd name="T25" fmla="*/ 2147483647 h 277"/>
                <a:gd name="T26" fmla="*/ 2147483647 w 303"/>
                <a:gd name="T27" fmla="*/ 2147483647 h 277"/>
                <a:gd name="T28" fmla="*/ 2147483647 w 303"/>
                <a:gd name="T29" fmla="*/ 2147483647 h 277"/>
                <a:gd name="T30" fmla="*/ 2147483647 w 303"/>
                <a:gd name="T31" fmla="*/ 2147483647 h 277"/>
                <a:gd name="T32" fmla="*/ 2147483647 w 303"/>
                <a:gd name="T33" fmla="*/ 2147483647 h 277"/>
                <a:gd name="T34" fmla="*/ 2147483647 w 303"/>
                <a:gd name="T35" fmla="*/ 2147483647 h 277"/>
                <a:gd name="T36" fmla="*/ 2147483647 w 303"/>
                <a:gd name="T37" fmla="*/ 2147483647 h 277"/>
                <a:gd name="T38" fmla="*/ 2147483647 w 303"/>
                <a:gd name="T39" fmla="*/ 2147483647 h 277"/>
                <a:gd name="T40" fmla="*/ 2147483647 w 303"/>
                <a:gd name="T41" fmla="*/ 2147483647 h 277"/>
                <a:gd name="T42" fmla="*/ 2147483647 w 303"/>
                <a:gd name="T43" fmla="*/ 2147483647 h 277"/>
                <a:gd name="T44" fmla="*/ 2147483647 w 303"/>
                <a:gd name="T45" fmla="*/ 2147483647 h 277"/>
                <a:gd name="T46" fmla="*/ 2147483647 w 303"/>
                <a:gd name="T47" fmla="*/ 2147483647 h 277"/>
                <a:gd name="T48" fmla="*/ 2147483647 w 303"/>
                <a:gd name="T49" fmla="*/ 0 h 277"/>
                <a:gd name="T50" fmla="*/ 2147483647 w 303"/>
                <a:gd name="T51" fmla="*/ 2147483647 h 277"/>
                <a:gd name="T52" fmla="*/ 2147483647 w 303"/>
                <a:gd name="T53" fmla="*/ 2147483647 h 277"/>
                <a:gd name="T54" fmla="*/ 2147483647 w 303"/>
                <a:gd name="T55" fmla="*/ 2147483647 h 277"/>
                <a:gd name="T56" fmla="*/ 2147483647 w 303"/>
                <a:gd name="T57" fmla="*/ 2147483647 h 277"/>
                <a:gd name="T58" fmla="*/ 2147483647 w 303"/>
                <a:gd name="T59" fmla="*/ 2147483647 h 277"/>
                <a:gd name="T60" fmla="*/ 2147483647 w 303"/>
                <a:gd name="T61" fmla="*/ 2147483647 h 277"/>
                <a:gd name="T62" fmla="*/ 2147483647 w 303"/>
                <a:gd name="T63" fmla="*/ 2147483647 h 277"/>
                <a:gd name="T64" fmla="*/ 2147483647 w 303"/>
                <a:gd name="T65" fmla="*/ 2147483647 h 277"/>
                <a:gd name="T66" fmla="*/ 2147483647 w 303"/>
                <a:gd name="T67" fmla="*/ 2147483647 h 277"/>
                <a:gd name="T68" fmla="*/ 2147483647 w 303"/>
                <a:gd name="T69" fmla="*/ 2147483647 h 277"/>
                <a:gd name="T70" fmla="*/ 2147483647 w 303"/>
                <a:gd name="T71" fmla="*/ 2147483647 h 27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3"/>
                <a:gd name="T109" fmla="*/ 0 h 277"/>
                <a:gd name="T110" fmla="*/ 303 w 303"/>
                <a:gd name="T111" fmla="*/ 277 h 27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3" h="277">
                  <a:moveTo>
                    <a:pt x="112" y="104"/>
                  </a:moveTo>
                  <a:lnTo>
                    <a:pt x="108" y="115"/>
                  </a:lnTo>
                  <a:lnTo>
                    <a:pt x="112" y="130"/>
                  </a:lnTo>
                  <a:lnTo>
                    <a:pt x="106" y="139"/>
                  </a:lnTo>
                  <a:lnTo>
                    <a:pt x="97" y="133"/>
                  </a:lnTo>
                  <a:lnTo>
                    <a:pt x="86" y="135"/>
                  </a:lnTo>
                  <a:lnTo>
                    <a:pt x="86" y="146"/>
                  </a:lnTo>
                  <a:lnTo>
                    <a:pt x="63" y="167"/>
                  </a:lnTo>
                  <a:lnTo>
                    <a:pt x="50" y="172"/>
                  </a:lnTo>
                  <a:lnTo>
                    <a:pt x="33" y="191"/>
                  </a:lnTo>
                  <a:lnTo>
                    <a:pt x="22" y="196"/>
                  </a:lnTo>
                  <a:lnTo>
                    <a:pt x="13" y="195"/>
                  </a:lnTo>
                  <a:lnTo>
                    <a:pt x="9" y="198"/>
                  </a:lnTo>
                  <a:lnTo>
                    <a:pt x="6" y="201"/>
                  </a:lnTo>
                  <a:lnTo>
                    <a:pt x="11" y="208"/>
                  </a:lnTo>
                  <a:lnTo>
                    <a:pt x="11" y="221"/>
                  </a:lnTo>
                  <a:lnTo>
                    <a:pt x="0" y="233"/>
                  </a:lnTo>
                  <a:lnTo>
                    <a:pt x="4" y="245"/>
                  </a:lnTo>
                  <a:lnTo>
                    <a:pt x="17" y="245"/>
                  </a:lnTo>
                  <a:lnTo>
                    <a:pt x="22" y="236"/>
                  </a:lnTo>
                  <a:lnTo>
                    <a:pt x="30" y="244"/>
                  </a:lnTo>
                  <a:lnTo>
                    <a:pt x="20" y="251"/>
                  </a:lnTo>
                  <a:lnTo>
                    <a:pt x="24" y="262"/>
                  </a:lnTo>
                  <a:lnTo>
                    <a:pt x="30" y="264"/>
                  </a:lnTo>
                  <a:lnTo>
                    <a:pt x="54" y="268"/>
                  </a:lnTo>
                  <a:lnTo>
                    <a:pt x="58" y="270"/>
                  </a:lnTo>
                  <a:lnTo>
                    <a:pt x="80" y="277"/>
                  </a:lnTo>
                  <a:lnTo>
                    <a:pt x="89" y="273"/>
                  </a:lnTo>
                  <a:lnTo>
                    <a:pt x="108" y="262"/>
                  </a:lnTo>
                  <a:lnTo>
                    <a:pt x="136" y="268"/>
                  </a:lnTo>
                  <a:lnTo>
                    <a:pt x="186" y="268"/>
                  </a:lnTo>
                  <a:lnTo>
                    <a:pt x="214" y="262"/>
                  </a:lnTo>
                  <a:lnTo>
                    <a:pt x="227" y="242"/>
                  </a:lnTo>
                  <a:lnTo>
                    <a:pt x="244" y="233"/>
                  </a:lnTo>
                  <a:lnTo>
                    <a:pt x="249" y="221"/>
                  </a:lnTo>
                  <a:lnTo>
                    <a:pt x="255" y="205"/>
                  </a:lnTo>
                  <a:lnTo>
                    <a:pt x="268" y="195"/>
                  </a:lnTo>
                  <a:lnTo>
                    <a:pt x="279" y="167"/>
                  </a:lnTo>
                  <a:lnTo>
                    <a:pt x="277" y="135"/>
                  </a:lnTo>
                  <a:lnTo>
                    <a:pt x="303" y="120"/>
                  </a:lnTo>
                  <a:lnTo>
                    <a:pt x="288" y="107"/>
                  </a:lnTo>
                  <a:lnTo>
                    <a:pt x="283" y="85"/>
                  </a:lnTo>
                  <a:lnTo>
                    <a:pt x="273" y="76"/>
                  </a:lnTo>
                  <a:lnTo>
                    <a:pt x="262" y="76"/>
                  </a:lnTo>
                  <a:lnTo>
                    <a:pt x="251" y="70"/>
                  </a:lnTo>
                  <a:lnTo>
                    <a:pt x="231" y="46"/>
                  </a:lnTo>
                  <a:lnTo>
                    <a:pt x="240" y="41"/>
                  </a:lnTo>
                  <a:lnTo>
                    <a:pt x="275" y="9"/>
                  </a:lnTo>
                  <a:lnTo>
                    <a:pt x="271" y="0"/>
                  </a:lnTo>
                  <a:lnTo>
                    <a:pt x="260" y="2"/>
                  </a:lnTo>
                  <a:lnTo>
                    <a:pt x="223" y="4"/>
                  </a:lnTo>
                  <a:lnTo>
                    <a:pt x="210" y="13"/>
                  </a:lnTo>
                  <a:lnTo>
                    <a:pt x="201" y="19"/>
                  </a:lnTo>
                  <a:lnTo>
                    <a:pt x="188" y="17"/>
                  </a:lnTo>
                  <a:lnTo>
                    <a:pt x="180" y="22"/>
                  </a:lnTo>
                  <a:lnTo>
                    <a:pt x="186" y="32"/>
                  </a:lnTo>
                  <a:lnTo>
                    <a:pt x="204" y="44"/>
                  </a:lnTo>
                  <a:lnTo>
                    <a:pt x="191" y="46"/>
                  </a:lnTo>
                  <a:lnTo>
                    <a:pt x="158" y="50"/>
                  </a:lnTo>
                  <a:lnTo>
                    <a:pt x="136" y="41"/>
                  </a:lnTo>
                  <a:lnTo>
                    <a:pt x="113" y="32"/>
                  </a:lnTo>
                  <a:lnTo>
                    <a:pt x="106" y="37"/>
                  </a:lnTo>
                  <a:lnTo>
                    <a:pt x="100" y="54"/>
                  </a:lnTo>
                  <a:lnTo>
                    <a:pt x="102" y="63"/>
                  </a:lnTo>
                  <a:lnTo>
                    <a:pt x="99" y="67"/>
                  </a:lnTo>
                  <a:lnTo>
                    <a:pt x="86" y="72"/>
                  </a:lnTo>
                  <a:lnTo>
                    <a:pt x="87" y="89"/>
                  </a:lnTo>
                  <a:lnTo>
                    <a:pt x="86" y="93"/>
                  </a:lnTo>
                  <a:lnTo>
                    <a:pt x="72" y="111"/>
                  </a:lnTo>
                  <a:lnTo>
                    <a:pt x="84" y="128"/>
                  </a:lnTo>
                  <a:lnTo>
                    <a:pt x="89" y="126"/>
                  </a:lnTo>
                  <a:lnTo>
                    <a:pt x="112" y="104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1" name="Freeform 59"/>
            <p:cNvSpPr>
              <a:spLocks noChangeAspect="1"/>
            </p:cNvSpPr>
            <p:nvPr>
              <p:custDataLst>
                <p:tags r:id="rId83"/>
              </p:custDataLst>
            </p:nvPr>
          </p:nvSpPr>
          <p:spPr bwMode="gray">
            <a:xfrm>
              <a:off x="1541463" y="4840287"/>
              <a:ext cx="485775" cy="558800"/>
            </a:xfrm>
            <a:custGeom>
              <a:avLst/>
              <a:gdLst>
                <a:gd name="T0" fmla="*/ 2147483647 w 535"/>
                <a:gd name="T1" fmla="*/ 2147483647 h 650"/>
                <a:gd name="T2" fmla="*/ 2147483647 w 535"/>
                <a:gd name="T3" fmla="*/ 2147483647 h 650"/>
                <a:gd name="T4" fmla="*/ 2147483647 w 535"/>
                <a:gd name="T5" fmla="*/ 2147483647 h 650"/>
                <a:gd name="T6" fmla="*/ 2147483647 w 535"/>
                <a:gd name="T7" fmla="*/ 2147483647 h 650"/>
                <a:gd name="T8" fmla="*/ 2147483647 w 535"/>
                <a:gd name="T9" fmla="*/ 2147483647 h 650"/>
                <a:gd name="T10" fmla="*/ 2147483647 w 535"/>
                <a:gd name="T11" fmla="*/ 2147483647 h 650"/>
                <a:gd name="T12" fmla="*/ 2147483647 w 535"/>
                <a:gd name="T13" fmla="*/ 2147483647 h 650"/>
                <a:gd name="T14" fmla="*/ 2147483647 w 535"/>
                <a:gd name="T15" fmla="*/ 2147483647 h 650"/>
                <a:gd name="T16" fmla="*/ 2147483647 w 535"/>
                <a:gd name="T17" fmla="*/ 2147483647 h 650"/>
                <a:gd name="T18" fmla="*/ 2147483647 w 535"/>
                <a:gd name="T19" fmla="*/ 2147483647 h 650"/>
                <a:gd name="T20" fmla="*/ 2147483647 w 535"/>
                <a:gd name="T21" fmla="*/ 2147483647 h 650"/>
                <a:gd name="T22" fmla="*/ 2147483647 w 535"/>
                <a:gd name="T23" fmla="*/ 2147483647 h 650"/>
                <a:gd name="T24" fmla="*/ 2147483647 w 535"/>
                <a:gd name="T25" fmla="*/ 2147483647 h 650"/>
                <a:gd name="T26" fmla="*/ 2147483647 w 535"/>
                <a:gd name="T27" fmla="*/ 2147483647 h 650"/>
                <a:gd name="T28" fmla="*/ 2147483647 w 535"/>
                <a:gd name="T29" fmla="*/ 2147483647 h 650"/>
                <a:gd name="T30" fmla="*/ 2147483647 w 535"/>
                <a:gd name="T31" fmla="*/ 2147483647 h 650"/>
                <a:gd name="T32" fmla="*/ 2147483647 w 535"/>
                <a:gd name="T33" fmla="*/ 2147483647 h 650"/>
                <a:gd name="T34" fmla="*/ 0 w 535"/>
                <a:gd name="T35" fmla="*/ 2147483647 h 650"/>
                <a:gd name="T36" fmla="*/ 2147483647 w 535"/>
                <a:gd name="T37" fmla="*/ 2147483647 h 650"/>
                <a:gd name="T38" fmla="*/ 2147483647 w 535"/>
                <a:gd name="T39" fmla="*/ 2147483647 h 650"/>
                <a:gd name="T40" fmla="*/ 2147483647 w 535"/>
                <a:gd name="T41" fmla="*/ 2147483647 h 650"/>
                <a:gd name="T42" fmla="*/ 2147483647 w 535"/>
                <a:gd name="T43" fmla="*/ 2147483647 h 650"/>
                <a:gd name="T44" fmla="*/ 2147483647 w 535"/>
                <a:gd name="T45" fmla="*/ 2147483647 h 650"/>
                <a:gd name="T46" fmla="*/ 2147483647 w 535"/>
                <a:gd name="T47" fmla="*/ 2147483647 h 650"/>
                <a:gd name="T48" fmla="*/ 2147483647 w 535"/>
                <a:gd name="T49" fmla="*/ 2147483647 h 650"/>
                <a:gd name="T50" fmla="*/ 2147483647 w 535"/>
                <a:gd name="T51" fmla="*/ 2147483647 h 650"/>
                <a:gd name="T52" fmla="*/ 2147483647 w 535"/>
                <a:gd name="T53" fmla="*/ 2147483647 h 650"/>
                <a:gd name="T54" fmla="*/ 2147483647 w 535"/>
                <a:gd name="T55" fmla="*/ 2147483647 h 650"/>
                <a:gd name="T56" fmla="*/ 2147483647 w 535"/>
                <a:gd name="T57" fmla="*/ 2147483647 h 650"/>
                <a:gd name="T58" fmla="*/ 2147483647 w 535"/>
                <a:gd name="T59" fmla="*/ 2147483647 h 650"/>
                <a:gd name="T60" fmla="*/ 2147483647 w 535"/>
                <a:gd name="T61" fmla="*/ 2147483647 h 650"/>
                <a:gd name="T62" fmla="*/ 2147483647 w 535"/>
                <a:gd name="T63" fmla="*/ 2147483647 h 650"/>
                <a:gd name="T64" fmla="*/ 2147483647 w 535"/>
                <a:gd name="T65" fmla="*/ 2147483647 h 650"/>
                <a:gd name="T66" fmla="*/ 2147483647 w 535"/>
                <a:gd name="T67" fmla="*/ 2147483647 h 650"/>
                <a:gd name="T68" fmla="*/ 2147483647 w 535"/>
                <a:gd name="T69" fmla="*/ 2147483647 h 650"/>
                <a:gd name="T70" fmla="*/ 2147483647 w 535"/>
                <a:gd name="T71" fmla="*/ 2147483647 h 650"/>
                <a:gd name="T72" fmla="*/ 2147483647 w 535"/>
                <a:gd name="T73" fmla="*/ 2147483647 h 650"/>
                <a:gd name="T74" fmla="*/ 2147483647 w 535"/>
                <a:gd name="T75" fmla="*/ 2147483647 h 650"/>
                <a:gd name="T76" fmla="*/ 2147483647 w 535"/>
                <a:gd name="T77" fmla="*/ 2147483647 h 650"/>
                <a:gd name="T78" fmla="*/ 2147483647 w 535"/>
                <a:gd name="T79" fmla="*/ 2147483647 h 650"/>
                <a:gd name="T80" fmla="*/ 2147483647 w 535"/>
                <a:gd name="T81" fmla="*/ 2147483647 h 650"/>
                <a:gd name="T82" fmla="*/ 2147483647 w 535"/>
                <a:gd name="T83" fmla="*/ 2147483647 h 650"/>
                <a:gd name="T84" fmla="*/ 2147483647 w 535"/>
                <a:gd name="T85" fmla="*/ 2147483647 h 650"/>
                <a:gd name="T86" fmla="*/ 2147483647 w 535"/>
                <a:gd name="T87" fmla="*/ 2147483647 h 650"/>
                <a:gd name="T88" fmla="*/ 2147483647 w 535"/>
                <a:gd name="T89" fmla="*/ 2147483647 h 650"/>
                <a:gd name="T90" fmla="*/ 2147483647 w 535"/>
                <a:gd name="T91" fmla="*/ 2147483647 h 650"/>
                <a:gd name="T92" fmla="*/ 2147483647 w 535"/>
                <a:gd name="T93" fmla="*/ 2147483647 h 650"/>
                <a:gd name="T94" fmla="*/ 2147483647 w 535"/>
                <a:gd name="T95" fmla="*/ 2147483647 h 650"/>
                <a:gd name="T96" fmla="*/ 2147483647 w 535"/>
                <a:gd name="T97" fmla="*/ 2147483647 h 650"/>
                <a:gd name="T98" fmla="*/ 2147483647 w 535"/>
                <a:gd name="T99" fmla="*/ 2147483647 h 650"/>
                <a:gd name="T100" fmla="*/ 2147483647 w 535"/>
                <a:gd name="T101" fmla="*/ 2147483647 h 650"/>
                <a:gd name="T102" fmla="*/ 2147483647 w 535"/>
                <a:gd name="T103" fmla="*/ 2147483647 h 650"/>
                <a:gd name="T104" fmla="*/ 2147483647 w 535"/>
                <a:gd name="T105" fmla="*/ 2147483647 h 6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35"/>
                <a:gd name="T160" fmla="*/ 0 h 650"/>
                <a:gd name="T161" fmla="*/ 535 w 535"/>
                <a:gd name="T162" fmla="*/ 650 h 6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35" h="650">
                  <a:moveTo>
                    <a:pt x="222" y="0"/>
                  </a:moveTo>
                  <a:lnTo>
                    <a:pt x="210" y="7"/>
                  </a:lnTo>
                  <a:lnTo>
                    <a:pt x="210" y="14"/>
                  </a:lnTo>
                  <a:lnTo>
                    <a:pt x="212" y="21"/>
                  </a:lnTo>
                  <a:lnTo>
                    <a:pt x="214" y="31"/>
                  </a:lnTo>
                  <a:lnTo>
                    <a:pt x="216" y="46"/>
                  </a:lnTo>
                  <a:lnTo>
                    <a:pt x="210" y="51"/>
                  </a:lnTo>
                  <a:lnTo>
                    <a:pt x="210" y="60"/>
                  </a:lnTo>
                  <a:lnTo>
                    <a:pt x="212" y="68"/>
                  </a:lnTo>
                  <a:lnTo>
                    <a:pt x="228" y="81"/>
                  </a:lnTo>
                  <a:lnTo>
                    <a:pt x="237" y="83"/>
                  </a:lnTo>
                  <a:lnTo>
                    <a:pt x="241" y="102"/>
                  </a:lnTo>
                  <a:lnTo>
                    <a:pt x="219" y="97"/>
                  </a:lnTo>
                  <a:lnTo>
                    <a:pt x="207" y="86"/>
                  </a:lnTo>
                  <a:lnTo>
                    <a:pt x="197" y="91"/>
                  </a:lnTo>
                  <a:lnTo>
                    <a:pt x="180" y="111"/>
                  </a:lnTo>
                  <a:lnTo>
                    <a:pt x="172" y="118"/>
                  </a:lnTo>
                  <a:lnTo>
                    <a:pt x="164" y="116"/>
                  </a:lnTo>
                  <a:lnTo>
                    <a:pt x="163" y="107"/>
                  </a:lnTo>
                  <a:lnTo>
                    <a:pt x="157" y="101"/>
                  </a:lnTo>
                  <a:lnTo>
                    <a:pt x="141" y="95"/>
                  </a:lnTo>
                  <a:lnTo>
                    <a:pt x="118" y="95"/>
                  </a:lnTo>
                  <a:lnTo>
                    <a:pt x="111" y="104"/>
                  </a:lnTo>
                  <a:lnTo>
                    <a:pt x="98" y="116"/>
                  </a:lnTo>
                  <a:lnTo>
                    <a:pt x="109" y="124"/>
                  </a:lnTo>
                  <a:lnTo>
                    <a:pt x="109" y="141"/>
                  </a:lnTo>
                  <a:lnTo>
                    <a:pt x="107" y="149"/>
                  </a:lnTo>
                  <a:lnTo>
                    <a:pt x="102" y="157"/>
                  </a:lnTo>
                  <a:lnTo>
                    <a:pt x="89" y="165"/>
                  </a:lnTo>
                  <a:lnTo>
                    <a:pt x="85" y="167"/>
                  </a:lnTo>
                  <a:lnTo>
                    <a:pt x="87" y="180"/>
                  </a:lnTo>
                  <a:lnTo>
                    <a:pt x="93" y="188"/>
                  </a:lnTo>
                  <a:lnTo>
                    <a:pt x="89" y="199"/>
                  </a:lnTo>
                  <a:lnTo>
                    <a:pt x="79" y="211"/>
                  </a:lnTo>
                  <a:lnTo>
                    <a:pt x="68" y="223"/>
                  </a:lnTo>
                  <a:lnTo>
                    <a:pt x="60" y="232"/>
                  </a:lnTo>
                  <a:lnTo>
                    <a:pt x="46" y="241"/>
                  </a:lnTo>
                  <a:lnTo>
                    <a:pt x="37" y="244"/>
                  </a:lnTo>
                  <a:lnTo>
                    <a:pt x="29" y="258"/>
                  </a:lnTo>
                  <a:lnTo>
                    <a:pt x="27" y="279"/>
                  </a:lnTo>
                  <a:lnTo>
                    <a:pt x="20" y="290"/>
                  </a:lnTo>
                  <a:lnTo>
                    <a:pt x="20" y="310"/>
                  </a:lnTo>
                  <a:lnTo>
                    <a:pt x="11" y="318"/>
                  </a:lnTo>
                  <a:lnTo>
                    <a:pt x="9" y="324"/>
                  </a:lnTo>
                  <a:lnTo>
                    <a:pt x="16" y="333"/>
                  </a:lnTo>
                  <a:lnTo>
                    <a:pt x="20" y="347"/>
                  </a:lnTo>
                  <a:lnTo>
                    <a:pt x="29" y="359"/>
                  </a:lnTo>
                  <a:lnTo>
                    <a:pt x="2" y="380"/>
                  </a:lnTo>
                  <a:lnTo>
                    <a:pt x="7" y="392"/>
                  </a:lnTo>
                  <a:lnTo>
                    <a:pt x="18" y="401"/>
                  </a:lnTo>
                  <a:lnTo>
                    <a:pt x="20" y="403"/>
                  </a:lnTo>
                  <a:lnTo>
                    <a:pt x="20" y="411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6" y="449"/>
                  </a:lnTo>
                  <a:lnTo>
                    <a:pt x="14" y="459"/>
                  </a:lnTo>
                  <a:lnTo>
                    <a:pt x="29" y="465"/>
                  </a:lnTo>
                  <a:lnTo>
                    <a:pt x="48" y="468"/>
                  </a:lnTo>
                  <a:lnTo>
                    <a:pt x="68" y="469"/>
                  </a:lnTo>
                  <a:lnTo>
                    <a:pt x="84" y="471"/>
                  </a:lnTo>
                  <a:lnTo>
                    <a:pt x="95" y="479"/>
                  </a:lnTo>
                  <a:lnTo>
                    <a:pt x="107" y="488"/>
                  </a:lnTo>
                  <a:lnTo>
                    <a:pt x="93" y="494"/>
                  </a:lnTo>
                  <a:lnTo>
                    <a:pt x="82" y="505"/>
                  </a:lnTo>
                  <a:lnTo>
                    <a:pt x="70" y="514"/>
                  </a:lnTo>
                  <a:lnTo>
                    <a:pt x="68" y="526"/>
                  </a:lnTo>
                  <a:lnTo>
                    <a:pt x="62" y="551"/>
                  </a:lnTo>
                  <a:lnTo>
                    <a:pt x="52" y="567"/>
                  </a:lnTo>
                  <a:lnTo>
                    <a:pt x="46" y="578"/>
                  </a:lnTo>
                  <a:lnTo>
                    <a:pt x="62" y="597"/>
                  </a:lnTo>
                  <a:lnTo>
                    <a:pt x="66" y="602"/>
                  </a:lnTo>
                  <a:lnTo>
                    <a:pt x="75" y="609"/>
                  </a:lnTo>
                  <a:lnTo>
                    <a:pt x="85" y="608"/>
                  </a:lnTo>
                  <a:lnTo>
                    <a:pt x="97" y="602"/>
                  </a:lnTo>
                  <a:lnTo>
                    <a:pt x="102" y="597"/>
                  </a:lnTo>
                  <a:lnTo>
                    <a:pt x="104" y="594"/>
                  </a:lnTo>
                  <a:lnTo>
                    <a:pt x="118" y="595"/>
                  </a:lnTo>
                  <a:lnTo>
                    <a:pt x="126" y="609"/>
                  </a:lnTo>
                  <a:lnTo>
                    <a:pt x="136" y="617"/>
                  </a:lnTo>
                  <a:lnTo>
                    <a:pt x="143" y="625"/>
                  </a:lnTo>
                  <a:lnTo>
                    <a:pt x="155" y="627"/>
                  </a:lnTo>
                  <a:lnTo>
                    <a:pt x="178" y="625"/>
                  </a:lnTo>
                  <a:lnTo>
                    <a:pt x="189" y="623"/>
                  </a:lnTo>
                  <a:lnTo>
                    <a:pt x="205" y="634"/>
                  </a:lnTo>
                  <a:lnTo>
                    <a:pt x="217" y="629"/>
                  </a:lnTo>
                  <a:lnTo>
                    <a:pt x="229" y="632"/>
                  </a:lnTo>
                  <a:lnTo>
                    <a:pt x="239" y="640"/>
                  </a:lnTo>
                  <a:lnTo>
                    <a:pt x="258" y="632"/>
                  </a:lnTo>
                  <a:lnTo>
                    <a:pt x="276" y="632"/>
                  </a:lnTo>
                  <a:lnTo>
                    <a:pt x="289" y="640"/>
                  </a:lnTo>
                  <a:lnTo>
                    <a:pt x="299" y="643"/>
                  </a:lnTo>
                  <a:lnTo>
                    <a:pt x="310" y="636"/>
                  </a:lnTo>
                  <a:lnTo>
                    <a:pt x="322" y="636"/>
                  </a:lnTo>
                  <a:lnTo>
                    <a:pt x="342" y="632"/>
                  </a:lnTo>
                  <a:lnTo>
                    <a:pt x="355" y="640"/>
                  </a:lnTo>
                  <a:lnTo>
                    <a:pt x="357" y="636"/>
                  </a:lnTo>
                  <a:lnTo>
                    <a:pt x="372" y="644"/>
                  </a:lnTo>
                  <a:lnTo>
                    <a:pt x="385" y="650"/>
                  </a:lnTo>
                  <a:lnTo>
                    <a:pt x="399" y="644"/>
                  </a:lnTo>
                  <a:lnTo>
                    <a:pt x="401" y="636"/>
                  </a:lnTo>
                  <a:lnTo>
                    <a:pt x="392" y="623"/>
                  </a:lnTo>
                  <a:lnTo>
                    <a:pt x="390" y="617"/>
                  </a:lnTo>
                  <a:lnTo>
                    <a:pt x="385" y="596"/>
                  </a:lnTo>
                  <a:lnTo>
                    <a:pt x="438" y="564"/>
                  </a:lnTo>
                  <a:lnTo>
                    <a:pt x="451" y="564"/>
                  </a:lnTo>
                  <a:lnTo>
                    <a:pt x="453" y="559"/>
                  </a:lnTo>
                  <a:lnTo>
                    <a:pt x="435" y="552"/>
                  </a:lnTo>
                  <a:lnTo>
                    <a:pt x="421" y="539"/>
                  </a:lnTo>
                  <a:lnTo>
                    <a:pt x="387" y="511"/>
                  </a:lnTo>
                  <a:lnTo>
                    <a:pt x="382" y="489"/>
                  </a:lnTo>
                  <a:lnTo>
                    <a:pt x="363" y="486"/>
                  </a:lnTo>
                  <a:lnTo>
                    <a:pt x="360" y="465"/>
                  </a:lnTo>
                  <a:lnTo>
                    <a:pt x="356" y="447"/>
                  </a:lnTo>
                  <a:lnTo>
                    <a:pt x="348" y="438"/>
                  </a:lnTo>
                  <a:lnTo>
                    <a:pt x="353" y="430"/>
                  </a:lnTo>
                  <a:lnTo>
                    <a:pt x="357" y="426"/>
                  </a:lnTo>
                  <a:lnTo>
                    <a:pt x="368" y="427"/>
                  </a:lnTo>
                  <a:lnTo>
                    <a:pt x="400" y="418"/>
                  </a:lnTo>
                  <a:lnTo>
                    <a:pt x="469" y="386"/>
                  </a:lnTo>
                  <a:lnTo>
                    <a:pt x="484" y="380"/>
                  </a:lnTo>
                  <a:lnTo>
                    <a:pt x="498" y="372"/>
                  </a:lnTo>
                  <a:lnTo>
                    <a:pt x="510" y="383"/>
                  </a:lnTo>
                  <a:lnTo>
                    <a:pt x="526" y="377"/>
                  </a:lnTo>
                  <a:lnTo>
                    <a:pt x="530" y="363"/>
                  </a:lnTo>
                  <a:lnTo>
                    <a:pt x="529" y="354"/>
                  </a:lnTo>
                  <a:lnTo>
                    <a:pt x="535" y="345"/>
                  </a:lnTo>
                  <a:lnTo>
                    <a:pt x="527" y="334"/>
                  </a:lnTo>
                  <a:lnTo>
                    <a:pt x="520" y="315"/>
                  </a:lnTo>
                  <a:lnTo>
                    <a:pt x="524" y="285"/>
                  </a:lnTo>
                  <a:lnTo>
                    <a:pt x="513" y="271"/>
                  </a:lnTo>
                  <a:lnTo>
                    <a:pt x="509" y="257"/>
                  </a:lnTo>
                  <a:lnTo>
                    <a:pt x="514" y="243"/>
                  </a:lnTo>
                  <a:lnTo>
                    <a:pt x="511" y="232"/>
                  </a:lnTo>
                  <a:lnTo>
                    <a:pt x="489" y="210"/>
                  </a:lnTo>
                  <a:lnTo>
                    <a:pt x="501" y="197"/>
                  </a:lnTo>
                  <a:lnTo>
                    <a:pt x="501" y="174"/>
                  </a:lnTo>
                  <a:lnTo>
                    <a:pt x="503" y="147"/>
                  </a:lnTo>
                  <a:lnTo>
                    <a:pt x="479" y="124"/>
                  </a:lnTo>
                  <a:lnTo>
                    <a:pt x="467" y="109"/>
                  </a:lnTo>
                  <a:lnTo>
                    <a:pt x="453" y="97"/>
                  </a:lnTo>
                  <a:lnTo>
                    <a:pt x="433" y="81"/>
                  </a:lnTo>
                  <a:lnTo>
                    <a:pt x="419" y="72"/>
                  </a:lnTo>
                  <a:lnTo>
                    <a:pt x="410" y="70"/>
                  </a:lnTo>
                  <a:lnTo>
                    <a:pt x="396" y="79"/>
                  </a:lnTo>
                  <a:lnTo>
                    <a:pt x="386" y="85"/>
                  </a:lnTo>
                  <a:lnTo>
                    <a:pt x="355" y="105"/>
                  </a:lnTo>
                  <a:lnTo>
                    <a:pt x="333" y="101"/>
                  </a:lnTo>
                  <a:lnTo>
                    <a:pt x="324" y="101"/>
                  </a:lnTo>
                  <a:lnTo>
                    <a:pt x="324" y="93"/>
                  </a:lnTo>
                  <a:lnTo>
                    <a:pt x="328" y="83"/>
                  </a:lnTo>
                  <a:lnTo>
                    <a:pt x="333" y="74"/>
                  </a:lnTo>
                  <a:lnTo>
                    <a:pt x="305" y="58"/>
                  </a:lnTo>
                  <a:lnTo>
                    <a:pt x="297" y="56"/>
                  </a:lnTo>
                  <a:lnTo>
                    <a:pt x="283" y="46"/>
                  </a:lnTo>
                  <a:lnTo>
                    <a:pt x="278" y="27"/>
                  </a:lnTo>
                  <a:lnTo>
                    <a:pt x="272" y="14"/>
                  </a:lnTo>
                  <a:lnTo>
                    <a:pt x="262" y="16"/>
                  </a:lnTo>
                  <a:lnTo>
                    <a:pt x="251" y="4"/>
                  </a:lnTo>
                  <a:lnTo>
                    <a:pt x="235" y="2"/>
                  </a:lnTo>
                  <a:lnTo>
                    <a:pt x="222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2" name="Freeform 60"/>
            <p:cNvSpPr>
              <a:spLocks noChangeAspect="1"/>
            </p:cNvSpPr>
            <p:nvPr>
              <p:custDataLst>
                <p:tags r:id="rId84"/>
              </p:custDataLst>
            </p:nvPr>
          </p:nvSpPr>
          <p:spPr bwMode="gray">
            <a:xfrm>
              <a:off x="909638" y="5070475"/>
              <a:ext cx="728662" cy="606425"/>
            </a:xfrm>
            <a:custGeom>
              <a:avLst/>
              <a:gdLst>
                <a:gd name="T0" fmla="*/ 2147483647 w 763"/>
                <a:gd name="T1" fmla="*/ 2147483647 h 746"/>
                <a:gd name="T2" fmla="*/ 2147483647 w 763"/>
                <a:gd name="T3" fmla="*/ 2147483647 h 746"/>
                <a:gd name="T4" fmla="*/ 2147483647 w 763"/>
                <a:gd name="T5" fmla="*/ 2147483647 h 746"/>
                <a:gd name="T6" fmla="*/ 2147483647 w 763"/>
                <a:gd name="T7" fmla="*/ 2147483647 h 746"/>
                <a:gd name="T8" fmla="*/ 2147483647 w 763"/>
                <a:gd name="T9" fmla="*/ 2147483647 h 746"/>
                <a:gd name="T10" fmla="*/ 2147483647 w 763"/>
                <a:gd name="T11" fmla="*/ 2147483647 h 746"/>
                <a:gd name="T12" fmla="*/ 2147483647 w 763"/>
                <a:gd name="T13" fmla="*/ 2147483647 h 746"/>
                <a:gd name="T14" fmla="*/ 2147483647 w 763"/>
                <a:gd name="T15" fmla="*/ 2147483647 h 746"/>
                <a:gd name="T16" fmla="*/ 2147483647 w 763"/>
                <a:gd name="T17" fmla="*/ 2147483647 h 746"/>
                <a:gd name="T18" fmla="*/ 2147483647 w 763"/>
                <a:gd name="T19" fmla="*/ 2147483647 h 746"/>
                <a:gd name="T20" fmla="*/ 2147483647 w 763"/>
                <a:gd name="T21" fmla="*/ 2147483647 h 746"/>
                <a:gd name="T22" fmla="*/ 2147483647 w 763"/>
                <a:gd name="T23" fmla="*/ 2147483647 h 746"/>
                <a:gd name="T24" fmla="*/ 2147483647 w 763"/>
                <a:gd name="T25" fmla="*/ 2147483647 h 746"/>
                <a:gd name="T26" fmla="*/ 2147483647 w 763"/>
                <a:gd name="T27" fmla="*/ 2147483647 h 746"/>
                <a:gd name="T28" fmla="*/ 2147483647 w 763"/>
                <a:gd name="T29" fmla="*/ 2147483647 h 746"/>
                <a:gd name="T30" fmla="*/ 2147483647 w 763"/>
                <a:gd name="T31" fmla="*/ 2147483647 h 746"/>
                <a:gd name="T32" fmla="*/ 2147483647 w 763"/>
                <a:gd name="T33" fmla="*/ 2147483647 h 746"/>
                <a:gd name="T34" fmla="*/ 2147483647 w 763"/>
                <a:gd name="T35" fmla="*/ 2147483647 h 746"/>
                <a:gd name="T36" fmla="*/ 2147483647 w 763"/>
                <a:gd name="T37" fmla="*/ 2147483647 h 746"/>
                <a:gd name="T38" fmla="*/ 2147483647 w 763"/>
                <a:gd name="T39" fmla="*/ 2147483647 h 746"/>
                <a:gd name="T40" fmla="*/ 2147483647 w 763"/>
                <a:gd name="T41" fmla="*/ 2147483647 h 746"/>
                <a:gd name="T42" fmla="*/ 2147483647 w 763"/>
                <a:gd name="T43" fmla="*/ 2147483647 h 746"/>
                <a:gd name="T44" fmla="*/ 2147483647 w 763"/>
                <a:gd name="T45" fmla="*/ 2147483647 h 746"/>
                <a:gd name="T46" fmla="*/ 2147483647 w 763"/>
                <a:gd name="T47" fmla="*/ 2147483647 h 746"/>
                <a:gd name="T48" fmla="*/ 2147483647 w 763"/>
                <a:gd name="T49" fmla="*/ 2147483647 h 746"/>
                <a:gd name="T50" fmla="*/ 2147483647 w 763"/>
                <a:gd name="T51" fmla="*/ 2147483647 h 746"/>
                <a:gd name="T52" fmla="*/ 2147483647 w 763"/>
                <a:gd name="T53" fmla="*/ 2147483647 h 746"/>
                <a:gd name="T54" fmla="*/ 2147483647 w 763"/>
                <a:gd name="T55" fmla="*/ 2147483647 h 746"/>
                <a:gd name="T56" fmla="*/ 2147483647 w 763"/>
                <a:gd name="T57" fmla="*/ 2147483647 h 746"/>
                <a:gd name="T58" fmla="*/ 2147483647 w 763"/>
                <a:gd name="T59" fmla="*/ 2147483647 h 746"/>
                <a:gd name="T60" fmla="*/ 2147483647 w 763"/>
                <a:gd name="T61" fmla="*/ 2147483647 h 746"/>
                <a:gd name="T62" fmla="*/ 2147483647 w 763"/>
                <a:gd name="T63" fmla="*/ 2147483647 h 746"/>
                <a:gd name="T64" fmla="*/ 2147483647 w 763"/>
                <a:gd name="T65" fmla="*/ 2147483647 h 746"/>
                <a:gd name="T66" fmla="*/ 2147483647 w 763"/>
                <a:gd name="T67" fmla="*/ 2147483647 h 746"/>
                <a:gd name="T68" fmla="*/ 2147483647 w 763"/>
                <a:gd name="T69" fmla="*/ 2147483647 h 746"/>
                <a:gd name="T70" fmla="*/ 2147483647 w 763"/>
                <a:gd name="T71" fmla="*/ 2147483647 h 746"/>
                <a:gd name="T72" fmla="*/ 2147483647 w 763"/>
                <a:gd name="T73" fmla="*/ 2147483647 h 746"/>
                <a:gd name="T74" fmla="*/ 2147483647 w 763"/>
                <a:gd name="T75" fmla="*/ 2147483647 h 746"/>
                <a:gd name="T76" fmla="*/ 2147483647 w 763"/>
                <a:gd name="T77" fmla="*/ 2147483647 h 746"/>
                <a:gd name="T78" fmla="*/ 2147483647 w 763"/>
                <a:gd name="T79" fmla="*/ 2147483647 h 746"/>
                <a:gd name="T80" fmla="*/ 2147483647 w 763"/>
                <a:gd name="T81" fmla="*/ 2147483647 h 746"/>
                <a:gd name="T82" fmla="*/ 2147483647 w 763"/>
                <a:gd name="T83" fmla="*/ 2147483647 h 746"/>
                <a:gd name="T84" fmla="*/ 2147483647 w 763"/>
                <a:gd name="T85" fmla="*/ 2147483647 h 746"/>
                <a:gd name="T86" fmla="*/ 2147483647 w 763"/>
                <a:gd name="T87" fmla="*/ 2147483647 h 746"/>
                <a:gd name="T88" fmla="*/ 2147483647 w 763"/>
                <a:gd name="T89" fmla="*/ 2147483647 h 746"/>
                <a:gd name="T90" fmla="*/ 2147483647 w 763"/>
                <a:gd name="T91" fmla="*/ 2147483647 h 746"/>
                <a:gd name="T92" fmla="*/ 2147483647 w 763"/>
                <a:gd name="T93" fmla="*/ 2147483647 h 746"/>
                <a:gd name="T94" fmla="*/ 2147483647 w 763"/>
                <a:gd name="T95" fmla="*/ 2147483647 h 746"/>
                <a:gd name="T96" fmla="*/ 2147483647 w 763"/>
                <a:gd name="T97" fmla="*/ 2147483647 h 746"/>
                <a:gd name="T98" fmla="*/ 2147483647 w 763"/>
                <a:gd name="T99" fmla="*/ 2147483647 h 74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63"/>
                <a:gd name="T151" fmla="*/ 0 h 746"/>
                <a:gd name="T152" fmla="*/ 763 w 763"/>
                <a:gd name="T153" fmla="*/ 746 h 74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63" h="746">
                  <a:moveTo>
                    <a:pt x="13" y="106"/>
                  </a:moveTo>
                  <a:lnTo>
                    <a:pt x="20" y="124"/>
                  </a:lnTo>
                  <a:lnTo>
                    <a:pt x="13" y="139"/>
                  </a:lnTo>
                  <a:lnTo>
                    <a:pt x="11" y="145"/>
                  </a:lnTo>
                  <a:lnTo>
                    <a:pt x="0" y="141"/>
                  </a:lnTo>
                  <a:lnTo>
                    <a:pt x="4" y="150"/>
                  </a:lnTo>
                  <a:lnTo>
                    <a:pt x="4" y="159"/>
                  </a:lnTo>
                  <a:lnTo>
                    <a:pt x="13" y="174"/>
                  </a:lnTo>
                  <a:lnTo>
                    <a:pt x="30" y="169"/>
                  </a:lnTo>
                  <a:lnTo>
                    <a:pt x="52" y="193"/>
                  </a:lnTo>
                  <a:lnTo>
                    <a:pt x="61" y="209"/>
                  </a:lnTo>
                  <a:lnTo>
                    <a:pt x="74" y="221"/>
                  </a:lnTo>
                  <a:lnTo>
                    <a:pt x="91" y="221"/>
                  </a:lnTo>
                  <a:lnTo>
                    <a:pt x="98" y="235"/>
                  </a:lnTo>
                  <a:lnTo>
                    <a:pt x="113" y="248"/>
                  </a:lnTo>
                  <a:lnTo>
                    <a:pt x="122" y="250"/>
                  </a:lnTo>
                  <a:lnTo>
                    <a:pt x="124" y="256"/>
                  </a:lnTo>
                  <a:lnTo>
                    <a:pt x="119" y="268"/>
                  </a:lnTo>
                  <a:lnTo>
                    <a:pt x="119" y="279"/>
                  </a:lnTo>
                  <a:lnTo>
                    <a:pt x="117" y="290"/>
                  </a:lnTo>
                  <a:lnTo>
                    <a:pt x="113" y="309"/>
                  </a:lnTo>
                  <a:lnTo>
                    <a:pt x="128" y="327"/>
                  </a:lnTo>
                  <a:lnTo>
                    <a:pt x="145" y="340"/>
                  </a:lnTo>
                  <a:lnTo>
                    <a:pt x="145" y="349"/>
                  </a:lnTo>
                  <a:lnTo>
                    <a:pt x="143" y="381"/>
                  </a:lnTo>
                  <a:lnTo>
                    <a:pt x="139" y="407"/>
                  </a:lnTo>
                  <a:lnTo>
                    <a:pt x="143" y="418"/>
                  </a:lnTo>
                  <a:lnTo>
                    <a:pt x="158" y="429"/>
                  </a:lnTo>
                  <a:lnTo>
                    <a:pt x="158" y="451"/>
                  </a:lnTo>
                  <a:lnTo>
                    <a:pt x="158" y="466"/>
                  </a:lnTo>
                  <a:lnTo>
                    <a:pt x="141" y="444"/>
                  </a:lnTo>
                  <a:lnTo>
                    <a:pt x="132" y="429"/>
                  </a:lnTo>
                  <a:lnTo>
                    <a:pt x="126" y="433"/>
                  </a:lnTo>
                  <a:lnTo>
                    <a:pt x="130" y="444"/>
                  </a:lnTo>
                  <a:lnTo>
                    <a:pt x="124" y="457"/>
                  </a:lnTo>
                  <a:lnTo>
                    <a:pt x="115" y="470"/>
                  </a:lnTo>
                  <a:lnTo>
                    <a:pt x="109" y="479"/>
                  </a:lnTo>
                  <a:lnTo>
                    <a:pt x="117" y="488"/>
                  </a:lnTo>
                  <a:lnTo>
                    <a:pt x="111" y="498"/>
                  </a:lnTo>
                  <a:lnTo>
                    <a:pt x="98" y="511"/>
                  </a:lnTo>
                  <a:lnTo>
                    <a:pt x="96" y="522"/>
                  </a:lnTo>
                  <a:lnTo>
                    <a:pt x="89" y="535"/>
                  </a:lnTo>
                  <a:lnTo>
                    <a:pt x="69" y="559"/>
                  </a:lnTo>
                  <a:lnTo>
                    <a:pt x="57" y="583"/>
                  </a:lnTo>
                  <a:lnTo>
                    <a:pt x="57" y="587"/>
                  </a:lnTo>
                  <a:lnTo>
                    <a:pt x="63" y="594"/>
                  </a:lnTo>
                  <a:lnTo>
                    <a:pt x="56" y="605"/>
                  </a:lnTo>
                  <a:lnTo>
                    <a:pt x="59" y="618"/>
                  </a:lnTo>
                  <a:lnTo>
                    <a:pt x="70" y="635"/>
                  </a:lnTo>
                  <a:lnTo>
                    <a:pt x="117" y="661"/>
                  </a:lnTo>
                  <a:lnTo>
                    <a:pt x="150" y="689"/>
                  </a:lnTo>
                  <a:lnTo>
                    <a:pt x="161" y="685"/>
                  </a:lnTo>
                  <a:lnTo>
                    <a:pt x="178" y="679"/>
                  </a:lnTo>
                  <a:lnTo>
                    <a:pt x="235" y="703"/>
                  </a:lnTo>
                  <a:lnTo>
                    <a:pt x="243" y="711"/>
                  </a:lnTo>
                  <a:lnTo>
                    <a:pt x="248" y="726"/>
                  </a:lnTo>
                  <a:lnTo>
                    <a:pt x="258" y="731"/>
                  </a:lnTo>
                  <a:lnTo>
                    <a:pt x="271" y="733"/>
                  </a:lnTo>
                  <a:lnTo>
                    <a:pt x="292" y="744"/>
                  </a:lnTo>
                  <a:lnTo>
                    <a:pt x="325" y="746"/>
                  </a:lnTo>
                  <a:lnTo>
                    <a:pt x="335" y="733"/>
                  </a:lnTo>
                  <a:lnTo>
                    <a:pt x="338" y="718"/>
                  </a:lnTo>
                  <a:lnTo>
                    <a:pt x="338" y="702"/>
                  </a:lnTo>
                  <a:lnTo>
                    <a:pt x="353" y="689"/>
                  </a:lnTo>
                  <a:lnTo>
                    <a:pt x="381" y="674"/>
                  </a:lnTo>
                  <a:lnTo>
                    <a:pt x="394" y="672"/>
                  </a:lnTo>
                  <a:lnTo>
                    <a:pt x="409" y="664"/>
                  </a:lnTo>
                  <a:lnTo>
                    <a:pt x="422" y="664"/>
                  </a:lnTo>
                  <a:lnTo>
                    <a:pt x="437" y="674"/>
                  </a:lnTo>
                  <a:lnTo>
                    <a:pt x="448" y="687"/>
                  </a:lnTo>
                  <a:lnTo>
                    <a:pt x="461" y="687"/>
                  </a:lnTo>
                  <a:lnTo>
                    <a:pt x="472" y="690"/>
                  </a:lnTo>
                  <a:lnTo>
                    <a:pt x="494" y="692"/>
                  </a:lnTo>
                  <a:lnTo>
                    <a:pt x="509" y="711"/>
                  </a:lnTo>
                  <a:lnTo>
                    <a:pt x="522" y="720"/>
                  </a:lnTo>
                  <a:lnTo>
                    <a:pt x="541" y="726"/>
                  </a:lnTo>
                  <a:lnTo>
                    <a:pt x="557" y="735"/>
                  </a:lnTo>
                  <a:lnTo>
                    <a:pt x="566" y="737"/>
                  </a:lnTo>
                  <a:lnTo>
                    <a:pt x="589" y="714"/>
                  </a:lnTo>
                  <a:lnTo>
                    <a:pt x="604" y="711"/>
                  </a:lnTo>
                  <a:lnTo>
                    <a:pt x="615" y="702"/>
                  </a:lnTo>
                  <a:lnTo>
                    <a:pt x="631" y="690"/>
                  </a:lnTo>
                  <a:lnTo>
                    <a:pt x="652" y="689"/>
                  </a:lnTo>
                  <a:lnTo>
                    <a:pt x="650" y="663"/>
                  </a:lnTo>
                  <a:lnTo>
                    <a:pt x="646" y="655"/>
                  </a:lnTo>
                  <a:lnTo>
                    <a:pt x="637" y="642"/>
                  </a:lnTo>
                  <a:lnTo>
                    <a:pt x="630" y="644"/>
                  </a:lnTo>
                  <a:lnTo>
                    <a:pt x="622" y="642"/>
                  </a:lnTo>
                  <a:lnTo>
                    <a:pt x="615" y="631"/>
                  </a:lnTo>
                  <a:lnTo>
                    <a:pt x="613" y="605"/>
                  </a:lnTo>
                  <a:lnTo>
                    <a:pt x="628" y="588"/>
                  </a:lnTo>
                  <a:lnTo>
                    <a:pt x="617" y="574"/>
                  </a:lnTo>
                  <a:lnTo>
                    <a:pt x="617" y="568"/>
                  </a:lnTo>
                  <a:lnTo>
                    <a:pt x="639" y="546"/>
                  </a:lnTo>
                  <a:lnTo>
                    <a:pt x="639" y="538"/>
                  </a:lnTo>
                  <a:lnTo>
                    <a:pt x="635" y="511"/>
                  </a:lnTo>
                  <a:lnTo>
                    <a:pt x="648" y="498"/>
                  </a:lnTo>
                  <a:lnTo>
                    <a:pt x="637" y="483"/>
                  </a:lnTo>
                  <a:lnTo>
                    <a:pt x="637" y="472"/>
                  </a:lnTo>
                  <a:lnTo>
                    <a:pt x="635" y="453"/>
                  </a:lnTo>
                  <a:lnTo>
                    <a:pt x="630" y="448"/>
                  </a:lnTo>
                  <a:lnTo>
                    <a:pt x="617" y="448"/>
                  </a:lnTo>
                  <a:lnTo>
                    <a:pt x="605" y="451"/>
                  </a:lnTo>
                  <a:lnTo>
                    <a:pt x="602" y="455"/>
                  </a:lnTo>
                  <a:lnTo>
                    <a:pt x="594" y="462"/>
                  </a:lnTo>
                  <a:lnTo>
                    <a:pt x="583" y="466"/>
                  </a:lnTo>
                  <a:lnTo>
                    <a:pt x="579" y="455"/>
                  </a:lnTo>
                  <a:lnTo>
                    <a:pt x="587" y="446"/>
                  </a:lnTo>
                  <a:lnTo>
                    <a:pt x="591" y="438"/>
                  </a:lnTo>
                  <a:lnTo>
                    <a:pt x="591" y="429"/>
                  </a:lnTo>
                  <a:lnTo>
                    <a:pt x="611" y="409"/>
                  </a:lnTo>
                  <a:lnTo>
                    <a:pt x="622" y="405"/>
                  </a:lnTo>
                  <a:lnTo>
                    <a:pt x="624" y="390"/>
                  </a:lnTo>
                  <a:lnTo>
                    <a:pt x="635" y="377"/>
                  </a:lnTo>
                  <a:lnTo>
                    <a:pt x="667" y="353"/>
                  </a:lnTo>
                  <a:lnTo>
                    <a:pt x="676" y="353"/>
                  </a:lnTo>
                  <a:lnTo>
                    <a:pt x="680" y="344"/>
                  </a:lnTo>
                  <a:lnTo>
                    <a:pt x="691" y="333"/>
                  </a:lnTo>
                  <a:lnTo>
                    <a:pt x="700" y="333"/>
                  </a:lnTo>
                  <a:lnTo>
                    <a:pt x="704" y="327"/>
                  </a:lnTo>
                  <a:lnTo>
                    <a:pt x="709" y="323"/>
                  </a:lnTo>
                  <a:lnTo>
                    <a:pt x="717" y="310"/>
                  </a:lnTo>
                  <a:lnTo>
                    <a:pt x="724" y="290"/>
                  </a:lnTo>
                  <a:lnTo>
                    <a:pt x="726" y="277"/>
                  </a:lnTo>
                  <a:lnTo>
                    <a:pt x="726" y="266"/>
                  </a:lnTo>
                  <a:lnTo>
                    <a:pt x="737" y="252"/>
                  </a:lnTo>
                  <a:lnTo>
                    <a:pt x="754" y="243"/>
                  </a:lnTo>
                  <a:lnTo>
                    <a:pt x="763" y="234"/>
                  </a:lnTo>
                  <a:lnTo>
                    <a:pt x="763" y="230"/>
                  </a:lnTo>
                  <a:lnTo>
                    <a:pt x="748" y="219"/>
                  </a:lnTo>
                  <a:lnTo>
                    <a:pt x="741" y="215"/>
                  </a:lnTo>
                  <a:lnTo>
                    <a:pt x="719" y="213"/>
                  </a:lnTo>
                  <a:lnTo>
                    <a:pt x="694" y="209"/>
                  </a:lnTo>
                  <a:lnTo>
                    <a:pt x="685" y="208"/>
                  </a:lnTo>
                  <a:lnTo>
                    <a:pt x="676" y="204"/>
                  </a:lnTo>
                  <a:lnTo>
                    <a:pt x="667" y="195"/>
                  </a:lnTo>
                  <a:lnTo>
                    <a:pt x="659" y="180"/>
                  </a:lnTo>
                  <a:lnTo>
                    <a:pt x="652" y="171"/>
                  </a:lnTo>
                  <a:lnTo>
                    <a:pt x="642" y="167"/>
                  </a:lnTo>
                  <a:lnTo>
                    <a:pt x="631" y="163"/>
                  </a:lnTo>
                  <a:lnTo>
                    <a:pt x="626" y="161"/>
                  </a:lnTo>
                  <a:lnTo>
                    <a:pt x="611" y="148"/>
                  </a:lnTo>
                  <a:lnTo>
                    <a:pt x="592" y="133"/>
                  </a:lnTo>
                  <a:lnTo>
                    <a:pt x="581" y="119"/>
                  </a:lnTo>
                  <a:lnTo>
                    <a:pt x="568" y="115"/>
                  </a:lnTo>
                  <a:lnTo>
                    <a:pt x="561" y="109"/>
                  </a:lnTo>
                  <a:lnTo>
                    <a:pt x="555" y="95"/>
                  </a:lnTo>
                  <a:lnTo>
                    <a:pt x="539" y="76"/>
                  </a:lnTo>
                  <a:lnTo>
                    <a:pt x="535" y="63"/>
                  </a:lnTo>
                  <a:lnTo>
                    <a:pt x="522" y="50"/>
                  </a:lnTo>
                  <a:lnTo>
                    <a:pt x="516" y="39"/>
                  </a:lnTo>
                  <a:lnTo>
                    <a:pt x="509" y="30"/>
                  </a:lnTo>
                  <a:lnTo>
                    <a:pt x="496" y="20"/>
                  </a:lnTo>
                  <a:lnTo>
                    <a:pt x="483" y="6"/>
                  </a:lnTo>
                  <a:lnTo>
                    <a:pt x="472" y="0"/>
                  </a:lnTo>
                  <a:lnTo>
                    <a:pt x="444" y="2"/>
                  </a:lnTo>
                  <a:lnTo>
                    <a:pt x="433" y="2"/>
                  </a:lnTo>
                  <a:lnTo>
                    <a:pt x="418" y="13"/>
                  </a:lnTo>
                  <a:lnTo>
                    <a:pt x="427" y="22"/>
                  </a:lnTo>
                  <a:lnTo>
                    <a:pt x="416" y="35"/>
                  </a:lnTo>
                  <a:lnTo>
                    <a:pt x="388" y="70"/>
                  </a:lnTo>
                  <a:lnTo>
                    <a:pt x="374" y="78"/>
                  </a:lnTo>
                  <a:lnTo>
                    <a:pt x="335" y="82"/>
                  </a:lnTo>
                  <a:lnTo>
                    <a:pt x="318" y="87"/>
                  </a:lnTo>
                  <a:lnTo>
                    <a:pt x="309" y="96"/>
                  </a:lnTo>
                  <a:lnTo>
                    <a:pt x="305" y="104"/>
                  </a:lnTo>
                  <a:lnTo>
                    <a:pt x="290" y="100"/>
                  </a:lnTo>
                  <a:lnTo>
                    <a:pt x="265" y="104"/>
                  </a:lnTo>
                  <a:lnTo>
                    <a:pt x="250" y="102"/>
                  </a:lnTo>
                  <a:lnTo>
                    <a:pt x="237" y="93"/>
                  </a:lnTo>
                  <a:lnTo>
                    <a:pt x="228" y="82"/>
                  </a:lnTo>
                  <a:lnTo>
                    <a:pt x="219" y="78"/>
                  </a:lnTo>
                  <a:lnTo>
                    <a:pt x="226" y="69"/>
                  </a:lnTo>
                  <a:lnTo>
                    <a:pt x="215" y="59"/>
                  </a:lnTo>
                  <a:lnTo>
                    <a:pt x="206" y="57"/>
                  </a:lnTo>
                  <a:lnTo>
                    <a:pt x="198" y="56"/>
                  </a:lnTo>
                  <a:lnTo>
                    <a:pt x="197" y="59"/>
                  </a:lnTo>
                  <a:lnTo>
                    <a:pt x="204" y="67"/>
                  </a:lnTo>
                  <a:lnTo>
                    <a:pt x="200" y="72"/>
                  </a:lnTo>
                  <a:lnTo>
                    <a:pt x="204" y="83"/>
                  </a:lnTo>
                  <a:lnTo>
                    <a:pt x="206" y="96"/>
                  </a:lnTo>
                  <a:lnTo>
                    <a:pt x="206" y="106"/>
                  </a:lnTo>
                  <a:lnTo>
                    <a:pt x="204" y="108"/>
                  </a:lnTo>
                  <a:lnTo>
                    <a:pt x="197" y="113"/>
                  </a:lnTo>
                  <a:lnTo>
                    <a:pt x="195" y="122"/>
                  </a:lnTo>
                  <a:lnTo>
                    <a:pt x="195" y="132"/>
                  </a:lnTo>
                  <a:lnTo>
                    <a:pt x="193" y="139"/>
                  </a:lnTo>
                  <a:lnTo>
                    <a:pt x="182" y="137"/>
                  </a:lnTo>
                  <a:lnTo>
                    <a:pt x="169" y="130"/>
                  </a:lnTo>
                  <a:lnTo>
                    <a:pt x="161" y="137"/>
                  </a:lnTo>
                  <a:lnTo>
                    <a:pt x="148" y="128"/>
                  </a:lnTo>
                  <a:lnTo>
                    <a:pt x="141" y="126"/>
                  </a:lnTo>
                  <a:lnTo>
                    <a:pt x="132" y="133"/>
                  </a:lnTo>
                  <a:lnTo>
                    <a:pt x="124" y="132"/>
                  </a:lnTo>
                  <a:lnTo>
                    <a:pt x="124" y="126"/>
                  </a:lnTo>
                  <a:lnTo>
                    <a:pt x="93" y="96"/>
                  </a:lnTo>
                  <a:lnTo>
                    <a:pt x="85" y="95"/>
                  </a:lnTo>
                  <a:lnTo>
                    <a:pt x="80" y="100"/>
                  </a:lnTo>
                  <a:lnTo>
                    <a:pt x="67" y="106"/>
                  </a:lnTo>
                  <a:lnTo>
                    <a:pt x="59" y="108"/>
                  </a:lnTo>
                  <a:lnTo>
                    <a:pt x="50" y="98"/>
                  </a:lnTo>
                  <a:lnTo>
                    <a:pt x="28" y="98"/>
                  </a:lnTo>
                  <a:lnTo>
                    <a:pt x="13" y="106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3" name="Freeform 61"/>
            <p:cNvSpPr>
              <a:spLocks noChangeAspect="1"/>
            </p:cNvSpPr>
            <p:nvPr>
              <p:custDataLst>
                <p:tags r:id="rId85"/>
              </p:custDataLst>
            </p:nvPr>
          </p:nvSpPr>
          <p:spPr bwMode="gray">
            <a:xfrm>
              <a:off x="919163" y="4459287"/>
              <a:ext cx="428625" cy="603250"/>
            </a:xfrm>
            <a:custGeom>
              <a:avLst/>
              <a:gdLst>
                <a:gd name="T0" fmla="*/ 2147483647 w 452"/>
                <a:gd name="T1" fmla="*/ 2147483647 h 745"/>
                <a:gd name="T2" fmla="*/ 2147483647 w 452"/>
                <a:gd name="T3" fmla="*/ 2147483647 h 745"/>
                <a:gd name="T4" fmla="*/ 2147483647 w 452"/>
                <a:gd name="T5" fmla="*/ 2147483647 h 745"/>
                <a:gd name="T6" fmla="*/ 2147483647 w 452"/>
                <a:gd name="T7" fmla="*/ 2147483647 h 745"/>
                <a:gd name="T8" fmla="*/ 2147483647 w 452"/>
                <a:gd name="T9" fmla="*/ 2147483647 h 745"/>
                <a:gd name="T10" fmla="*/ 2147483647 w 452"/>
                <a:gd name="T11" fmla="*/ 2147483647 h 745"/>
                <a:gd name="T12" fmla="*/ 2147483647 w 452"/>
                <a:gd name="T13" fmla="*/ 2147483647 h 745"/>
                <a:gd name="T14" fmla="*/ 2147483647 w 452"/>
                <a:gd name="T15" fmla="*/ 2147483647 h 745"/>
                <a:gd name="T16" fmla="*/ 2147483647 w 452"/>
                <a:gd name="T17" fmla="*/ 2147483647 h 745"/>
                <a:gd name="T18" fmla="*/ 2147483647 w 452"/>
                <a:gd name="T19" fmla="*/ 2147483647 h 745"/>
                <a:gd name="T20" fmla="*/ 2147483647 w 452"/>
                <a:gd name="T21" fmla="*/ 2147483647 h 745"/>
                <a:gd name="T22" fmla="*/ 2147483647 w 452"/>
                <a:gd name="T23" fmla="*/ 2147483647 h 745"/>
                <a:gd name="T24" fmla="*/ 2147483647 w 452"/>
                <a:gd name="T25" fmla="*/ 2147483647 h 745"/>
                <a:gd name="T26" fmla="*/ 2147483647 w 452"/>
                <a:gd name="T27" fmla="*/ 2147483647 h 745"/>
                <a:gd name="T28" fmla="*/ 2147483647 w 452"/>
                <a:gd name="T29" fmla="*/ 2147483647 h 745"/>
                <a:gd name="T30" fmla="*/ 2147483647 w 452"/>
                <a:gd name="T31" fmla="*/ 2147483647 h 745"/>
                <a:gd name="T32" fmla="*/ 2147483647 w 452"/>
                <a:gd name="T33" fmla="*/ 2147483647 h 745"/>
                <a:gd name="T34" fmla="*/ 2147483647 w 452"/>
                <a:gd name="T35" fmla="*/ 2147483647 h 745"/>
                <a:gd name="T36" fmla="*/ 2147483647 w 452"/>
                <a:gd name="T37" fmla="*/ 2147483647 h 745"/>
                <a:gd name="T38" fmla="*/ 2147483647 w 452"/>
                <a:gd name="T39" fmla="*/ 2147483647 h 745"/>
                <a:gd name="T40" fmla="*/ 2147483647 w 452"/>
                <a:gd name="T41" fmla="*/ 2147483647 h 745"/>
                <a:gd name="T42" fmla="*/ 2147483647 w 452"/>
                <a:gd name="T43" fmla="*/ 2147483647 h 745"/>
                <a:gd name="T44" fmla="*/ 2147483647 w 452"/>
                <a:gd name="T45" fmla="*/ 2147483647 h 745"/>
                <a:gd name="T46" fmla="*/ 2147483647 w 452"/>
                <a:gd name="T47" fmla="*/ 2147483647 h 745"/>
                <a:gd name="T48" fmla="*/ 2147483647 w 452"/>
                <a:gd name="T49" fmla="*/ 2147483647 h 745"/>
                <a:gd name="T50" fmla="*/ 2147483647 w 452"/>
                <a:gd name="T51" fmla="*/ 2147483647 h 745"/>
                <a:gd name="T52" fmla="*/ 2147483647 w 452"/>
                <a:gd name="T53" fmla="*/ 2147483647 h 745"/>
                <a:gd name="T54" fmla="*/ 2147483647 w 452"/>
                <a:gd name="T55" fmla="*/ 2147483647 h 745"/>
                <a:gd name="T56" fmla="*/ 2147483647 w 452"/>
                <a:gd name="T57" fmla="*/ 2147483647 h 745"/>
                <a:gd name="T58" fmla="*/ 2147483647 w 452"/>
                <a:gd name="T59" fmla="*/ 2147483647 h 745"/>
                <a:gd name="T60" fmla="*/ 2147483647 w 452"/>
                <a:gd name="T61" fmla="*/ 2147483647 h 745"/>
                <a:gd name="T62" fmla="*/ 2147483647 w 452"/>
                <a:gd name="T63" fmla="*/ 2147483647 h 745"/>
                <a:gd name="T64" fmla="*/ 2147483647 w 452"/>
                <a:gd name="T65" fmla="*/ 2147483647 h 745"/>
                <a:gd name="T66" fmla="*/ 2147483647 w 452"/>
                <a:gd name="T67" fmla="*/ 2147483647 h 745"/>
                <a:gd name="T68" fmla="*/ 2147483647 w 452"/>
                <a:gd name="T69" fmla="*/ 2147483647 h 745"/>
                <a:gd name="T70" fmla="*/ 2147483647 w 452"/>
                <a:gd name="T71" fmla="*/ 2147483647 h 745"/>
                <a:gd name="T72" fmla="*/ 2147483647 w 452"/>
                <a:gd name="T73" fmla="*/ 2147483647 h 745"/>
                <a:gd name="T74" fmla="*/ 2147483647 w 452"/>
                <a:gd name="T75" fmla="*/ 2147483647 h 745"/>
                <a:gd name="T76" fmla="*/ 2147483647 w 452"/>
                <a:gd name="T77" fmla="*/ 2147483647 h 745"/>
                <a:gd name="T78" fmla="*/ 2147483647 w 452"/>
                <a:gd name="T79" fmla="*/ 2147483647 h 745"/>
                <a:gd name="T80" fmla="*/ 2147483647 w 452"/>
                <a:gd name="T81" fmla="*/ 2147483647 h 745"/>
                <a:gd name="T82" fmla="*/ 2147483647 w 452"/>
                <a:gd name="T83" fmla="*/ 2147483647 h 745"/>
                <a:gd name="T84" fmla="*/ 2147483647 w 452"/>
                <a:gd name="T85" fmla="*/ 2147483647 h 745"/>
                <a:gd name="T86" fmla="*/ 2147483647 w 452"/>
                <a:gd name="T87" fmla="*/ 2147483647 h 745"/>
                <a:gd name="T88" fmla="*/ 2147483647 w 452"/>
                <a:gd name="T89" fmla="*/ 2147483647 h 745"/>
                <a:gd name="T90" fmla="*/ 2147483647 w 452"/>
                <a:gd name="T91" fmla="*/ 2147483647 h 745"/>
                <a:gd name="T92" fmla="*/ 2147483647 w 452"/>
                <a:gd name="T93" fmla="*/ 2147483647 h 745"/>
                <a:gd name="T94" fmla="*/ 2147483647 w 452"/>
                <a:gd name="T95" fmla="*/ 2147483647 h 745"/>
                <a:gd name="T96" fmla="*/ 2147483647 w 452"/>
                <a:gd name="T97" fmla="*/ 2147483647 h 745"/>
                <a:gd name="T98" fmla="*/ 2147483647 w 452"/>
                <a:gd name="T99" fmla="*/ 2147483647 h 745"/>
                <a:gd name="T100" fmla="*/ 2147483647 w 452"/>
                <a:gd name="T101" fmla="*/ 2147483647 h 745"/>
                <a:gd name="T102" fmla="*/ 2147483647 w 452"/>
                <a:gd name="T103" fmla="*/ 2147483647 h 745"/>
                <a:gd name="T104" fmla="*/ 2147483647 w 452"/>
                <a:gd name="T105" fmla="*/ 2147483647 h 745"/>
                <a:gd name="T106" fmla="*/ 2147483647 w 452"/>
                <a:gd name="T107" fmla="*/ 2147483647 h 745"/>
                <a:gd name="T108" fmla="*/ 2147483647 w 452"/>
                <a:gd name="T109" fmla="*/ 2147483647 h 74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52"/>
                <a:gd name="T166" fmla="*/ 0 h 745"/>
                <a:gd name="T167" fmla="*/ 452 w 452"/>
                <a:gd name="T168" fmla="*/ 745 h 74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52" h="745">
                  <a:moveTo>
                    <a:pt x="135" y="478"/>
                  </a:moveTo>
                  <a:lnTo>
                    <a:pt x="156" y="497"/>
                  </a:lnTo>
                  <a:lnTo>
                    <a:pt x="147" y="515"/>
                  </a:lnTo>
                  <a:lnTo>
                    <a:pt x="134" y="530"/>
                  </a:lnTo>
                  <a:lnTo>
                    <a:pt x="113" y="540"/>
                  </a:lnTo>
                  <a:lnTo>
                    <a:pt x="97" y="549"/>
                  </a:lnTo>
                  <a:lnTo>
                    <a:pt x="80" y="551"/>
                  </a:lnTo>
                  <a:lnTo>
                    <a:pt x="71" y="558"/>
                  </a:lnTo>
                  <a:lnTo>
                    <a:pt x="84" y="580"/>
                  </a:lnTo>
                  <a:lnTo>
                    <a:pt x="104" y="580"/>
                  </a:lnTo>
                  <a:lnTo>
                    <a:pt x="113" y="582"/>
                  </a:lnTo>
                  <a:lnTo>
                    <a:pt x="113" y="597"/>
                  </a:lnTo>
                  <a:lnTo>
                    <a:pt x="124" y="597"/>
                  </a:lnTo>
                  <a:lnTo>
                    <a:pt x="132" y="593"/>
                  </a:lnTo>
                  <a:lnTo>
                    <a:pt x="137" y="608"/>
                  </a:lnTo>
                  <a:lnTo>
                    <a:pt x="148" y="621"/>
                  </a:lnTo>
                  <a:lnTo>
                    <a:pt x="167" y="621"/>
                  </a:lnTo>
                  <a:lnTo>
                    <a:pt x="180" y="617"/>
                  </a:lnTo>
                  <a:lnTo>
                    <a:pt x="191" y="621"/>
                  </a:lnTo>
                  <a:lnTo>
                    <a:pt x="163" y="645"/>
                  </a:lnTo>
                  <a:lnTo>
                    <a:pt x="152" y="651"/>
                  </a:lnTo>
                  <a:lnTo>
                    <a:pt x="137" y="645"/>
                  </a:lnTo>
                  <a:lnTo>
                    <a:pt x="104" y="632"/>
                  </a:lnTo>
                  <a:lnTo>
                    <a:pt x="87" y="632"/>
                  </a:lnTo>
                  <a:lnTo>
                    <a:pt x="72" y="645"/>
                  </a:lnTo>
                  <a:lnTo>
                    <a:pt x="52" y="662"/>
                  </a:lnTo>
                  <a:lnTo>
                    <a:pt x="41" y="671"/>
                  </a:lnTo>
                  <a:lnTo>
                    <a:pt x="28" y="675"/>
                  </a:lnTo>
                  <a:lnTo>
                    <a:pt x="13" y="682"/>
                  </a:lnTo>
                  <a:lnTo>
                    <a:pt x="2" y="691"/>
                  </a:lnTo>
                  <a:lnTo>
                    <a:pt x="0" y="697"/>
                  </a:lnTo>
                  <a:lnTo>
                    <a:pt x="13" y="699"/>
                  </a:lnTo>
                  <a:lnTo>
                    <a:pt x="22" y="708"/>
                  </a:lnTo>
                  <a:lnTo>
                    <a:pt x="35" y="714"/>
                  </a:lnTo>
                  <a:lnTo>
                    <a:pt x="48" y="708"/>
                  </a:lnTo>
                  <a:lnTo>
                    <a:pt x="59" y="702"/>
                  </a:lnTo>
                  <a:lnTo>
                    <a:pt x="72" y="704"/>
                  </a:lnTo>
                  <a:lnTo>
                    <a:pt x="91" y="715"/>
                  </a:lnTo>
                  <a:lnTo>
                    <a:pt x="110" y="723"/>
                  </a:lnTo>
                  <a:lnTo>
                    <a:pt x="122" y="715"/>
                  </a:lnTo>
                  <a:lnTo>
                    <a:pt x="128" y="701"/>
                  </a:lnTo>
                  <a:lnTo>
                    <a:pt x="148" y="689"/>
                  </a:lnTo>
                  <a:lnTo>
                    <a:pt x="161" y="689"/>
                  </a:lnTo>
                  <a:lnTo>
                    <a:pt x="173" y="702"/>
                  </a:lnTo>
                  <a:lnTo>
                    <a:pt x="182" y="710"/>
                  </a:lnTo>
                  <a:lnTo>
                    <a:pt x="197" y="710"/>
                  </a:lnTo>
                  <a:lnTo>
                    <a:pt x="217" y="712"/>
                  </a:lnTo>
                  <a:lnTo>
                    <a:pt x="230" y="717"/>
                  </a:lnTo>
                  <a:lnTo>
                    <a:pt x="243" y="708"/>
                  </a:lnTo>
                  <a:lnTo>
                    <a:pt x="254" y="708"/>
                  </a:lnTo>
                  <a:lnTo>
                    <a:pt x="265" y="714"/>
                  </a:lnTo>
                  <a:lnTo>
                    <a:pt x="279" y="728"/>
                  </a:lnTo>
                  <a:lnTo>
                    <a:pt x="296" y="730"/>
                  </a:lnTo>
                  <a:lnTo>
                    <a:pt x="315" y="734"/>
                  </a:lnTo>
                  <a:lnTo>
                    <a:pt x="328" y="741"/>
                  </a:lnTo>
                  <a:lnTo>
                    <a:pt x="344" y="745"/>
                  </a:lnTo>
                  <a:lnTo>
                    <a:pt x="357" y="738"/>
                  </a:lnTo>
                  <a:lnTo>
                    <a:pt x="374" y="728"/>
                  </a:lnTo>
                  <a:lnTo>
                    <a:pt x="385" y="726"/>
                  </a:lnTo>
                  <a:lnTo>
                    <a:pt x="398" y="723"/>
                  </a:lnTo>
                  <a:lnTo>
                    <a:pt x="411" y="712"/>
                  </a:lnTo>
                  <a:lnTo>
                    <a:pt x="402" y="701"/>
                  </a:lnTo>
                  <a:lnTo>
                    <a:pt x="381" y="689"/>
                  </a:lnTo>
                  <a:lnTo>
                    <a:pt x="374" y="682"/>
                  </a:lnTo>
                  <a:lnTo>
                    <a:pt x="374" y="675"/>
                  </a:lnTo>
                  <a:lnTo>
                    <a:pt x="383" y="667"/>
                  </a:lnTo>
                  <a:lnTo>
                    <a:pt x="398" y="665"/>
                  </a:lnTo>
                  <a:lnTo>
                    <a:pt x="413" y="658"/>
                  </a:lnTo>
                  <a:lnTo>
                    <a:pt x="437" y="632"/>
                  </a:lnTo>
                  <a:lnTo>
                    <a:pt x="448" y="619"/>
                  </a:lnTo>
                  <a:lnTo>
                    <a:pt x="452" y="597"/>
                  </a:lnTo>
                  <a:lnTo>
                    <a:pt x="452" y="584"/>
                  </a:lnTo>
                  <a:lnTo>
                    <a:pt x="441" y="575"/>
                  </a:lnTo>
                  <a:lnTo>
                    <a:pt x="426" y="564"/>
                  </a:lnTo>
                  <a:lnTo>
                    <a:pt x="413" y="558"/>
                  </a:lnTo>
                  <a:lnTo>
                    <a:pt x="398" y="560"/>
                  </a:lnTo>
                  <a:lnTo>
                    <a:pt x="389" y="565"/>
                  </a:lnTo>
                  <a:lnTo>
                    <a:pt x="385" y="556"/>
                  </a:lnTo>
                  <a:lnTo>
                    <a:pt x="393" y="541"/>
                  </a:lnTo>
                  <a:lnTo>
                    <a:pt x="396" y="530"/>
                  </a:lnTo>
                  <a:lnTo>
                    <a:pt x="394" y="510"/>
                  </a:lnTo>
                  <a:lnTo>
                    <a:pt x="393" y="482"/>
                  </a:lnTo>
                  <a:lnTo>
                    <a:pt x="398" y="460"/>
                  </a:lnTo>
                  <a:lnTo>
                    <a:pt x="394" y="447"/>
                  </a:lnTo>
                  <a:lnTo>
                    <a:pt x="385" y="431"/>
                  </a:lnTo>
                  <a:lnTo>
                    <a:pt x="363" y="392"/>
                  </a:lnTo>
                  <a:lnTo>
                    <a:pt x="354" y="374"/>
                  </a:lnTo>
                  <a:lnTo>
                    <a:pt x="350" y="352"/>
                  </a:lnTo>
                  <a:lnTo>
                    <a:pt x="348" y="339"/>
                  </a:lnTo>
                  <a:lnTo>
                    <a:pt x="354" y="317"/>
                  </a:lnTo>
                  <a:lnTo>
                    <a:pt x="354" y="300"/>
                  </a:lnTo>
                  <a:lnTo>
                    <a:pt x="350" y="281"/>
                  </a:lnTo>
                  <a:lnTo>
                    <a:pt x="341" y="272"/>
                  </a:lnTo>
                  <a:lnTo>
                    <a:pt x="324" y="255"/>
                  </a:lnTo>
                  <a:lnTo>
                    <a:pt x="311" y="250"/>
                  </a:lnTo>
                  <a:lnTo>
                    <a:pt x="298" y="248"/>
                  </a:lnTo>
                  <a:lnTo>
                    <a:pt x="289" y="246"/>
                  </a:lnTo>
                  <a:lnTo>
                    <a:pt x="289" y="237"/>
                  </a:lnTo>
                  <a:lnTo>
                    <a:pt x="294" y="230"/>
                  </a:lnTo>
                  <a:lnTo>
                    <a:pt x="309" y="228"/>
                  </a:lnTo>
                  <a:lnTo>
                    <a:pt x="322" y="233"/>
                  </a:lnTo>
                  <a:lnTo>
                    <a:pt x="331" y="235"/>
                  </a:lnTo>
                  <a:lnTo>
                    <a:pt x="337" y="226"/>
                  </a:lnTo>
                  <a:lnTo>
                    <a:pt x="335" y="215"/>
                  </a:lnTo>
                  <a:lnTo>
                    <a:pt x="389" y="165"/>
                  </a:lnTo>
                  <a:lnTo>
                    <a:pt x="398" y="154"/>
                  </a:lnTo>
                  <a:lnTo>
                    <a:pt x="398" y="131"/>
                  </a:lnTo>
                  <a:lnTo>
                    <a:pt x="385" y="120"/>
                  </a:lnTo>
                  <a:lnTo>
                    <a:pt x="370" y="118"/>
                  </a:lnTo>
                  <a:lnTo>
                    <a:pt x="357" y="98"/>
                  </a:lnTo>
                  <a:lnTo>
                    <a:pt x="331" y="98"/>
                  </a:lnTo>
                  <a:lnTo>
                    <a:pt x="307" y="102"/>
                  </a:lnTo>
                  <a:lnTo>
                    <a:pt x="302" y="100"/>
                  </a:lnTo>
                  <a:lnTo>
                    <a:pt x="296" y="91"/>
                  </a:lnTo>
                  <a:lnTo>
                    <a:pt x="307" y="83"/>
                  </a:lnTo>
                  <a:lnTo>
                    <a:pt x="318" y="72"/>
                  </a:lnTo>
                  <a:lnTo>
                    <a:pt x="341" y="52"/>
                  </a:lnTo>
                  <a:lnTo>
                    <a:pt x="359" y="50"/>
                  </a:lnTo>
                  <a:lnTo>
                    <a:pt x="376" y="37"/>
                  </a:lnTo>
                  <a:lnTo>
                    <a:pt x="393" y="24"/>
                  </a:lnTo>
                  <a:lnTo>
                    <a:pt x="355" y="15"/>
                  </a:lnTo>
                  <a:lnTo>
                    <a:pt x="339" y="13"/>
                  </a:lnTo>
                  <a:lnTo>
                    <a:pt x="320" y="11"/>
                  </a:lnTo>
                  <a:lnTo>
                    <a:pt x="298" y="0"/>
                  </a:lnTo>
                  <a:lnTo>
                    <a:pt x="278" y="22"/>
                  </a:lnTo>
                  <a:lnTo>
                    <a:pt x="279" y="33"/>
                  </a:lnTo>
                  <a:lnTo>
                    <a:pt x="267" y="37"/>
                  </a:lnTo>
                  <a:lnTo>
                    <a:pt x="249" y="48"/>
                  </a:lnTo>
                  <a:lnTo>
                    <a:pt x="232" y="54"/>
                  </a:lnTo>
                  <a:lnTo>
                    <a:pt x="232" y="70"/>
                  </a:lnTo>
                  <a:lnTo>
                    <a:pt x="230" y="83"/>
                  </a:lnTo>
                  <a:lnTo>
                    <a:pt x="215" y="104"/>
                  </a:lnTo>
                  <a:lnTo>
                    <a:pt x="191" y="130"/>
                  </a:lnTo>
                  <a:lnTo>
                    <a:pt x="182" y="143"/>
                  </a:lnTo>
                  <a:lnTo>
                    <a:pt x="187" y="152"/>
                  </a:lnTo>
                  <a:lnTo>
                    <a:pt x="212" y="150"/>
                  </a:lnTo>
                  <a:lnTo>
                    <a:pt x="213" y="155"/>
                  </a:lnTo>
                  <a:lnTo>
                    <a:pt x="213" y="165"/>
                  </a:lnTo>
                  <a:lnTo>
                    <a:pt x="180" y="207"/>
                  </a:lnTo>
                  <a:lnTo>
                    <a:pt x="169" y="230"/>
                  </a:lnTo>
                  <a:lnTo>
                    <a:pt x="161" y="250"/>
                  </a:lnTo>
                  <a:lnTo>
                    <a:pt x="169" y="259"/>
                  </a:lnTo>
                  <a:lnTo>
                    <a:pt x="184" y="241"/>
                  </a:lnTo>
                  <a:lnTo>
                    <a:pt x="199" y="220"/>
                  </a:lnTo>
                  <a:lnTo>
                    <a:pt x="210" y="226"/>
                  </a:lnTo>
                  <a:lnTo>
                    <a:pt x="212" y="257"/>
                  </a:lnTo>
                  <a:lnTo>
                    <a:pt x="213" y="278"/>
                  </a:lnTo>
                  <a:lnTo>
                    <a:pt x="193" y="289"/>
                  </a:lnTo>
                  <a:lnTo>
                    <a:pt x="180" y="302"/>
                  </a:lnTo>
                  <a:lnTo>
                    <a:pt x="176" y="313"/>
                  </a:lnTo>
                  <a:lnTo>
                    <a:pt x="202" y="335"/>
                  </a:lnTo>
                  <a:lnTo>
                    <a:pt x="225" y="331"/>
                  </a:lnTo>
                  <a:lnTo>
                    <a:pt x="230" y="344"/>
                  </a:lnTo>
                  <a:lnTo>
                    <a:pt x="254" y="329"/>
                  </a:lnTo>
                  <a:lnTo>
                    <a:pt x="252" y="341"/>
                  </a:lnTo>
                  <a:lnTo>
                    <a:pt x="232" y="365"/>
                  </a:lnTo>
                  <a:lnTo>
                    <a:pt x="241" y="391"/>
                  </a:lnTo>
                  <a:lnTo>
                    <a:pt x="243" y="405"/>
                  </a:lnTo>
                  <a:lnTo>
                    <a:pt x="264" y="407"/>
                  </a:lnTo>
                  <a:lnTo>
                    <a:pt x="265" y="420"/>
                  </a:lnTo>
                  <a:lnTo>
                    <a:pt x="241" y="449"/>
                  </a:lnTo>
                  <a:lnTo>
                    <a:pt x="232" y="445"/>
                  </a:lnTo>
                  <a:lnTo>
                    <a:pt x="223" y="454"/>
                  </a:lnTo>
                  <a:lnTo>
                    <a:pt x="221" y="469"/>
                  </a:lnTo>
                  <a:lnTo>
                    <a:pt x="197" y="456"/>
                  </a:lnTo>
                  <a:lnTo>
                    <a:pt x="135" y="478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4" name="Freeform 62"/>
            <p:cNvSpPr>
              <a:spLocks noChangeAspect="1"/>
            </p:cNvSpPr>
            <p:nvPr>
              <p:custDataLst>
                <p:tags r:id="rId86"/>
              </p:custDataLst>
            </p:nvPr>
          </p:nvSpPr>
          <p:spPr bwMode="gray">
            <a:xfrm>
              <a:off x="1436688" y="4935537"/>
              <a:ext cx="204787" cy="185737"/>
            </a:xfrm>
            <a:custGeom>
              <a:avLst/>
              <a:gdLst>
                <a:gd name="T0" fmla="*/ 2147483647 w 214"/>
                <a:gd name="T1" fmla="*/ 2147483647 h 227"/>
                <a:gd name="T2" fmla="*/ 2147483647 w 214"/>
                <a:gd name="T3" fmla="*/ 2147483647 h 227"/>
                <a:gd name="T4" fmla="*/ 2147483647 w 214"/>
                <a:gd name="T5" fmla="*/ 2147483647 h 227"/>
                <a:gd name="T6" fmla="*/ 2147483647 w 214"/>
                <a:gd name="T7" fmla="*/ 2147483647 h 227"/>
                <a:gd name="T8" fmla="*/ 2147483647 w 214"/>
                <a:gd name="T9" fmla="*/ 2147483647 h 227"/>
                <a:gd name="T10" fmla="*/ 2147483647 w 214"/>
                <a:gd name="T11" fmla="*/ 2147483647 h 227"/>
                <a:gd name="T12" fmla="*/ 2147483647 w 214"/>
                <a:gd name="T13" fmla="*/ 2147483647 h 227"/>
                <a:gd name="T14" fmla="*/ 2147483647 w 214"/>
                <a:gd name="T15" fmla="*/ 2147483647 h 227"/>
                <a:gd name="T16" fmla="*/ 2147483647 w 214"/>
                <a:gd name="T17" fmla="*/ 2147483647 h 227"/>
                <a:gd name="T18" fmla="*/ 2147483647 w 214"/>
                <a:gd name="T19" fmla="*/ 2147483647 h 227"/>
                <a:gd name="T20" fmla="*/ 2147483647 w 214"/>
                <a:gd name="T21" fmla="*/ 2147483647 h 227"/>
                <a:gd name="T22" fmla="*/ 2147483647 w 214"/>
                <a:gd name="T23" fmla="*/ 2147483647 h 227"/>
                <a:gd name="T24" fmla="*/ 2147483647 w 214"/>
                <a:gd name="T25" fmla="*/ 2147483647 h 227"/>
                <a:gd name="T26" fmla="*/ 0 w 214"/>
                <a:gd name="T27" fmla="*/ 2147483647 h 227"/>
                <a:gd name="T28" fmla="*/ 2147483647 w 214"/>
                <a:gd name="T29" fmla="*/ 2147483647 h 227"/>
                <a:gd name="T30" fmla="*/ 2147483647 w 214"/>
                <a:gd name="T31" fmla="*/ 2147483647 h 227"/>
                <a:gd name="T32" fmla="*/ 2147483647 w 214"/>
                <a:gd name="T33" fmla="*/ 2147483647 h 227"/>
                <a:gd name="T34" fmla="*/ 2147483647 w 214"/>
                <a:gd name="T35" fmla="*/ 2147483647 h 227"/>
                <a:gd name="T36" fmla="*/ 2147483647 w 214"/>
                <a:gd name="T37" fmla="*/ 2147483647 h 227"/>
                <a:gd name="T38" fmla="*/ 2147483647 w 214"/>
                <a:gd name="T39" fmla="*/ 2147483647 h 227"/>
                <a:gd name="T40" fmla="*/ 2147483647 w 214"/>
                <a:gd name="T41" fmla="*/ 2147483647 h 227"/>
                <a:gd name="T42" fmla="*/ 2147483647 w 214"/>
                <a:gd name="T43" fmla="*/ 2147483647 h 227"/>
                <a:gd name="T44" fmla="*/ 2147483647 w 214"/>
                <a:gd name="T45" fmla="*/ 2147483647 h 227"/>
                <a:gd name="T46" fmla="*/ 2147483647 w 214"/>
                <a:gd name="T47" fmla="*/ 2147483647 h 227"/>
                <a:gd name="T48" fmla="*/ 2147483647 w 214"/>
                <a:gd name="T49" fmla="*/ 2147483647 h 227"/>
                <a:gd name="T50" fmla="*/ 2147483647 w 214"/>
                <a:gd name="T51" fmla="*/ 2147483647 h 227"/>
                <a:gd name="T52" fmla="*/ 2147483647 w 214"/>
                <a:gd name="T53" fmla="*/ 2147483647 h 227"/>
                <a:gd name="T54" fmla="*/ 2147483647 w 214"/>
                <a:gd name="T55" fmla="*/ 2147483647 h 227"/>
                <a:gd name="T56" fmla="*/ 2147483647 w 214"/>
                <a:gd name="T57" fmla="*/ 2147483647 h 227"/>
                <a:gd name="T58" fmla="*/ 2147483647 w 214"/>
                <a:gd name="T59" fmla="*/ 2147483647 h 227"/>
                <a:gd name="T60" fmla="*/ 2147483647 w 214"/>
                <a:gd name="T61" fmla="*/ 2147483647 h 227"/>
                <a:gd name="T62" fmla="*/ 2147483647 w 214"/>
                <a:gd name="T63" fmla="*/ 2147483647 h 227"/>
                <a:gd name="T64" fmla="*/ 2147483647 w 214"/>
                <a:gd name="T65" fmla="*/ 2147483647 h 227"/>
                <a:gd name="T66" fmla="*/ 2147483647 w 214"/>
                <a:gd name="T67" fmla="*/ 2147483647 h 227"/>
                <a:gd name="T68" fmla="*/ 2147483647 w 214"/>
                <a:gd name="T69" fmla="*/ 2147483647 h 227"/>
                <a:gd name="T70" fmla="*/ 2147483647 w 214"/>
                <a:gd name="T71" fmla="*/ 2147483647 h 227"/>
                <a:gd name="T72" fmla="*/ 2147483647 w 214"/>
                <a:gd name="T73" fmla="*/ 2147483647 h 227"/>
                <a:gd name="T74" fmla="*/ 2147483647 w 214"/>
                <a:gd name="T75" fmla="*/ 2147483647 h 227"/>
                <a:gd name="T76" fmla="*/ 2147483647 w 214"/>
                <a:gd name="T77" fmla="*/ 2147483647 h 227"/>
                <a:gd name="T78" fmla="*/ 2147483647 w 214"/>
                <a:gd name="T79" fmla="*/ 0 h 227"/>
                <a:gd name="T80" fmla="*/ 2147483647 w 214"/>
                <a:gd name="T81" fmla="*/ 0 h 227"/>
                <a:gd name="T82" fmla="*/ 2147483647 w 214"/>
                <a:gd name="T83" fmla="*/ 2147483647 h 227"/>
                <a:gd name="T84" fmla="*/ 2147483647 w 214"/>
                <a:gd name="T85" fmla="*/ 2147483647 h 227"/>
                <a:gd name="T86" fmla="*/ 2147483647 w 214"/>
                <a:gd name="T87" fmla="*/ 2147483647 h 227"/>
                <a:gd name="T88" fmla="*/ 2147483647 w 214"/>
                <a:gd name="T89" fmla="*/ 2147483647 h 227"/>
                <a:gd name="T90" fmla="*/ 2147483647 w 214"/>
                <a:gd name="T91" fmla="*/ 2147483647 h 227"/>
                <a:gd name="T92" fmla="*/ 2147483647 w 214"/>
                <a:gd name="T93" fmla="*/ 2147483647 h 227"/>
                <a:gd name="T94" fmla="*/ 2147483647 w 214"/>
                <a:gd name="T95" fmla="*/ 2147483647 h 227"/>
                <a:gd name="T96" fmla="*/ 2147483647 w 214"/>
                <a:gd name="T97" fmla="*/ 2147483647 h 227"/>
                <a:gd name="T98" fmla="*/ 2147483647 w 214"/>
                <a:gd name="T99" fmla="*/ 2147483647 h 227"/>
                <a:gd name="T100" fmla="*/ 2147483647 w 214"/>
                <a:gd name="T101" fmla="*/ 2147483647 h 227"/>
                <a:gd name="T102" fmla="*/ 2147483647 w 214"/>
                <a:gd name="T103" fmla="*/ 2147483647 h 227"/>
                <a:gd name="T104" fmla="*/ 2147483647 w 214"/>
                <a:gd name="T105" fmla="*/ 2147483647 h 227"/>
                <a:gd name="T106" fmla="*/ 2147483647 w 214"/>
                <a:gd name="T107" fmla="*/ 2147483647 h 227"/>
                <a:gd name="T108" fmla="*/ 2147483647 w 214"/>
                <a:gd name="T109" fmla="*/ 2147483647 h 227"/>
                <a:gd name="T110" fmla="*/ 2147483647 w 214"/>
                <a:gd name="T111" fmla="*/ 2147483647 h 22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14"/>
                <a:gd name="T169" fmla="*/ 0 h 227"/>
                <a:gd name="T170" fmla="*/ 214 w 214"/>
                <a:gd name="T171" fmla="*/ 227 h 22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14" h="227">
                  <a:moveTo>
                    <a:pt x="89" y="6"/>
                  </a:moveTo>
                  <a:lnTo>
                    <a:pt x="67" y="33"/>
                  </a:lnTo>
                  <a:lnTo>
                    <a:pt x="67" y="41"/>
                  </a:lnTo>
                  <a:lnTo>
                    <a:pt x="54" y="54"/>
                  </a:lnTo>
                  <a:lnTo>
                    <a:pt x="56" y="57"/>
                  </a:lnTo>
                  <a:lnTo>
                    <a:pt x="52" y="66"/>
                  </a:lnTo>
                  <a:lnTo>
                    <a:pt x="39" y="79"/>
                  </a:lnTo>
                  <a:lnTo>
                    <a:pt x="26" y="94"/>
                  </a:lnTo>
                  <a:lnTo>
                    <a:pt x="21" y="102"/>
                  </a:lnTo>
                  <a:lnTo>
                    <a:pt x="26" y="109"/>
                  </a:lnTo>
                  <a:lnTo>
                    <a:pt x="22" y="120"/>
                  </a:lnTo>
                  <a:lnTo>
                    <a:pt x="15" y="129"/>
                  </a:lnTo>
                  <a:lnTo>
                    <a:pt x="9" y="133"/>
                  </a:lnTo>
                  <a:lnTo>
                    <a:pt x="0" y="144"/>
                  </a:lnTo>
                  <a:lnTo>
                    <a:pt x="1" y="155"/>
                  </a:lnTo>
                  <a:lnTo>
                    <a:pt x="11" y="161"/>
                  </a:lnTo>
                  <a:lnTo>
                    <a:pt x="35" y="161"/>
                  </a:lnTo>
                  <a:lnTo>
                    <a:pt x="49" y="153"/>
                  </a:lnTo>
                  <a:lnTo>
                    <a:pt x="63" y="151"/>
                  </a:lnTo>
                  <a:lnTo>
                    <a:pt x="74" y="161"/>
                  </a:lnTo>
                  <a:lnTo>
                    <a:pt x="85" y="166"/>
                  </a:lnTo>
                  <a:lnTo>
                    <a:pt x="100" y="168"/>
                  </a:lnTo>
                  <a:lnTo>
                    <a:pt x="96" y="185"/>
                  </a:lnTo>
                  <a:lnTo>
                    <a:pt x="101" y="227"/>
                  </a:lnTo>
                  <a:lnTo>
                    <a:pt x="114" y="226"/>
                  </a:lnTo>
                  <a:lnTo>
                    <a:pt x="122" y="225"/>
                  </a:lnTo>
                  <a:lnTo>
                    <a:pt x="125" y="213"/>
                  </a:lnTo>
                  <a:lnTo>
                    <a:pt x="127" y="188"/>
                  </a:lnTo>
                  <a:lnTo>
                    <a:pt x="137" y="175"/>
                  </a:lnTo>
                  <a:lnTo>
                    <a:pt x="137" y="153"/>
                  </a:lnTo>
                  <a:lnTo>
                    <a:pt x="145" y="140"/>
                  </a:lnTo>
                  <a:lnTo>
                    <a:pt x="161" y="133"/>
                  </a:lnTo>
                  <a:lnTo>
                    <a:pt x="192" y="98"/>
                  </a:lnTo>
                  <a:lnTo>
                    <a:pt x="196" y="83"/>
                  </a:lnTo>
                  <a:lnTo>
                    <a:pt x="191" y="59"/>
                  </a:lnTo>
                  <a:lnTo>
                    <a:pt x="211" y="43"/>
                  </a:lnTo>
                  <a:lnTo>
                    <a:pt x="214" y="16"/>
                  </a:lnTo>
                  <a:lnTo>
                    <a:pt x="200" y="4"/>
                  </a:lnTo>
                  <a:lnTo>
                    <a:pt x="191" y="2"/>
                  </a:lnTo>
                  <a:lnTo>
                    <a:pt x="174" y="0"/>
                  </a:lnTo>
                  <a:lnTo>
                    <a:pt x="137" y="0"/>
                  </a:lnTo>
                  <a:lnTo>
                    <a:pt x="126" y="9"/>
                  </a:lnTo>
                  <a:lnTo>
                    <a:pt x="117" y="20"/>
                  </a:lnTo>
                  <a:lnTo>
                    <a:pt x="119" y="30"/>
                  </a:lnTo>
                  <a:lnTo>
                    <a:pt x="132" y="39"/>
                  </a:lnTo>
                  <a:lnTo>
                    <a:pt x="141" y="50"/>
                  </a:lnTo>
                  <a:lnTo>
                    <a:pt x="141" y="65"/>
                  </a:lnTo>
                  <a:lnTo>
                    <a:pt x="126" y="76"/>
                  </a:lnTo>
                  <a:lnTo>
                    <a:pt x="111" y="79"/>
                  </a:lnTo>
                  <a:lnTo>
                    <a:pt x="100" y="81"/>
                  </a:lnTo>
                  <a:lnTo>
                    <a:pt x="95" y="72"/>
                  </a:lnTo>
                  <a:lnTo>
                    <a:pt x="91" y="59"/>
                  </a:lnTo>
                  <a:lnTo>
                    <a:pt x="98" y="48"/>
                  </a:lnTo>
                  <a:lnTo>
                    <a:pt x="96" y="35"/>
                  </a:lnTo>
                  <a:lnTo>
                    <a:pt x="95" y="22"/>
                  </a:lnTo>
                  <a:lnTo>
                    <a:pt x="89" y="6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5" name="Freeform 63"/>
            <p:cNvSpPr>
              <a:spLocks noChangeAspect="1"/>
            </p:cNvSpPr>
            <p:nvPr>
              <p:custDataLst>
                <p:tags r:id="rId87"/>
              </p:custDataLst>
            </p:nvPr>
          </p:nvSpPr>
          <p:spPr bwMode="gray">
            <a:xfrm>
              <a:off x="1501775" y="5164137"/>
              <a:ext cx="55563" cy="58737"/>
            </a:xfrm>
            <a:custGeom>
              <a:avLst/>
              <a:gdLst>
                <a:gd name="T0" fmla="*/ 2147483647 w 57"/>
                <a:gd name="T1" fmla="*/ 2147483647 h 71"/>
                <a:gd name="T2" fmla="*/ 2147483647 w 57"/>
                <a:gd name="T3" fmla="*/ 2147483647 h 71"/>
                <a:gd name="T4" fmla="*/ 2147483647 w 57"/>
                <a:gd name="T5" fmla="*/ 2147483647 h 71"/>
                <a:gd name="T6" fmla="*/ 2147483647 w 57"/>
                <a:gd name="T7" fmla="*/ 2147483647 h 71"/>
                <a:gd name="T8" fmla="*/ 2147483647 w 57"/>
                <a:gd name="T9" fmla="*/ 2147483647 h 71"/>
                <a:gd name="T10" fmla="*/ 2147483647 w 57"/>
                <a:gd name="T11" fmla="*/ 2147483647 h 71"/>
                <a:gd name="T12" fmla="*/ 2147483647 w 57"/>
                <a:gd name="T13" fmla="*/ 0 h 71"/>
                <a:gd name="T14" fmla="*/ 2147483647 w 57"/>
                <a:gd name="T15" fmla="*/ 0 h 71"/>
                <a:gd name="T16" fmla="*/ 2147483647 w 57"/>
                <a:gd name="T17" fmla="*/ 2147483647 h 71"/>
                <a:gd name="T18" fmla="*/ 2147483647 w 57"/>
                <a:gd name="T19" fmla="*/ 2147483647 h 71"/>
                <a:gd name="T20" fmla="*/ 2147483647 w 57"/>
                <a:gd name="T21" fmla="*/ 2147483647 h 71"/>
                <a:gd name="T22" fmla="*/ 0 w 57"/>
                <a:gd name="T23" fmla="*/ 2147483647 h 71"/>
                <a:gd name="T24" fmla="*/ 2147483647 w 57"/>
                <a:gd name="T25" fmla="*/ 2147483647 h 71"/>
                <a:gd name="T26" fmla="*/ 2147483647 w 57"/>
                <a:gd name="T27" fmla="*/ 2147483647 h 71"/>
                <a:gd name="T28" fmla="*/ 2147483647 w 57"/>
                <a:gd name="T29" fmla="*/ 2147483647 h 71"/>
                <a:gd name="T30" fmla="*/ 2147483647 w 57"/>
                <a:gd name="T31" fmla="*/ 2147483647 h 71"/>
                <a:gd name="T32" fmla="*/ 2147483647 w 57"/>
                <a:gd name="T33" fmla="*/ 2147483647 h 7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7"/>
                <a:gd name="T52" fmla="*/ 0 h 71"/>
                <a:gd name="T53" fmla="*/ 57 w 57"/>
                <a:gd name="T54" fmla="*/ 71 h 7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7" h="71">
                  <a:moveTo>
                    <a:pt x="41" y="71"/>
                  </a:moveTo>
                  <a:lnTo>
                    <a:pt x="44" y="48"/>
                  </a:lnTo>
                  <a:lnTo>
                    <a:pt x="57" y="39"/>
                  </a:lnTo>
                  <a:lnTo>
                    <a:pt x="57" y="28"/>
                  </a:lnTo>
                  <a:lnTo>
                    <a:pt x="50" y="20"/>
                  </a:lnTo>
                  <a:lnTo>
                    <a:pt x="43" y="9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4"/>
                  </a:lnTo>
                  <a:lnTo>
                    <a:pt x="17" y="19"/>
                  </a:lnTo>
                  <a:lnTo>
                    <a:pt x="9" y="32"/>
                  </a:lnTo>
                  <a:lnTo>
                    <a:pt x="0" y="36"/>
                  </a:lnTo>
                  <a:lnTo>
                    <a:pt x="4" y="47"/>
                  </a:lnTo>
                  <a:lnTo>
                    <a:pt x="16" y="50"/>
                  </a:lnTo>
                  <a:lnTo>
                    <a:pt x="28" y="53"/>
                  </a:lnTo>
                  <a:lnTo>
                    <a:pt x="35" y="60"/>
                  </a:lnTo>
                  <a:lnTo>
                    <a:pt x="41" y="71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6" name="Freeform 64"/>
            <p:cNvSpPr>
              <a:spLocks noChangeAspect="1"/>
            </p:cNvSpPr>
            <p:nvPr>
              <p:custDataLst>
                <p:tags r:id="rId88"/>
              </p:custDataLst>
            </p:nvPr>
          </p:nvSpPr>
          <p:spPr bwMode="gray">
            <a:xfrm>
              <a:off x="1724025" y="4705350"/>
              <a:ext cx="138113" cy="146050"/>
            </a:xfrm>
            <a:custGeom>
              <a:avLst/>
              <a:gdLst>
                <a:gd name="T0" fmla="*/ 2147483647 w 146"/>
                <a:gd name="T1" fmla="*/ 2147483647 h 179"/>
                <a:gd name="T2" fmla="*/ 2147483647 w 146"/>
                <a:gd name="T3" fmla="*/ 2147483647 h 179"/>
                <a:gd name="T4" fmla="*/ 2147483647 w 146"/>
                <a:gd name="T5" fmla="*/ 2147483647 h 179"/>
                <a:gd name="T6" fmla="*/ 2147483647 w 146"/>
                <a:gd name="T7" fmla="*/ 2147483647 h 179"/>
                <a:gd name="T8" fmla="*/ 2147483647 w 146"/>
                <a:gd name="T9" fmla="*/ 2147483647 h 179"/>
                <a:gd name="T10" fmla="*/ 2147483647 w 146"/>
                <a:gd name="T11" fmla="*/ 2147483647 h 179"/>
                <a:gd name="T12" fmla="*/ 2147483647 w 146"/>
                <a:gd name="T13" fmla="*/ 2147483647 h 179"/>
                <a:gd name="T14" fmla="*/ 2147483647 w 146"/>
                <a:gd name="T15" fmla="*/ 2147483647 h 179"/>
                <a:gd name="T16" fmla="*/ 2147483647 w 146"/>
                <a:gd name="T17" fmla="*/ 2147483647 h 179"/>
                <a:gd name="T18" fmla="*/ 2147483647 w 146"/>
                <a:gd name="T19" fmla="*/ 2147483647 h 179"/>
                <a:gd name="T20" fmla="*/ 2147483647 w 146"/>
                <a:gd name="T21" fmla="*/ 2147483647 h 179"/>
                <a:gd name="T22" fmla="*/ 2147483647 w 146"/>
                <a:gd name="T23" fmla="*/ 2147483647 h 179"/>
                <a:gd name="T24" fmla="*/ 2147483647 w 146"/>
                <a:gd name="T25" fmla="*/ 2147483647 h 179"/>
                <a:gd name="T26" fmla="*/ 2147483647 w 146"/>
                <a:gd name="T27" fmla="*/ 2147483647 h 179"/>
                <a:gd name="T28" fmla="*/ 2147483647 w 146"/>
                <a:gd name="T29" fmla="*/ 2147483647 h 179"/>
                <a:gd name="T30" fmla="*/ 2147483647 w 146"/>
                <a:gd name="T31" fmla="*/ 2147483647 h 179"/>
                <a:gd name="T32" fmla="*/ 2147483647 w 146"/>
                <a:gd name="T33" fmla="*/ 2147483647 h 179"/>
                <a:gd name="T34" fmla="*/ 2147483647 w 146"/>
                <a:gd name="T35" fmla="*/ 2147483647 h 179"/>
                <a:gd name="T36" fmla="*/ 2147483647 w 146"/>
                <a:gd name="T37" fmla="*/ 2147483647 h 179"/>
                <a:gd name="T38" fmla="*/ 2147483647 w 146"/>
                <a:gd name="T39" fmla="*/ 2147483647 h 179"/>
                <a:gd name="T40" fmla="*/ 2147483647 w 146"/>
                <a:gd name="T41" fmla="*/ 2147483647 h 179"/>
                <a:gd name="T42" fmla="*/ 2147483647 w 146"/>
                <a:gd name="T43" fmla="*/ 2147483647 h 179"/>
                <a:gd name="T44" fmla="*/ 2147483647 w 146"/>
                <a:gd name="T45" fmla="*/ 2147483647 h 179"/>
                <a:gd name="T46" fmla="*/ 2147483647 w 146"/>
                <a:gd name="T47" fmla="*/ 2147483647 h 179"/>
                <a:gd name="T48" fmla="*/ 2147483647 w 146"/>
                <a:gd name="T49" fmla="*/ 0 h 179"/>
                <a:gd name="T50" fmla="*/ 2147483647 w 146"/>
                <a:gd name="T51" fmla="*/ 2147483647 h 179"/>
                <a:gd name="T52" fmla="*/ 2147483647 w 146"/>
                <a:gd name="T53" fmla="*/ 2147483647 h 179"/>
                <a:gd name="T54" fmla="*/ 2147483647 w 146"/>
                <a:gd name="T55" fmla="*/ 2147483647 h 179"/>
                <a:gd name="T56" fmla="*/ 2147483647 w 146"/>
                <a:gd name="T57" fmla="*/ 2147483647 h 179"/>
                <a:gd name="T58" fmla="*/ 2147483647 w 146"/>
                <a:gd name="T59" fmla="*/ 2147483647 h 179"/>
                <a:gd name="T60" fmla="*/ 2147483647 w 146"/>
                <a:gd name="T61" fmla="*/ 2147483647 h 179"/>
                <a:gd name="T62" fmla="*/ 2147483647 w 146"/>
                <a:gd name="T63" fmla="*/ 2147483647 h 179"/>
                <a:gd name="T64" fmla="*/ 2147483647 w 146"/>
                <a:gd name="T65" fmla="*/ 2147483647 h 179"/>
                <a:gd name="T66" fmla="*/ 2147483647 w 146"/>
                <a:gd name="T67" fmla="*/ 2147483647 h 179"/>
                <a:gd name="T68" fmla="*/ 2147483647 w 146"/>
                <a:gd name="T69" fmla="*/ 2147483647 h 179"/>
                <a:gd name="T70" fmla="*/ 2147483647 w 146"/>
                <a:gd name="T71" fmla="*/ 2147483647 h 179"/>
                <a:gd name="T72" fmla="*/ 2147483647 w 146"/>
                <a:gd name="T73" fmla="*/ 2147483647 h 179"/>
                <a:gd name="T74" fmla="*/ 2147483647 w 146"/>
                <a:gd name="T75" fmla="*/ 2147483647 h 179"/>
                <a:gd name="T76" fmla="*/ 2147483647 w 146"/>
                <a:gd name="T77" fmla="*/ 2147483647 h 179"/>
                <a:gd name="T78" fmla="*/ 2147483647 w 146"/>
                <a:gd name="T79" fmla="*/ 2147483647 h 179"/>
                <a:gd name="T80" fmla="*/ 2147483647 w 146"/>
                <a:gd name="T81" fmla="*/ 2147483647 h 179"/>
                <a:gd name="T82" fmla="*/ 2147483647 w 146"/>
                <a:gd name="T83" fmla="*/ 2147483647 h 179"/>
                <a:gd name="T84" fmla="*/ 2147483647 w 146"/>
                <a:gd name="T85" fmla="*/ 2147483647 h 179"/>
                <a:gd name="T86" fmla="*/ 2147483647 w 146"/>
                <a:gd name="T87" fmla="*/ 2147483647 h 179"/>
                <a:gd name="T88" fmla="*/ 2147483647 w 146"/>
                <a:gd name="T89" fmla="*/ 2147483647 h 179"/>
                <a:gd name="T90" fmla="*/ 2147483647 w 146"/>
                <a:gd name="T91" fmla="*/ 2147483647 h 179"/>
                <a:gd name="T92" fmla="*/ 2147483647 w 146"/>
                <a:gd name="T93" fmla="*/ 2147483647 h 179"/>
                <a:gd name="T94" fmla="*/ 0 w 146"/>
                <a:gd name="T95" fmla="*/ 2147483647 h 179"/>
                <a:gd name="T96" fmla="*/ 2147483647 w 146"/>
                <a:gd name="T97" fmla="*/ 2147483647 h 179"/>
                <a:gd name="T98" fmla="*/ 2147483647 w 146"/>
                <a:gd name="T99" fmla="*/ 2147483647 h 179"/>
                <a:gd name="T100" fmla="*/ 2147483647 w 146"/>
                <a:gd name="T101" fmla="*/ 2147483647 h 179"/>
                <a:gd name="T102" fmla="*/ 2147483647 w 146"/>
                <a:gd name="T103" fmla="*/ 2147483647 h 179"/>
                <a:gd name="T104" fmla="*/ 2147483647 w 146"/>
                <a:gd name="T105" fmla="*/ 2147483647 h 17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6"/>
                <a:gd name="T160" fmla="*/ 0 h 179"/>
                <a:gd name="T161" fmla="*/ 146 w 146"/>
                <a:gd name="T162" fmla="*/ 179 h 17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6" h="179">
                  <a:moveTo>
                    <a:pt x="12" y="153"/>
                  </a:moveTo>
                  <a:lnTo>
                    <a:pt x="20" y="166"/>
                  </a:lnTo>
                  <a:lnTo>
                    <a:pt x="36" y="166"/>
                  </a:lnTo>
                  <a:lnTo>
                    <a:pt x="51" y="170"/>
                  </a:lnTo>
                  <a:lnTo>
                    <a:pt x="62" y="179"/>
                  </a:lnTo>
                  <a:lnTo>
                    <a:pt x="74" y="179"/>
                  </a:lnTo>
                  <a:lnTo>
                    <a:pt x="66" y="168"/>
                  </a:lnTo>
                  <a:lnTo>
                    <a:pt x="72" y="153"/>
                  </a:lnTo>
                  <a:lnTo>
                    <a:pt x="79" y="136"/>
                  </a:lnTo>
                  <a:lnTo>
                    <a:pt x="83" y="117"/>
                  </a:lnTo>
                  <a:lnTo>
                    <a:pt x="100" y="106"/>
                  </a:lnTo>
                  <a:lnTo>
                    <a:pt x="114" y="98"/>
                  </a:lnTo>
                  <a:lnTo>
                    <a:pt x="113" y="87"/>
                  </a:lnTo>
                  <a:lnTo>
                    <a:pt x="113" y="69"/>
                  </a:lnTo>
                  <a:lnTo>
                    <a:pt x="116" y="61"/>
                  </a:lnTo>
                  <a:lnTo>
                    <a:pt x="129" y="59"/>
                  </a:lnTo>
                  <a:lnTo>
                    <a:pt x="135" y="63"/>
                  </a:lnTo>
                  <a:lnTo>
                    <a:pt x="146" y="50"/>
                  </a:lnTo>
                  <a:lnTo>
                    <a:pt x="142" y="39"/>
                  </a:lnTo>
                  <a:lnTo>
                    <a:pt x="135" y="37"/>
                  </a:lnTo>
                  <a:lnTo>
                    <a:pt x="122" y="37"/>
                  </a:lnTo>
                  <a:lnTo>
                    <a:pt x="116" y="37"/>
                  </a:lnTo>
                  <a:lnTo>
                    <a:pt x="113" y="20"/>
                  </a:lnTo>
                  <a:lnTo>
                    <a:pt x="114" y="4"/>
                  </a:lnTo>
                  <a:lnTo>
                    <a:pt x="105" y="0"/>
                  </a:lnTo>
                  <a:lnTo>
                    <a:pt x="101" y="6"/>
                  </a:lnTo>
                  <a:lnTo>
                    <a:pt x="79" y="2"/>
                  </a:lnTo>
                  <a:lnTo>
                    <a:pt x="74" y="7"/>
                  </a:lnTo>
                  <a:lnTo>
                    <a:pt x="79" y="22"/>
                  </a:lnTo>
                  <a:lnTo>
                    <a:pt x="77" y="37"/>
                  </a:lnTo>
                  <a:lnTo>
                    <a:pt x="68" y="26"/>
                  </a:lnTo>
                  <a:lnTo>
                    <a:pt x="64" y="17"/>
                  </a:lnTo>
                  <a:lnTo>
                    <a:pt x="51" y="19"/>
                  </a:lnTo>
                  <a:lnTo>
                    <a:pt x="46" y="28"/>
                  </a:lnTo>
                  <a:lnTo>
                    <a:pt x="42" y="32"/>
                  </a:lnTo>
                  <a:lnTo>
                    <a:pt x="42" y="45"/>
                  </a:lnTo>
                  <a:lnTo>
                    <a:pt x="40" y="43"/>
                  </a:lnTo>
                  <a:lnTo>
                    <a:pt x="29" y="26"/>
                  </a:lnTo>
                  <a:lnTo>
                    <a:pt x="23" y="20"/>
                  </a:lnTo>
                  <a:lnTo>
                    <a:pt x="16" y="24"/>
                  </a:lnTo>
                  <a:lnTo>
                    <a:pt x="18" y="33"/>
                  </a:lnTo>
                  <a:lnTo>
                    <a:pt x="18" y="39"/>
                  </a:lnTo>
                  <a:lnTo>
                    <a:pt x="7" y="43"/>
                  </a:lnTo>
                  <a:lnTo>
                    <a:pt x="7" y="56"/>
                  </a:lnTo>
                  <a:lnTo>
                    <a:pt x="16" y="69"/>
                  </a:lnTo>
                  <a:lnTo>
                    <a:pt x="16" y="78"/>
                  </a:lnTo>
                  <a:lnTo>
                    <a:pt x="12" y="87"/>
                  </a:lnTo>
                  <a:lnTo>
                    <a:pt x="0" y="96"/>
                  </a:lnTo>
                  <a:lnTo>
                    <a:pt x="2" y="106"/>
                  </a:lnTo>
                  <a:lnTo>
                    <a:pt x="14" y="115"/>
                  </a:lnTo>
                  <a:lnTo>
                    <a:pt x="18" y="124"/>
                  </a:lnTo>
                  <a:lnTo>
                    <a:pt x="16" y="142"/>
                  </a:lnTo>
                  <a:lnTo>
                    <a:pt x="12" y="15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7" name="Freeform 65"/>
            <p:cNvSpPr>
              <a:spLocks noChangeAspect="1"/>
            </p:cNvSpPr>
            <p:nvPr>
              <p:custDataLst>
                <p:tags r:id="rId89"/>
              </p:custDataLst>
            </p:nvPr>
          </p:nvSpPr>
          <p:spPr bwMode="gray">
            <a:xfrm>
              <a:off x="1752600" y="4662487"/>
              <a:ext cx="106363" cy="53975"/>
            </a:xfrm>
            <a:custGeom>
              <a:avLst/>
              <a:gdLst>
                <a:gd name="T0" fmla="*/ 0 w 109"/>
                <a:gd name="T1" fmla="*/ 2147483647 h 68"/>
                <a:gd name="T2" fmla="*/ 2147483647 w 109"/>
                <a:gd name="T3" fmla="*/ 2147483647 h 68"/>
                <a:gd name="T4" fmla="*/ 2147483647 w 109"/>
                <a:gd name="T5" fmla="*/ 2147483647 h 68"/>
                <a:gd name="T6" fmla="*/ 2147483647 w 109"/>
                <a:gd name="T7" fmla="*/ 2147483647 h 68"/>
                <a:gd name="T8" fmla="*/ 2147483647 w 109"/>
                <a:gd name="T9" fmla="*/ 2147483647 h 68"/>
                <a:gd name="T10" fmla="*/ 2147483647 w 109"/>
                <a:gd name="T11" fmla="*/ 2147483647 h 68"/>
                <a:gd name="T12" fmla="*/ 2147483647 w 109"/>
                <a:gd name="T13" fmla="*/ 2147483647 h 68"/>
                <a:gd name="T14" fmla="*/ 2147483647 w 109"/>
                <a:gd name="T15" fmla="*/ 2147483647 h 68"/>
                <a:gd name="T16" fmla="*/ 2147483647 w 109"/>
                <a:gd name="T17" fmla="*/ 0 h 68"/>
                <a:gd name="T18" fmla="*/ 2147483647 w 109"/>
                <a:gd name="T19" fmla="*/ 2147483647 h 68"/>
                <a:gd name="T20" fmla="*/ 2147483647 w 109"/>
                <a:gd name="T21" fmla="*/ 2147483647 h 68"/>
                <a:gd name="T22" fmla="*/ 2147483647 w 109"/>
                <a:gd name="T23" fmla="*/ 2147483647 h 68"/>
                <a:gd name="T24" fmla="*/ 2147483647 w 109"/>
                <a:gd name="T25" fmla="*/ 2147483647 h 68"/>
                <a:gd name="T26" fmla="*/ 2147483647 w 109"/>
                <a:gd name="T27" fmla="*/ 2147483647 h 68"/>
                <a:gd name="T28" fmla="*/ 0 w 109"/>
                <a:gd name="T29" fmla="*/ 2147483647 h 68"/>
                <a:gd name="T30" fmla="*/ 0 w 109"/>
                <a:gd name="T31" fmla="*/ 2147483647 h 6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9"/>
                <a:gd name="T49" fmla="*/ 0 h 68"/>
                <a:gd name="T50" fmla="*/ 109 w 109"/>
                <a:gd name="T51" fmla="*/ 68 h 6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9" h="68">
                  <a:moveTo>
                    <a:pt x="0" y="66"/>
                  </a:moveTo>
                  <a:lnTo>
                    <a:pt x="9" y="68"/>
                  </a:lnTo>
                  <a:lnTo>
                    <a:pt x="20" y="60"/>
                  </a:lnTo>
                  <a:lnTo>
                    <a:pt x="31" y="47"/>
                  </a:lnTo>
                  <a:lnTo>
                    <a:pt x="61" y="47"/>
                  </a:lnTo>
                  <a:lnTo>
                    <a:pt x="87" y="42"/>
                  </a:lnTo>
                  <a:lnTo>
                    <a:pt x="102" y="30"/>
                  </a:lnTo>
                  <a:lnTo>
                    <a:pt x="107" y="15"/>
                  </a:lnTo>
                  <a:lnTo>
                    <a:pt x="109" y="0"/>
                  </a:lnTo>
                  <a:lnTo>
                    <a:pt x="89" y="9"/>
                  </a:lnTo>
                  <a:lnTo>
                    <a:pt x="52" y="26"/>
                  </a:lnTo>
                  <a:lnTo>
                    <a:pt x="42" y="28"/>
                  </a:lnTo>
                  <a:lnTo>
                    <a:pt x="31" y="36"/>
                  </a:lnTo>
                  <a:lnTo>
                    <a:pt x="9" y="40"/>
                  </a:lnTo>
                  <a:lnTo>
                    <a:pt x="0" y="45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8" name="Freeform 66"/>
            <p:cNvSpPr>
              <a:spLocks noChangeAspect="1"/>
            </p:cNvSpPr>
            <p:nvPr>
              <p:custDataLst>
                <p:tags r:id="rId90"/>
              </p:custDataLst>
            </p:nvPr>
          </p:nvSpPr>
          <p:spPr bwMode="gray">
            <a:xfrm>
              <a:off x="1806575" y="4799012"/>
              <a:ext cx="44450" cy="44450"/>
            </a:xfrm>
            <a:custGeom>
              <a:avLst/>
              <a:gdLst>
                <a:gd name="T0" fmla="*/ 2147483647 w 47"/>
                <a:gd name="T1" fmla="*/ 0 h 57"/>
                <a:gd name="T2" fmla="*/ 2147483647 w 47"/>
                <a:gd name="T3" fmla="*/ 2147483647 h 57"/>
                <a:gd name="T4" fmla="*/ 2147483647 w 47"/>
                <a:gd name="T5" fmla="*/ 2147483647 h 57"/>
                <a:gd name="T6" fmla="*/ 2147483647 w 47"/>
                <a:gd name="T7" fmla="*/ 2147483647 h 57"/>
                <a:gd name="T8" fmla="*/ 2147483647 w 47"/>
                <a:gd name="T9" fmla="*/ 2147483647 h 57"/>
                <a:gd name="T10" fmla="*/ 2147483647 w 47"/>
                <a:gd name="T11" fmla="*/ 2147483647 h 57"/>
                <a:gd name="T12" fmla="*/ 2147483647 w 47"/>
                <a:gd name="T13" fmla="*/ 2147483647 h 57"/>
                <a:gd name="T14" fmla="*/ 2147483647 w 47"/>
                <a:gd name="T15" fmla="*/ 2147483647 h 57"/>
                <a:gd name="T16" fmla="*/ 0 w 47"/>
                <a:gd name="T17" fmla="*/ 2147483647 h 57"/>
                <a:gd name="T18" fmla="*/ 2147483647 w 47"/>
                <a:gd name="T19" fmla="*/ 2147483647 h 57"/>
                <a:gd name="T20" fmla="*/ 2147483647 w 47"/>
                <a:gd name="T21" fmla="*/ 0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57"/>
                <a:gd name="T35" fmla="*/ 47 w 47"/>
                <a:gd name="T36" fmla="*/ 57 h 5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57">
                  <a:moveTo>
                    <a:pt x="15" y="0"/>
                  </a:moveTo>
                  <a:lnTo>
                    <a:pt x="45" y="20"/>
                  </a:lnTo>
                  <a:lnTo>
                    <a:pt x="47" y="29"/>
                  </a:lnTo>
                  <a:lnTo>
                    <a:pt x="36" y="40"/>
                  </a:lnTo>
                  <a:lnTo>
                    <a:pt x="26" y="48"/>
                  </a:lnTo>
                  <a:lnTo>
                    <a:pt x="28" y="57"/>
                  </a:lnTo>
                  <a:lnTo>
                    <a:pt x="15" y="55"/>
                  </a:lnTo>
                  <a:lnTo>
                    <a:pt x="2" y="40"/>
                  </a:lnTo>
                  <a:lnTo>
                    <a:pt x="0" y="29"/>
                  </a:lnTo>
                  <a:lnTo>
                    <a:pt x="6" y="17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9" name="Freeform 67"/>
            <p:cNvSpPr>
              <a:spLocks noChangeAspect="1"/>
            </p:cNvSpPr>
            <p:nvPr>
              <p:custDataLst>
                <p:tags r:id="rId91"/>
              </p:custDataLst>
            </p:nvPr>
          </p:nvSpPr>
          <p:spPr bwMode="gray">
            <a:xfrm>
              <a:off x="1862138" y="4786312"/>
              <a:ext cx="65087" cy="65087"/>
            </a:xfrm>
            <a:custGeom>
              <a:avLst/>
              <a:gdLst>
                <a:gd name="T0" fmla="*/ 2147483647 w 69"/>
                <a:gd name="T1" fmla="*/ 0 h 83"/>
                <a:gd name="T2" fmla="*/ 2147483647 w 69"/>
                <a:gd name="T3" fmla="*/ 2147483647 h 83"/>
                <a:gd name="T4" fmla="*/ 2147483647 w 69"/>
                <a:gd name="T5" fmla="*/ 2147483647 h 83"/>
                <a:gd name="T6" fmla="*/ 2147483647 w 69"/>
                <a:gd name="T7" fmla="*/ 2147483647 h 83"/>
                <a:gd name="T8" fmla="*/ 2147483647 w 69"/>
                <a:gd name="T9" fmla="*/ 2147483647 h 83"/>
                <a:gd name="T10" fmla="*/ 2147483647 w 69"/>
                <a:gd name="T11" fmla="*/ 2147483647 h 83"/>
                <a:gd name="T12" fmla="*/ 2147483647 w 69"/>
                <a:gd name="T13" fmla="*/ 2147483647 h 83"/>
                <a:gd name="T14" fmla="*/ 2147483647 w 69"/>
                <a:gd name="T15" fmla="*/ 2147483647 h 83"/>
                <a:gd name="T16" fmla="*/ 2147483647 w 69"/>
                <a:gd name="T17" fmla="*/ 2147483647 h 83"/>
                <a:gd name="T18" fmla="*/ 2147483647 w 69"/>
                <a:gd name="T19" fmla="*/ 2147483647 h 83"/>
                <a:gd name="T20" fmla="*/ 2147483647 w 69"/>
                <a:gd name="T21" fmla="*/ 2147483647 h 83"/>
                <a:gd name="T22" fmla="*/ 0 w 69"/>
                <a:gd name="T23" fmla="*/ 2147483647 h 83"/>
                <a:gd name="T24" fmla="*/ 2147483647 w 69"/>
                <a:gd name="T25" fmla="*/ 2147483647 h 83"/>
                <a:gd name="T26" fmla="*/ 2147483647 w 69"/>
                <a:gd name="T27" fmla="*/ 2147483647 h 83"/>
                <a:gd name="T28" fmla="*/ 2147483647 w 69"/>
                <a:gd name="T29" fmla="*/ 2147483647 h 83"/>
                <a:gd name="T30" fmla="*/ 2147483647 w 69"/>
                <a:gd name="T31" fmla="*/ 2147483647 h 83"/>
                <a:gd name="T32" fmla="*/ 2147483647 w 69"/>
                <a:gd name="T33" fmla="*/ 2147483647 h 83"/>
                <a:gd name="T34" fmla="*/ 2147483647 w 69"/>
                <a:gd name="T35" fmla="*/ 2147483647 h 83"/>
                <a:gd name="T36" fmla="*/ 2147483647 w 69"/>
                <a:gd name="T37" fmla="*/ 0 h 8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9"/>
                <a:gd name="T58" fmla="*/ 0 h 83"/>
                <a:gd name="T59" fmla="*/ 69 w 69"/>
                <a:gd name="T60" fmla="*/ 83 h 8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9" h="83">
                  <a:moveTo>
                    <a:pt x="65" y="0"/>
                  </a:moveTo>
                  <a:lnTo>
                    <a:pt x="69" y="4"/>
                  </a:lnTo>
                  <a:lnTo>
                    <a:pt x="65" y="9"/>
                  </a:lnTo>
                  <a:lnTo>
                    <a:pt x="69" y="18"/>
                  </a:lnTo>
                  <a:lnTo>
                    <a:pt x="64" y="29"/>
                  </a:lnTo>
                  <a:lnTo>
                    <a:pt x="54" y="37"/>
                  </a:lnTo>
                  <a:lnTo>
                    <a:pt x="58" y="46"/>
                  </a:lnTo>
                  <a:lnTo>
                    <a:pt x="54" y="54"/>
                  </a:lnTo>
                  <a:lnTo>
                    <a:pt x="58" y="63"/>
                  </a:lnTo>
                  <a:lnTo>
                    <a:pt x="45" y="83"/>
                  </a:lnTo>
                  <a:lnTo>
                    <a:pt x="16" y="63"/>
                  </a:lnTo>
                  <a:lnTo>
                    <a:pt x="0" y="52"/>
                  </a:lnTo>
                  <a:lnTo>
                    <a:pt x="9" y="46"/>
                  </a:lnTo>
                  <a:lnTo>
                    <a:pt x="9" y="33"/>
                  </a:lnTo>
                  <a:lnTo>
                    <a:pt x="27" y="22"/>
                  </a:lnTo>
                  <a:lnTo>
                    <a:pt x="36" y="26"/>
                  </a:lnTo>
                  <a:lnTo>
                    <a:pt x="45" y="22"/>
                  </a:lnTo>
                  <a:lnTo>
                    <a:pt x="60" y="11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90" name="Freeform 68"/>
            <p:cNvSpPr>
              <a:spLocks noChangeAspect="1"/>
            </p:cNvSpPr>
            <p:nvPr>
              <p:custDataLst>
                <p:tags r:id="rId92"/>
              </p:custDataLst>
            </p:nvPr>
          </p:nvSpPr>
          <p:spPr bwMode="gray">
            <a:xfrm>
              <a:off x="1854200" y="4854575"/>
              <a:ext cx="25400" cy="28575"/>
            </a:xfrm>
            <a:custGeom>
              <a:avLst/>
              <a:gdLst>
                <a:gd name="T0" fmla="*/ 0 w 28"/>
                <a:gd name="T1" fmla="*/ 0 h 35"/>
                <a:gd name="T2" fmla="*/ 2147483647 w 28"/>
                <a:gd name="T3" fmla="*/ 2147483647 h 35"/>
                <a:gd name="T4" fmla="*/ 2147483647 w 28"/>
                <a:gd name="T5" fmla="*/ 2147483647 h 35"/>
                <a:gd name="T6" fmla="*/ 2147483647 w 28"/>
                <a:gd name="T7" fmla="*/ 2147483647 h 35"/>
                <a:gd name="T8" fmla="*/ 2147483647 w 28"/>
                <a:gd name="T9" fmla="*/ 2147483647 h 35"/>
                <a:gd name="T10" fmla="*/ 2147483647 w 28"/>
                <a:gd name="T11" fmla="*/ 2147483647 h 35"/>
                <a:gd name="T12" fmla="*/ 2147483647 w 28"/>
                <a:gd name="T13" fmla="*/ 2147483647 h 35"/>
                <a:gd name="T14" fmla="*/ 0 w 28"/>
                <a:gd name="T15" fmla="*/ 0 h 3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"/>
                <a:gd name="T25" fmla="*/ 0 h 35"/>
                <a:gd name="T26" fmla="*/ 28 w 28"/>
                <a:gd name="T27" fmla="*/ 35 h 3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" h="35">
                  <a:moveTo>
                    <a:pt x="0" y="0"/>
                  </a:moveTo>
                  <a:lnTo>
                    <a:pt x="19" y="6"/>
                  </a:lnTo>
                  <a:lnTo>
                    <a:pt x="26" y="15"/>
                  </a:lnTo>
                  <a:lnTo>
                    <a:pt x="28" y="28"/>
                  </a:lnTo>
                  <a:lnTo>
                    <a:pt x="19" y="35"/>
                  </a:lnTo>
                  <a:lnTo>
                    <a:pt x="5" y="29"/>
                  </a:lnTo>
                  <a:lnTo>
                    <a:pt x="2" y="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91" name="Freeform 69"/>
            <p:cNvSpPr>
              <a:spLocks noChangeAspect="1"/>
            </p:cNvSpPr>
            <p:nvPr>
              <p:custDataLst>
                <p:tags r:id="rId93"/>
              </p:custDataLst>
            </p:nvPr>
          </p:nvSpPr>
          <p:spPr bwMode="gray">
            <a:xfrm>
              <a:off x="2036763" y="4846637"/>
              <a:ext cx="15875" cy="23812"/>
            </a:xfrm>
            <a:custGeom>
              <a:avLst/>
              <a:gdLst>
                <a:gd name="T0" fmla="*/ 2147483647 w 16"/>
                <a:gd name="T1" fmla="*/ 0 h 29"/>
                <a:gd name="T2" fmla="*/ 0 w 16"/>
                <a:gd name="T3" fmla="*/ 2147483647 h 29"/>
                <a:gd name="T4" fmla="*/ 0 w 16"/>
                <a:gd name="T5" fmla="*/ 2147483647 h 29"/>
                <a:gd name="T6" fmla="*/ 2147483647 w 16"/>
                <a:gd name="T7" fmla="*/ 2147483647 h 29"/>
                <a:gd name="T8" fmla="*/ 2147483647 w 16"/>
                <a:gd name="T9" fmla="*/ 2147483647 h 29"/>
                <a:gd name="T10" fmla="*/ 2147483647 w 16"/>
                <a:gd name="T11" fmla="*/ 0 h 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29"/>
                <a:gd name="T20" fmla="*/ 16 w 16"/>
                <a:gd name="T21" fmla="*/ 29 h 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29">
                  <a:moveTo>
                    <a:pt x="5" y="0"/>
                  </a:moveTo>
                  <a:lnTo>
                    <a:pt x="0" y="5"/>
                  </a:lnTo>
                  <a:lnTo>
                    <a:pt x="0" y="20"/>
                  </a:lnTo>
                  <a:lnTo>
                    <a:pt x="11" y="29"/>
                  </a:lnTo>
                  <a:lnTo>
                    <a:pt x="16" y="1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92" name="Freeform 70"/>
            <p:cNvSpPr>
              <a:spLocks noChangeAspect="1"/>
            </p:cNvSpPr>
            <p:nvPr>
              <p:custDataLst>
                <p:tags r:id="rId94"/>
              </p:custDataLst>
            </p:nvPr>
          </p:nvSpPr>
          <p:spPr bwMode="gray">
            <a:xfrm>
              <a:off x="1952625" y="4895850"/>
              <a:ext cx="23813" cy="17463"/>
            </a:xfrm>
            <a:custGeom>
              <a:avLst/>
              <a:gdLst>
                <a:gd name="T0" fmla="*/ 2147483647 w 24"/>
                <a:gd name="T1" fmla="*/ 0 h 22"/>
                <a:gd name="T2" fmla="*/ 0 w 24"/>
                <a:gd name="T3" fmla="*/ 2147483647 h 22"/>
                <a:gd name="T4" fmla="*/ 2147483647 w 24"/>
                <a:gd name="T5" fmla="*/ 2147483647 h 22"/>
                <a:gd name="T6" fmla="*/ 2147483647 w 24"/>
                <a:gd name="T7" fmla="*/ 2147483647 h 22"/>
                <a:gd name="T8" fmla="*/ 2147483647 w 24"/>
                <a:gd name="T9" fmla="*/ 2147483647 h 22"/>
                <a:gd name="T10" fmla="*/ 2147483647 w 24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2"/>
                <a:gd name="T20" fmla="*/ 24 w 24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2">
                  <a:moveTo>
                    <a:pt x="2" y="0"/>
                  </a:moveTo>
                  <a:lnTo>
                    <a:pt x="0" y="4"/>
                  </a:lnTo>
                  <a:lnTo>
                    <a:pt x="2" y="15"/>
                  </a:lnTo>
                  <a:lnTo>
                    <a:pt x="15" y="22"/>
                  </a:lnTo>
                  <a:lnTo>
                    <a:pt x="24" y="1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" name="Freeform 71"/>
            <p:cNvSpPr>
              <a:spLocks noChangeAspect="1"/>
            </p:cNvSpPr>
            <p:nvPr>
              <p:custDataLst>
                <p:tags r:id="rId95"/>
              </p:custDataLst>
            </p:nvPr>
          </p:nvSpPr>
          <p:spPr bwMode="gray">
            <a:xfrm>
              <a:off x="1898127" y="5492670"/>
              <a:ext cx="343682" cy="289438"/>
            </a:xfrm>
            <a:custGeom>
              <a:avLst/>
              <a:gdLst>
                <a:gd name="T0" fmla="*/ 2147483647 w 363"/>
                <a:gd name="T1" fmla="*/ 2147483647 h 357"/>
                <a:gd name="T2" fmla="*/ 2147483647 w 363"/>
                <a:gd name="T3" fmla="*/ 2147483647 h 357"/>
                <a:gd name="T4" fmla="*/ 2147483647 w 363"/>
                <a:gd name="T5" fmla="*/ 2147483647 h 357"/>
                <a:gd name="T6" fmla="*/ 2147483647 w 363"/>
                <a:gd name="T7" fmla="*/ 2147483647 h 357"/>
                <a:gd name="T8" fmla="*/ 2147483647 w 363"/>
                <a:gd name="T9" fmla="*/ 2147483647 h 357"/>
                <a:gd name="T10" fmla="*/ 2147483647 w 363"/>
                <a:gd name="T11" fmla="*/ 2147483647 h 357"/>
                <a:gd name="T12" fmla="*/ 2147483647 w 363"/>
                <a:gd name="T13" fmla="*/ 2147483647 h 357"/>
                <a:gd name="T14" fmla="*/ 2147483647 w 363"/>
                <a:gd name="T15" fmla="*/ 2147483647 h 357"/>
                <a:gd name="T16" fmla="*/ 2147483647 w 363"/>
                <a:gd name="T17" fmla="*/ 2147483647 h 357"/>
                <a:gd name="T18" fmla="*/ 2147483647 w 363"/>
                <a:gd name="T19" fmla="*/ 2147483647 h 357"/>
                <a:gd name="T20" fmla="*/ 2147483647 w 363"/>
                <a:gd name="T21" fmla="*/ 2147483647 h 357"/>
                <a:gd name="T22" fmla="*/ 2147483647 w 363"/>
                <a:gd name="T23" fmla="*/ 2147483647 h 357"/>
                <a:gd name="T24" fmla="*/ 2147483647 w 363"/>
                <a:gd name="T25" fmla="*/ 2147483647 h 357"/>
                <a:gd name="T26" fmla="*/ 2147483647 w 363"/>
                <a:gd name="T27" fmla="*/ 2147483647 h 357"/>
                <a:gd name="T28" fmla="*/ 2147483647 w 363"/>
                <a:gd name="T29" fmla="*/ 2147483647 h 357"/>
                <a:gd name="T30" fmla="*/ 2147483647 w 363"/>
                <a:gd name="T31" fmla="*/ 2147483647 h 357"/>
                <a:gd name="T32" fmla="*/ 2147483647 w 363"/>
                <a:gd name="T33" fmla="*/ 2147483647 h 357"/>
                <a:gd name="T34" fmla="*/ 2147483647 w 363"/>
                <a:gd name="T35" fmla="*/ 2147483647 h 357"/>
                <a:gd name="T36" fmla="*/ 2147483647 w 363"/>
                <a:gd name="T37" fmla="*/ 2147483647 h 357"/>
                <a:gd name="T38" fmla="*/ 2147483647 w 363"/>
                <a:gd name="T39" fmla="*/ 2147483647 h 357"/>
                <a:gd name="T40" fmla="*/ 2147483647 w 363"/>
                <a:gd name="T41" fmla="*/ 2147483647 h 357"/>
                <a:gd name="T42" fmla="*/ 2147483647 w 363"/>
                <a:gd name="T43" fmla="*/ 2147483647 h 357"/>
                <a:gd name="T44" fmla="*/ 2147483647 w 363"/>
                <a:gd name="T45" fmla="*/ 2147483647 h 357"/>
                <a:gd name="T46" fmla="*/ 2147483647 w 363"/>
                <a:gd name="T47" fmla="*/ 2147483647 h 357"/>
                <a:gd name="T48" fmla="*/ 2147483647 w 363"/>
                <a:gd name="T49" fmla="*/ 2147483647 h 357"/>
                <a:gd name="T50" fmla="*/ 2147483647 w 363"/>
                <a:gd name="T51" fmla="*/ 2147483647 h 357"/>
                <a:gd name="T52" fmla="*/ 2147483647 w 363"/>
                <a:gd name="T53" fmla="*/ 2147483647 h 357"/>
                <a:gd name="T54" fmla="*/ 2147483647 w 363"/>
                <a:gd name="T55" fmla="*/ 2147483647 h 357"/>
                <a:gd name="T56" fmla="*/ 2147483647 w 363"/>
                <a:gd name="T57" fmla="*/ 2147483647 h 357"/>
                <a:gd name="T58" fmla="*/ 2147483647 w 363"/>
                <a:gd name="T59" fmla="*/ 2147483647 h 357"/>
                <a:gd name="T60" fmla="*/ 2147483647 w 363"/>
                <a:gd name="T61" fmla="*/ 2147483647 h 357"/>
                <a:gd name="T62" fmla="*/ 2147483647 w 363"/>
                <a:gd name="T63" fmla="*/ 2147483647 h 357"/>
                <a:gd name="T64" fmla="*/ 2147483647 w 363"/>
                <a:gd name="T65" fmla="*/ 2147483647 h 357"/>
                <a:gd name="T66" fmla="*/ 2147483647 w 363"/>
                <a:gd name="T67" fmla="*/ 2147483647 h 357"/>
                <a:gd name="T68" fmla="*/ 2147483647 w 363"/>
                <a:gd name="T69" fmla="*/ 2147483647 h 357"/>
                <a:gd name="T70" fmla="*/ 2147483647 w 363"/>
                <a:gd name="T71" fmla="*/ 2147483647 h 357"/>
                <a:gd name="T72" fmla="*/ 2147483647 w 363"/>
                <a:gd name="T73" fmla="*/ 2147483647 h 357"/>
                <a:gd name="T74" fmla="*/ 2147483647 w 363"/>
                <a:gd name="T75" fmla="*/ 2147483647 h 357"/>
                <a:gd name="T76" fmla="*/ 2147483647 w 363"/>
                <a:gd name="T77" fmla="*/ 2147483647 h 357"/>
                <a:gd name="T78" fmla="*/ 2147483647 w 363"/>
                <a:gd name="T79" fmla="*/ 0 h 357"/>
                <a:gd name="T80" fmla="*/ 2147483647 w 363"/>
                <a:gd name="T81" fmla="*/ 2147483647 h 357"/>
                <a:gd name="T82" fmla="*/ 2147483647 w 363"/>
                <a:gd name="T83" fmla="*/ 2147483647 h 357"/>
                <a:gd name="T84" fmla="*/ 2147483647 w 363"/>
                <a:gd name="T85" fmla="*/ 2147483647 h 357"/>
                <a:gd name="T86" fmla="*/ 2147483647 w 363"/>
                <a:gd name="T87" fmla="*/ 2147483647 h 357"/>
                <a:gd name="T88" fmla="*/ 0 w 363"/>
                <a:gd name="T89" fmla="*/ 2147483647 h 35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63"/>
                <a:gd name="T136" fmla="*/ 0 h 357"/>
                <a:gd name="T137" fmla="*/ 363 w 363"/>
                <a:gd name="T138" fmla="*/ 357 h 35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63" h="357">
                  <a:moveTo>
                    <a:pt x="0" y="80"/>
                  </a:moveTo>
                  <a:lnTo>
                    <a:pt x="7" y="102"/>
                  </a:lnTo>
                  <a:lnTo>
                    <a:pt x="15" y="119"/>
                  </a:lnTo>
                  <a:lnTo>
                    <a:pt x="22" y="130"/>
                  </a:lnTo>
                  <a:lnTo>
                    <a:pt x="31" y="132"/>
                  </a:lnTo>
                  <a:lnTo>
                    <a:pt x="41" y="126"/>
                  </a:lnTo>
                  <a:lnTo>
                    <a:pt x="46" y="115"/>
                  </a:lnTo>
                  <a:lnTo>
                    <a:pt x="56" y="98"/>
                  </a:lnTo>
                  <a:lnTo>
                    <a:pt x="69" y="108"/>
                  </a:lnTo>
                  <a:lnTo>
                    <a:pt x="82" y="111"/>
                  </a:lnTo>
                  <a:lnTo>
                    <a:pt x="91" y="117"/>
                  </a:lnTo>
                  <a:lnTo>
                    <a:pt x="89" y="135"/>
                  </a:lnTo>
                  <a:lnTo>
                    <a:pt x="89" y="147"/>
                  </a:lnTo>
                  <a:lnTo>
                    <a:pt x="102" y="167"/>
                  </a:lnTo>
                  <a:lnTo>
                    <a:pt x="117" y="184"/>
                  </a:lnTo>
                  <a:lnTo>
                    <a:pt x="115" y="189"/>
                  </a:lnTo>
                  <a:lnTo>
                    <a:pt x="98" y="189"/>
                  </a:lnTo>
                  <a:lnTo>
                    <a:pt x="106" y="199"/>
                  </a:lnTo>
                  <a:lnTo>
                    <a:pt x="156" y="256"/>
                  </a:lnTo>
                  <a:lnTo>
                    <a:pt x="161" y="260"/>
                  </a:lnTo>
                  <a:lnTo>
                    <a:pt x="176" y="260"/>
                  </a:lnTo>
                  <a:lnTo>
                    <a:pt x="187" y="263"/>
                  </a:lnTo>
                  <a:lnTo>
                    <a:pt x="209" y="273"/>
                  </a:lnTo>
                  <a:lnTo>
                    <a:pt x="228" y="291"/>
                  </a:lnTo>
                  <a:lnTo>
                    <a:pt x="232" y="299"/>
                  </a:lnTo>
                  <a:lnTo>
                    <a:pt x="239" y="314"/>
                  </a:lnTo>
                  <a:lnTo>
                    <a:pt x="245" y="313"/>
                  </a:lnTo>
                  <a:lnTo>
                    <a:pt x="250" y="313"/>
                  </a:lnTo>
                  <a:lnTo>
                    <a:pt x="265" y="319"/>
                  </a:lnTo>
                  <a:lnTo>
                    <a:pt x="274" y="326"/>
                  </a:lnTo>
                  <a:lnTo>
                    <a:pt x="302" y="357"/>
                  </a:lnTo>
                  <a:lnTo>
                    <a:pt x="290" y="325"/>
                  </a:lnTo>
                  <a:lnTo>
                    <a:pt x="283" y="313"/>
                  </a:lnTo>
                  <a:lnTo>
                    <a:pt x="289" y="301"/>
                  </a:lnTo>
                  <a:lnTo>
                    <a:pt x="285" y="291"/>
                  </a:lnTo>
                  <a:lnTo>
                    <a:pt x="271" y="275"/>
                  </a:lnTo>
                  <a:lnTo>
                    <a:pt x="245" y="245"/>
                  </a:lnTo>
                  <a:lnTo>
                    <a:pt x="228" y="232"/>
                  </a:lnTo>
                  <a:lnTo>
                    <a:pt x="222" y="226"/>
                  </a:lnTo>
                  <a:lnTo>
                    <a:pt x="213" y="228"/>
                  </a:lnTo>
                  <a:lnTo>
                    <a:pt x="200" y="217"/>
                  </a:lnTo>
                  <a:lnTo>
                    <a:pt x="198" y="217"/>
                  </a:lnTo>
                  <a:lnTo>
                    <a:pt x="191" y="210"/>
                  </a:lnTo>
                  <a:lnTo>
                    <a:pt x="187" y="197"/>
                  </a:lnTo>
                  <a:lnTo>
                    <a:pt x="183" y="184"/>
                  </a:lnTo>
                  <a:lnTo>
                    <a:pt x="169" y="165"/>
                  </a:lnTo>
                  <a:lnTo>
                    <a:pt x="139" y="134"/>
                  </a:lnTo>
                  <a:lnTo>
                    <a:pt x="137" y="126"/>
                  </a:lnTo>
                  <a:lnTo>
                    <a:pt x="139" y="122"/>
                  </a:lnTo>
                  <a:lnTo>
                    <a:pt x="154" y="119"/>
                  </a:lnTo>
                  <a:lnTo>
                    <a:pt x="195" y="132"/>
                  </a:lnTo>
                  <a:lnTo>
                    <a:pt x="222" y="102"/>
                  </a:lnTo>
                  <a:lnTo>
                    <a:pt x="245" y="121"/>
                  </a:lnTo>
                  <a:lnTo>
                    <a:pt x="254" y="122"/>
                  </a:lnTo>
                  <a:lnTo>
                    <a:pt x="259" y="130"/>
                  </a:lnTo>
                  <a:lnTo>
                    <a:pt x="267" y="122"/>
                  </a:lnTo>
                  <a:lnTo>
                    <a:pt x="282" y="122"/>
                  </a:lnTo>
                  <a:lnTo>
                    <a:pt x="295" y="124"/>
                  </a:lnTo>
                  <a:lnTo>
                    <a:pt x="313" y="115"/>
                  </a:lnTo>
                  <a:lnTo>
                    <a:pt x="332" y="122"/>
                  </a:lnTo>
                  <a:lnTo>
                    <a:pt x="343" y="132"/>
                  </a:lnTo>
                  <a:lnTo>
                    <a:pt x="356" y="135"/>
                  </a:lnTo>
                  <a:lnTo>
                    <a:pt x="357" y="126"/>
                  </a:lnTo>
                  <a:lnTo>
                    <a:pt x="363" y="111"/>
                  </a:lnTo>
                  <a:lnTo>
                    <a:pt x="356" y="104"/>
                  </a:lnTo>
                  <a:lnTo>
                    <a:pt x="344" y="91"/>
                  </a:lnTo>
                  <a:lnTo>
                    <a:pt x="343" y="78"/>
                  </a:lnTo>
                  <a:lnTo>
                    <a:pt x="343" y="69"/>
                  </a:lnTo>
                  <a:lnTo>
                    <a:pt x="344" y="58"/>
                  </a:lnTo>
                  <a:lnTo>
                    <a:pt x="328" y="54"/>
                  </a:lnTo>
                  <a:lnTo>
                    <a:pt x="320" y="52"/>
                  </a:lnTo>
                  <a:lnTo>
                    <a:pt x="312" y="58"/>
                  </a:lnTo>
                  <a:lnTo>
                    <a:pt x="302" y="65"/>
                  </a:lnTo>
                  <a:lnTo>
                    <a:pt x="293" y="65"/>
                  </a:lnTo>
                  <a:lnTo>
                    <a:pt x="278" y="50"/>
                  </a:lnTo>
                  <a:lnTo>
                    <a:pt x="265" y="43"/>
                  </a:lnTo>
                  <a:lnTo>
                    <a:pt x="252" y="45"/>
                  </a:lnTo>
                  <a:lnTo>
                    <a:pt x="241" y="33"/>
                  </a:lnTo>
                  <a:lnTo>
                    <a:pt x="211" y="2"/>
                  </a:lnTo>
                  <a:lnTo>
                    <a:pt x="198" y="0"/>
                  </a:lnTo>
                  <a:lnTo>
                    <a:pt x="178" y="26"/>
                  </a:lnTo>
                  <a:lnTo>
                    <a:pt x="157" y="24"/>
                  </a:lnTo>
                  <a:lnTo>
                    <a:pt x="148" y="33"/>
                  </a:lnTo>
                  <a:lnTo>
                    <a:pt x="145" y="45"/>
                  </a:lnTo>
                  <a:lnTo>
                    <a:pt x="106" y="87"/>
                  </a:lnTo>
                  <a:lnTo>
                    <a:pt x="80" y="80"/>
                  </a:lnTo>
                  <a:lnTo>
                    <a:pt x="54" y="74"/>
                  </a:lnTo>
                  <a:lnTo>
                    <a:pt x="41" y="80"/>
                  </a:lnTo>
                  <a:lnTo>
                    <a:pt x="24" y="87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chemeClr val="accent3">
                <a:lumMod val="85000"/>
              </a:schemeClr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de-DE" sz="1400" b="1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8" name="Group 72"/>
            <p:cNvGrpSpPr>
              <a:grpSpLocks noChangeAspect="1"/>
            </p:cNvGrpSpPr>
            <p:nvPr>
              <p:custDataLst>
                <p:tags r:id="rId96"/>
              </p:custDataLst>
            </p:nvPr>
          </p:nvGrpSpPr>
          <p:grpSpPr bwMode="auto">
            <a:xfrm>
              <a:off x="2328863" y="4040187"/>
              <a:ext cx="385762" cy="492125"/>
              <a:chOff x="3676" y="1004"/>
              <a:chExt cx="424" cy="574"/>
            </a:xfrm>
          </p:grpSpPr>
          <p:sp>
            <p:nvSpPr>
              <p:cNvPr id="4209" name="Freeform 73"/>
              <p:cNvSpPr>
                <a:spLocks noChangeAspect="1"/>
              </p:cNvSpPr>
              <p:nvPr/>
            </p:nvSpPr>
            <p:spPr bwMode="gray">
              <a:xfrm>
                <a:off x="3676" y="1004"/>
                <a:ext cx="424" cy="574"/>
              </a:xfrm>
              <a:custGeom>
                <a:avLst/>
                <a:gdLst>
                  <a:gd name="T0" fmla="*/ 2056 w 369"/>
                  <a:gd name="T1" fmla="*/ 11983 h 500"/>
                  <a:gd name="T2" fmla="*/ 1975 w 369"/>
                  <a:gd name="T3" fmla="*/ 11356 h 500"/>
                  <a:gd name="T4" fmla="*/ 1632 w 369"/>
                  <a:gd name="T5" fmla="*/ 11087 h 500"/>
                  <a:gd name="T6" fmla="*/ 1401 w 369"/>
                  <a:gd name="T7" fmla="*/ 10937 h 500"/>
                  <a:gd name="T8" fmla="*/ 984 w 369"/>
                  <a:gd name="T9" fmla="*/ 10796 h 500"/>
                  <a:gd name="T10" fmla="*/ 640 w 369"/>
                  <a:gd name="T11" fmla="*/ 10796 h 500"/>
                  <a:gd name="T12" fmla="*/ 485 w 369"/>
                  <a:gd name="T13" fmla="*/ 10511 h 500"/>
                  <a:gd name="T14" fmla="*/ 640 w 369"/>
                  <a:gd name="T15" fmla="*/ 9386 h 500"/>
                  <a:gd name="T16" fmla="*/ 596 w 369"/>
                  <a:gd name="T17" fmla="*/ 8733 h 500"/>
                  <a:gd name="T18" fmla="*/ 319 w 369"/>
                  <a:gd name="T19" fmla="*/ 8450 h 500"/>
                  <a:gd name="T20" fmla="*/ 160 w 369"/>
                  <a:gd name="T21" fmla="*/ 8299 h 500"/>
                  <a:gd name="T22" fmla="*/ 242 w 369"/>
                  <a:gd name="T23" fmla="*/ 7708 h 500"/>
                  <a:gd name="T24" fmla="*/ 160 w 369"/>
                  <a:gd name="T25" fmla="*/ 7328 h 500"/>
                  <a:gd name="T26" fmla="*/ 0 w 369"/>
                  <a:gd name="T27" fmla="*/ 7067 h 500"/>
                  <a:gd name="T28" fmla="*/ 242 w 369"/>
                  <a:gd name="T29" fmla="*/ 6415 h 500"/>
                  <a:gd name="T30" fmla="*/ 485 w 369"/>
                  <a:gd name="T31" fmla="*/ 6415 h 500"/>
                  <a:gd name="T32" fmla="*/ 640 w 369"/>
                  <a:gd name="T33" fmla="*/ 6266 h 500"/>
                  <a:gd name="T34" fmla="*/ 735 w 369"/>
                  <a:gd name="T35" fmla="*/ 5785 h 500"/>
                  <a:gd name="T36" fmla="*/ 1219 w 369"/>
                  <a:gd name="T37" fmla="*/ 5458 h 500"/>
                  <a:gd name="T38" fmla="*/ 1717 w 369"/>
                  <a:gd name="T39" fmla="*/ 5039 h 500"/>
                  <a:gd name="T40" fmla="*/ 1811 w 369"/>
                  <a:gd name="T41" fmla="*/ 4659 h 500"/>
                  <a:gd name="T42" fmla="*/ 2362 w 369"/>
                  <a:gd name="T43" fmla="*/ 4191 h 500"/>
                  <a:gd name="T44" fmla="*/ 2951 w 369"/>
                  <a:gd name="T45" fmla="*/ 3680 h 500"/>
                  <a:gd name="T46" fmla="*/ 2852 w 369"/>
                  <a:gd name="T47" fmla="*/ 3462 h 500"/>
                  <a:gd name="T48" fmla="*/ 2852 w 369"/>
                  <a:gd name="T49" fmla="*/ 3180 h 500"/>
                  <a:gd name="T50" fmla="*/ 3277 w 369"/>
                  <a:gd name="T51" fmla="*/ 2963 h 500"/>
                  <a:gd name="T52" fmla="*/ 3443 w 369"/>
                  <a:gd name="T53" fmla="*/ 2875 h 500"/>
                  <a:gd name="T54" fmla="*/ 3337 w 369"/>
                  <a:gd name="T55" fmla="*/ 2433 h 500"/>
                  <a:gd name="T56" fmla="*/ 3337 w 369"/>
                  <a:gd name="T57" fmla="*/ 1993 h 500"/>
                  <a:gd name="T58" fmla="*/ 3225 w 369"/>
                  <a:gd name="T59" fmla="*/ 1950 h 500"/>
                  <a:gd name="T60" fmla="*/ 2951 w 369"/>
                  <a:gd name="T61" fmla="*/ 1993 h 500"/>
                  <a:gd name="T62" fmla="*/ 2714 w 369"/>
                  <a:gd name="T63" fmla="*/ 1706 h 500"/>
                  <a:gd name="T64" fmla="*/ 2475 w 369"/>
                  <a:gd name="T65" fmla="*/ 932 h 500"/>
                  <a:gd name="T66" fmla="*/ 1975 w 369"/>
                  <a:gd name="T67" fmla="*/ 313 h 500"/>
                  <a:gd name="T68" fmla="*/ 1987 w 369"/>
                  <a:gd name="T69" fmla="*/ 0 h 500"/>
                  <a:gd name="T70" fmla="*/ 6681 w 369"/>
                  <a:gd name="T71" fmla="*/ 0 h 500"/>
                  <a:gd name="T72" fmla="*/ 7044 w 369"/>
                  <a:gd name="T73" fmla="*/ 999 h 500"/>
                  <a:gd name="T74" fmla="*/ 6952 w 369"/>
                  <a:gd name="T75" fmla="*/ 2239 h 500"/>
                  <a:gd name="T76" fmla="*/ 7263 w 369"/>
                  <a:gd name="T77" fmla="*/ 2963 h 500"/>
                  <a:gd name="T78" fmla="*/ 7458 w 369"/>
                  <a:gd name="T79" fmla="*/ 3249 h 500"/>
                  <a:gd name="T80" fmla="*/ 7642 w 369"/>
                  <a:gd name="T81" fmla="*/ 4378 h 500"/>
                  <a:gd name="T82" fmla="*/ 7753 w 369"/>
                  <a:gd name="T83" fmla="*/ 4808 h 500"/>
                  <a:gd name="T84" fmla="*/ 8570 w 369"/>
                  <a:gd name="T85" fmla="*/ 5296 h 500"/>
                  <a:gd name="T86" fmla="*/ 9015 w 369"/>
                  <a:gd name="T87" fmla="*/ 5770 h 500"/>
                  <a:gd name="T88" fmla="*/ 9015 w 369"/>
                  <a:gd name="T89" fmla="*/ 6052 h 500"/>
                  <a:gd name="T90" fmla="*/ 8670 w 369"/>
                  <a:gd name="T91" fmla="*/ 7438 h 500"/>
                  <a:gd name="T92" fmla="*/ 8536 w 369"/>
                  <a:gd name="T93" fmla="*/ 7561 h 500"/>
                  <a:gd name="T94" fmla="*/ 8670 w 369"/>
                  <a:gd name="T95" fmla="*/ 7868 h 500"/>
                  <a:gd name="T96" fmla="*/ 8292 w 369"/>
                  <a:gd name="T97" fmla="*/ 8352 h 500"/>
                  <a:gd name="T98" fmla="*/ 7753 w 369"/>
                  <a:gd name="T99" fmla="*/ 8579 h 500"/>
                  <a:gd name="T100" fmla="*/ 7753 w 369"/>
                  <a:gd name="T101" fmla="*/ 8780 h 500"/>
                  <a:gd name="T102" fmla="*/ 7044 w 369"/>
                  <a:gd name="T103" fmla="*/ 9701 h 500"/>
                  <a:gd name="T104" fmla="*/ 6563 w 369"/>
                  <a:gd name="T105" fmla="*/ 9892 h 500"/>
                  <a:gd name="T106" fmla="*/ 6465 w 369"/>
                  <a:gd name="T107" fmla="*/ 10395 h 500"/>
                  <a:gd name="T108" fmla="*/ 5996 w 369"/>
                  <a:gd name="T109" fmla="*/ 10395 h 500"/>
                  <a:gd name="T110" fmla="*/ 5723 w 369"/>
                  <a:gd name="T111" fmla="*/ 10560 h 500"/>
                  <a:gd name="T112" fmla="*/ 5253 w 369"/>
                  <a:gd name="T113" fmla="*/ 10701 h 500"/>
                  <a:gd name="T114" fmla="*/ 4582 w 369"/>
                  <a:gd name="T115" fmla="*/ 10666 h 500"/>
                  <a:gd name="T116" fmla="*/ 4099 w 369"/>
                  <a:gd name="T117" fmla="*/ 11007 h 500"/>
                  <a:gd name="T118" fmla="*/ 3501 w 369"/>
                  <a:gd name="T119" fmla="*/ 11307 h 500"/>
                  <a:gd name="T120" fmla="*/ 2951 w 369"/>
                  <a:gd name="T121" fmla="*/ 11433 h 500"/>
                  <a:gd name="T122" fmla="*/ 2526 w 369"/>
                  <a:gd name="T123" fmla="*/ 11744 h 500"/>
                  <a:gd name="T124" fmla="*/ 2056 w 369"/>
                  <a:gd name="T125" fmla="*/ 11983 h 50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69"/>
                  <a:gd name="T190" fmla="*/ 0 h 500"/>
                  <a:gd name="T191" fmla="*/ 369 w 369"/>
                  <a:gd name="T192" fmla="*/ 500 h 50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69" h="500">
                    <a:moveTo>
                      <a:pt x="84" y="500"/>
                    </a:moveTo>
                    <a:lnTo>
                      <a:pt x="81" y="475"/>
                    </a:lnTo>
                    <a:lnTo>
                      <a:pt x="67" y="463"/>
                    </a:lnTo>
                    <a:lnTo>
                      <a:pt x="57" y="457"/>
                    </a:lnTo>
                    <a:lnTo>
                      <a:pt x="40" y="451"/>
                    </a:lnTo>
                    <a:lnTo>
                      <a:pt x="26" y="451"/>
                    </a:lnTo>
                    <a:lnTo>
                      <a:pt x="20" y="439"/>
                    </a:lnTo>
                    <a:lnTo>
                      <a:pt x="26" y="392"/>
                    </a:lnTo>
                    <a:lnTo>
                      <a:pt x="24" y="365"/>
                    </a:lnTo>
                    <a:lnTo>
                      <a:pt x="13" y="353"/>
                    </a:lnTo>
                    <a:lnTo>
                      <a:pt x="7" y="347"/>
                    </a:lnTo>
                    <a:lnTo>
                      <a:pt x="10" y="322"/>
                    </a:lnTo>
                    <a:lnTo>
                      <a:pt x="7" y="306"/>
                    </a:lnTo>
                    <a:lnTo>
                      <a:pt x="0" y="295"/>
                    </a:lnTo>
                    <a:lnTo>
                      <a:pt x="10" y="268"/>
                    </a:lnTo>
                    <a:lnTo>
                      <a:pt x="20" y="268"/>
                    </a:lnTo>
                    <a:lnTo>
                      <a:pt x="26" y="262"/>
                    </a:lnTo>
                    <a:lnTo>
                      <a:pt x="30" y="243"/>
                    </a:lnTo>
                    <a:lnTo>
                      <a:pt x="50" y="228"/>
                    </a:lnTo>
                    <a:lnTo>
                      <a:pt x="70" y="212"/>
                    </a:lnTo>
                    <a:lnTo>
                      <a:pt x="74" y="194"/>
                    </a:lnTo>
                    <a:lnTo>
                      <a:pt x="97" y="176"/>
                    </a:lnTo>
                    <a:lnTo>
                      <a:pt x="121" y="154"/>
                    </a:lnTo>
                    <a:lnTo>
                      <a:pt x="117" y="145"/>
                    </a:lnTo>
                    <a:lnTo>
                      <a:pt x="117" y="133"/>
                    </a:lnTo>
                    <a:lnTo>
                      <a:pt x="134" y="124"/>
                    </a:lnTo>
                    <a:lnTo>
                      <a:pt x="141" y="120"/>
                    </a:lnTo>
                    <a:lnTo>
                      <a:pt x="137" y="102"/>
                    </a:lnTo>
                    <a:lnTo>
                      <a:pt x="137" y="84"/>
                    </a:lnTo>
                    <a:lnTo>
                      <a:pt x="131" y="81"/>
                    </a:lnTo>
                    <a:lnTo>
                      <a:pt x="121" y="84"/>
                    </a:lnTo>
                    <a:lnTo>
                      <a:pt x="111" y="71"/>
                    </a:lnTo>
                    <a:lnTo>
                      <a:pt x="101" y="38"/>
                    </a:lnTo>
                    <a:lnTo>
                      <a:pt x="81" y="13"/>
                    </a:lnTo>
                    <a:lnTo>
                      <a:pt x="82" y="0"/>
                    </a:lnTo>
                    <a:lnTo>
                      <a:pt x="272" y="0"/>
                    </a:lnTo>
                    <a:lnTo>
                      <a:pt x="288" y="43"/>
                    </a:lnTo>
                    <a:lnTo>
                      <a:pt x="285" y="93"/>
                    </a:lnTo>
                    <a:lnTo>
                      <a:pt x="298" y="124"/>
                    </a:lnTo>
                    <a:lnTo>
                      <a:pt x="306" y="136"/>
                    </a:lnTo>
                    <a:lnTo>
                      <a:pt x="312" y="182"/>
                    </a:lnTo>
                    <a:lnTo>
                      <a:pt x="318" y="201"/>
                    </a:lnTo>
                    <a:lnTo>
                      <a:pt x="352" y="221"/>
                    </a:lnTo>
                    <a:lnTo>
                      <a:pt x="369" y="240"/>
                    </a:lnTo>
                    <a:lnTo>
                      <a:pt x="369" y="253"/>
                    </a:lnTo>
                    <a:lnTo>
                      <a:pt x="355" y="310"/>
                    </a:lnTo>
                    <a:lnTo>
                      <a:pt x="349" y="316"/>
                    </a:lnTo>
                    <a:lnTo>
                      <a:pt x="355" y="328"/>
                    </a:lnTo>
                    <a:lnTo>
                      <a:pt x="339" y="349"/>
                    </a:lnTo>
                    <a:lnTo>
                      <a:pt x="318" y="359"/>
                    </a:lnTo>
                    <a:lnTo>
                      <a:pt x="318" y="368"/>
                    </a:lnTo>
                    <a:lnTo>
                      <a:pt x="288" y="405"/>
                    </a:lnTo>
                    <a:lnTo>
                      <a:pt x="268" y="414"/>
                    </a:lnTo>
                    <a:lnTo>
                      <a:pt x="265" y="435"/>
                    </a:lnTo>
                    <a:lnTo>
                      <a:pt x="245" y="435"/>
                    </a:lnTo>
                    <a:lnTo>
                      <a:pt x="235" y="442"/>
                    </a:lnTo>
                    <a:lnTo>
                      <a:pt x="215" y="448"/>
                    </a:lnTo>
                    <a:lnTo>
                      <a:pt x="188" y="445"/>
                    </a:lnTo>
                    <a:lnTo>
                      <a:pt x="168" y="460"/>
                    </a:lnTo>
                    <a:lnTo>
                      <a:pt x="144" y="473"/>
                    </a:lnTo>
                    <a:lnTo>
                      <a:pt x="121" y="478"/>
                    </a:lnTo>
                    <a:lnTo>
                      <a:pt x="103" y="491"/>
                    </a:lnTo>
                    <a:lnTo>
                      <a:pt x="84" y="5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10" name="Freeform 74"/>
              <p:cNvSpPr>
                <a:spLocks noChangeAspect="1"/>
              </p:cNvSpPr>
              <p:nvPr/>
            </p:nvSpPr>
            <p:spPr bwMode="gray">
              <a:xfrm>
                <a:off x="3953" y="1078"/>
                <a:ext cx="15" cy="45"/>
              </a:xfrm>
              <a:custGeom>
                <a:avLst/>
                <a:gdLst>
                  <a:gd name="T0" fmla="*/ 8 w 16"/>
                  <a:gd name="T1" fmla="*/ 0 h 45"/>
                  <a:gd name="T2" fmla="*/ 0 w 16"/>
                  <a:gd name="T3" fmla="*/ 9 h 45"/>
                  <a:gd name="T4" fmla="*/ 0 w 16"/>
                  <a:gd name="T5" fmla="*/ 45 h 45"/>
                  <a:gd name="T6" fmla="*/ 8 w 16"/>
                  <a:gd name="T7" fmla="*/ 28 h 45"/>
                  <a:gd name="T8" fmla="*/ 8 w 16"/>
                  <a:gd name="T9" fmla="*/ 9 h 45"/>
                  <a:gd name="T10" fmla="*/ 5 w 16"/>
                  <a:gd name="T11" fmla="*/ 8 h 45"/>
                  <a:gd name="T12" fmla="*/ 8 w 16"/>
                  <a:gd name="T13" fmla="*/ 0 h 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"/>
                  <a:gd name="T22" fmla="*/ 0 h 45"/>
                  <a:gd name="T23" fmla="*/ 16 w 16"/>
                  <a:gd name="T24" fmla="*/ 45 h 4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" h="45">
                    <a:moveTo>
                      <a:pt x="16" y="0"/>
                    </a:moveTo>
                    <a:lnTo>
                      <a:pt x="0" y="9"/>
                    </a:lnTo>
                    <a:lnTo>
                      <a:pt x="0" y="45"/>
                    </a:lnTo>
                    <a:lnTo>
                      <a:pt x="8" y="28"/>
                    </a:lnTo>
                    <a:lnTo>
                      <a:pt x="11" y="9"/>
                    </a:lnTo>
                    <a:lnTo>
                      <a:pt x="5" y="8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11" name="Freeform 75"/>
              <p:cNvSpPr>
                <a:spLocks noChangeAspect="1"/>
              </p:cNvSpPr>
              <p:nvPr/>
            </p:nvSpPr>
            <p:spPr bwMode="gray">
              <a:xfrm>
                <a:off x="3978" y="1143"/>
                <a:ext cx="19" cy="26"/>
              </a:xfrm>
              <a:custGeom>
                <a:avLst/>
                <a:gdLst>
                  <a:gd name="T0" fmla="*/ 4 w 19"/>
                  <a:gd name="T1" fmla="*/ 0 h 26"/>
                  <a:gd name="T2" fmla="*/ 0 w 19"/>
                  <a:gd name="T3" fmla="*/ 7 h 26"/>
                  <a:gd name="T4" fmla="*/ 6 w 19"/>
                  <a:gd name="T5" fmla="*/ 26 h 26"/>
                  <a:gd name="T6" fmla="*/ 17 w 19"/>
                  <a:gd name="T7" fmla="*/ 20 h 26"/>
                  <a:gd name="T8" fmla="*/ 19 w 19"/>
                  <a:gd name="T9" fmla="*/ 11 h 26"/>
                  <a:gd name="T10" fmla="*/ 4 w 19"/>
                  <a:gd name="T11" fmla="*/ 0 h 2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26"/>
                  <a:gd name="T20" fmla="*/ 19 w 19"/>
                  <a:gd name="T21" fmla="*/ 26 h 2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26">
                    <a:moveTo>
                      <a:pt x="4" y="0"/>
                    </a:moveTo>
                    <a:lnTo>
                      <a:pt x="0" y="7"/>
                    </a:lnTo>
                    <a:lnTo>
                      <a:pt x="6" y="26"/>
                    </a:lnTo>
                    <a:lnTo>
                      <a:pt x="17" y="20"/>
                    </a:lnTo>
                    <a:lnTo>
                      <a:pt x="19" y="11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12" name="Freeform 76"/>
              <p:cNvSpPr>
                <a:spLocks noChangeAspect="1"/>
              </p:cNvSpPr>
              <p:nvPr/>
            </p:nvSpPr>
            <p:spPr bwMode="gray">
              <a:xfrm>
                <a:off x="3872" y="1140"/>
                <a:ext cx="42" cy="39"/>
              </a:xfrm>
              <a:custGeom>
                <a:avLst/>
                <a:gdLst>
                  <a:gd name="T0" fmla="*/ 66 w 41"/>
                  <a:gd name="T1" fmla="*/ 17 h 39"/>
                  <a:gd name="T2" fmla="*/ 55 w 41"/>
                  <a:gd name="T3" fmla="*/ 17 h 39"/>
                  <a:gd name="T4" fmla="*/ 44 w 41"/>
                  <a:gd name="T5" fmla="*/ 0 h 39"/>
                  <a:gd name="T6" fmla="*/ 13 w 41"/>
                  <a:gd name="T7" fmla="*/ 11 h 39"/>
                  <a:gd name="T8" fmla="*/ 2 w 41"/>
                  <a:gd name="T9" fmla="*/ 7 h 39"/>
                  <a:gd name="T10" fmla="*/ 0 w 41"/>
                  <a:gd name="T11" fmla="*/ 17 h 39"/>
                  <a:gd name="T12" fmla="*/ 6 w 41"/>
                  <a:gd name="T13" fmla="*/ 24 h 39"/>
                  <a:gd name="T14" fmla="*/ 6 w 41"/>
                  <a:gd name="T15" fmla="*/ 32 h 39"/>
                  <a:gd name="T16" fmla="*/ 13 w 41"/>
                  <a:gd name="T17" fmla="*/ 39 h 39"/>
                  <a:gd name="T18" fmla="*/ 44 w 41"/>
                  <a:gd name="T19" fmla="*/ 33 h 39"/>
                  <a:gd name="T20" fmla="*/ 58 w 41"/>
                  <a:gd name="T21" fmla="*/ 37 h 39"/>
                  <a:gd name="T22" fmla="*/ 66 w 41"/>
                  <a:gd name="T23" fmla="*/ 17 h 3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1"/>
                  <a:gd name="T37" fmla="*/ 0 h 39"/>
                  <a:gd name="T38" fmla="*/ 41 w 41"/>
                  <a:gd name="T39" fmla="*/ 39 h 3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1" h="39">
                    <a:moveTo>
                      <a:pt x="41" y="17"/>
                    </a:moveTo>
                    <a:lnTo>
                      <a:pt x="32" y="17"/>
                    </a:lnTo>
                    <a:lnTo>
                      <a:pt x="21" y="0"/>
                    </a:lnTo>
                    <a:lnTo>
                      <a:pt x="13" y="11"/>
                    </a:lnTo>
                    <a:lnTo>
                      <a:pt x="2" y="7"/>
                    </a:lnTo>
                    <a:lnTo>
                      <a:pt x="0" y="17"/>
                    </a:lnTo>
                    <a:lnTo>
                      <a:pt x="6" y="24"/>
                    </a:lnTo>
                    <a:lnTo>
                      <a:pt x="6" y="32"/>
                    </a:lnTo>
                    <a:lnTo>
                      <a:pt x="13" y="39"/>
                    </a:lnTo>
                    <a:lnTo>
                      <a:pt x="21" y="33"/>
                    </a:lnTo>
                    <a:lnTo>
                      <a:pt x="35" y="37"/>
                    </a:lnTo>
                    <a:lnTo>
                      <a:pt x="41" y="17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13" name="Freeform 77"/>
              <p:cNvSpPr>
                <a:spLocks noChangeAspect="1"/>
              </p:cNvSpPr>
              <p:nvPr/>
            </p:nvSpPr>
            <p:spPr bwMode="gray">
              <a:xfrm>
                <a:off x="3968" y="1238"/>
                <a:ext cx="60" cy="41"/>
              </a:xfrm>
              <a:custGeom>
                <a:avLst/>
                <a:gdLst>
                  <a:gd name="T0" fmla="*/ 7 w 58"/>
                  <a:gd name="T1" fmla="*/ 0 h 40"/>
                  <a:gd name="T2" fmla="*/ 0 w 58"/>
                  <a:gd name="T3" fmla="*/ 4 h 40"/>
                  <a:gd name="T4" fmla="*/ 44 w 58"/>
                  <a:gd name="T5" fmla="*/ 47 h 40"/>
                  <a:gd name="T6" fmla="*/ 58 w 58"/>
                  <a:gd name="T7" fmla="*/ 47 h 40"/>
                  <a:gd name="T8" fmla="*/ 111 w 58"/>
                  <a:gd name="T9" fmla="*/ 65 h 40"/>
                  <a:gd name="T10" fmla="*/ 124 w 58"/>
                  <a:gd name="T11" fmla="*/ 56 h 40"/>
                  <a:gd name="T12" fmla="*/ 112 w 58"/>
                  <a:gd name="T13" fmla="*/ 16 h 40"/>
                  <a:gd name="T14" fmla="*/ 111 w 58"/>
                  <a:gd name="T15" fmla="*/ 7 h 40"/>
                  <a:gd name="T16" fmla="*/ 70 w 58"/>
                  <a:gd name="T17" fmla="*/ 7 h 40"/>
                  <a:gd name="T18" fmla="*/ 44 w 58"/>
                  <a:gd name="T19" fmla="*/ 0 h 40"/>
                  <a:gd name="T20" fmla="*/ 7 w 58"/>
                  <a:gd name="T21" fmla="*/ 0 h 4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8"/>
                  <a:gd name="T34" fmla="*/ 0 h 40"/>
                  <a:gd name="T35" fmla="*/ 58 w 58"/>
                  <a:gd name="T36" fmla="*/ 40 h 4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8" h="40">
                    <a:moveTo>
                      <a:pt x="7" y="0"/>
                    </a:moveTo>
                    <a:lnTo>
                      <a:pt x="0" y="4"/>
                    </a:lnTo>
                    <a:lnTo>
                      <a:pt x="21" y="24"/>
                    </a:lnTo>
                    <a:lnTo>
                      <a:pt x="28" y="24"/>
                    </a:lnTo>
                    <a:lnTo>
                      <a:pt x="51" y="40"/>
                    </a:lnTo>
                    <a:lnTo>
                      <a:pt x="58" y="33"/>
                    </a:lnTo>
                    <a:lnTo>
                      <a:pt x="52" y="16"/>
                    </a:lnTo>
                    <a:lnTo>
                      <a:pt x="51" y="7"/>
                    </a:lnTo>
                    <a:lnTo>
                      <a:pt x="34" y="7"/>
                    </a:lnTo>
                    <a:lnTo>
                      <a:pt x="21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14" name="Freeform 78"/>
              <p:cNvSpPr>
                <a:spLocks noChangeAspect="1"/>
              </p:cNvSpPr>
              <p:nvPr/>
            </p:nvSpPr>
            <p:spPr bwMode="gray">
              <a:xfrm>
                <a:off x="3845" y="1262"/>
                <a:ext cx="38" cy="61"/>
              </a:xfrm>
              <a:custGeom>
                <a:avLst/>
                <a:gdLst>
                  <a:gd name="T0" fmla="*/ 56 w 37"/>
                  <a:gd name="T1" fmla="*/ 0 h 59"/>
                  <a:gd name="T2" fmla="*/ 64 w 37"/>
                  <a:gd name="T3" fmla="*/ 11 h 59"/>
                  <a:gd name="T4" fmla="*/ 42 w 37"/>
                  <a:gd name="T5" fmla="*/ 81 h 59"/>
                  <a:gd name="T6" fmla="*/ 43 w 37"/>
                  <a:gd name="T7" fmla="*/ 104 h 59"/>
                  <a:gd name="T8" fmla="*/ 9 w 37"/>
                  <a:gd name="T9" fmla="*/ 125 h 59"/>
                  <a:gd name="T10" fmla="*/ 0 w 37"/>
                  <a:gd name="T11" fmla="*/ 108 h 59"/>
                  <a:gd name="T12" fmla="*/ 4 w 37"/>
                  <a:gd name="T13" fmla="*/ 90 h 59"/>
                  <a:gd name="T14" fmla="*/ 6 w 37"/>
                  <a:gd name="T15" fmla="*/ 49 h 59"/>
                  <a:gd name="T16" fmla="*/ 15 w 37"/>
                  <a:gd name="T17" fmla="*/ 13 h 59"/>
                  <a:gd name="T18" fmla="*/ 4 w 37"/>
                  <a:gd name="T19" fmla="*/ 4 h 59"/>
                  <a:gd name="T20" fmla="*/ 11 w 37"/>
                  <a:gd name="T21" fmla="*/ 0 h 59"/>
                  <a:gd name="T22" fmla="*/ 45 w 37"/>
                  <a:gd name="T23" fmla="*/ 6 h 59"/>
                  <a:gd name="T24" fmla="*/ 56 w 37"/>
                  <a:gd name="T25" fmla="*/ 0 h 5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7"/>
                  <a:gd name="T40" fmla="*/ 0 h 59"/>
                  <a:gd name="T41" fmla="*/ 37 w 37"/>
                  <a:gd name="T42" fmla="*/ 59 h 5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7" h="59">
                    <a:moveTo>
                      <a:pt x="33" y="0"/>
                    </a:moveTo>
                    <a:lnTo>
                      <a:pt x="37" y="11"/>
                    </a:lnTo>
                    <a:lnTo>
                      <a:pt x="19" y="39"/>
                    </a:lnTo>
                    <a:lnTo>
                      <a:pt x="20" y="48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4" y="42"/>
                    </a:lnTo>
                    <a:lnTo>
                      <a:pt x="6" y="24"/>
                    </a:lnTo>
                    <a:lnTo>
                      <a:pt x="15" y="13"/>
                    </a:lnTo>
                    <a:lnTo>
                      <a:pt x="4" y="4"/>
                    </a:lnTo>
                    <a:lnTo>
                      <a:pt x="11" y="0"/>
                    </a:lnTo>
                    <a:lnTo>
                      <a:pt x="22" y="6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15" name="Freeform 79"/>
              <p:cNvSpPr>
                <a:spLocks noChangeAspect="1"/>
              </p:cNvSpPr>
              <p:nvPr/>
            </p:nvSpPr>
            <p:spPr bwMode="gray">
              <a:xfrm>
                <a:off x="3863" y="1300"/>
                <a:ext cx="32" cy="57"/>
              </a:xfrm>
              <a:custGeom>
                <a:avLst/>
                <a:gdLst>
                  <a:gd name="T0" fmla="*/ 28 w 32"/>
                  <a:gd name="T1" fmla="*/ 0 h 55"/>
                  <a:gd name="T2" fmla="*/ 21 w 32"/>
                  <a:gd name="T3" fmla="*/ 0 h 55"/>
                  <a:gd name="T4" fmla="*/ 21 w 32"/>
                  <a:gd name="T5" fmla="*/ 4 h 55"/>
                  <a:gd name="T6" fmla="*/ 21 w 32"/>
                  <a:gd name="T7" fmla="*/ 7 h 55"/>
                  <a:gd name="T8" fmla="*/ 21 w 32"/>
                  <a:gd name="T9" fmla="*/ 11 h 55"/>
                  <a:gd name="T10" fmla="*/ 15 w 32"/>
                  <a:gd name="T11" fmla="*/ 46 h 55"/>
                  <a:gd name="T12" fmla="*/ 6 w 32"/>
                  <a:gd name="T13" fmla="*/ 64 h 55"/>
                  <a:gd name="T14" fmla="*/ 8 w 32"/>
                  <a:gd name="T15" fmla="*/ 82 h 55"/>
                  <a:gd name="T16" fmla="*/ 0 w 32"/>
                  <a:gd name="T17" fmla="*/ 111 h 55"/>
                  <a:gd name="T18" fmla="*/ 8 w 32"/>
                  <a:gd name="T19" fmla="*/ 123 h 55"/>
                  <a:gd name="T20" fmla="*/ 28 w 32"/>
                  <a:gd name="T21" fmla="*/ 56 h 55"/>
                  <a:gd name="T22" fmla="*/ 28 w 32"/>
                  <a:gd name="T23" fmla="*/ 42 h 55"/>
                  <a:gd name="T24" fmla="*/ 32 w 32"/>
                  <a:gd name="T25" fmla="*/ 11 h 55"/>
                  <a:gd name="T26" fmla="*/ 28 w 32"/>
                  <a:gd name="T27" fmla="*/ 0 h 5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2"/>
                  <a:gd name="T43" fmla="*/ 0 h 55"/>
                  <a:gd name="T44" fmla="*/ 32 w 32"/>
                  <a:gd name="T45" fmla="*/ 55 h 5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2" h="55">
                    <a:moveTo>
                      <a:pt x="28" y="0"/>
                    </a:moveTo>
                    <a:lnTo>
                      <a:pt x="21" y="0"/>
                    </a:lnTo>
                    <a:lnTo>
                      <a:pt x="21" y="4"/>
                    </a:lnTo>
                    <a:lnTo>
                      <a:pt x="21" y="7"/>
                    </a:lnTo>
                    <a:lnTo>
                      <a:pt x="21" y="11"/>
                    </a:lnTo>
                    <a:lnTo>
                      <a:pt x="15" y="21"/>
                    </a:lnTo>
                    <a:lnTo>
                      <a:pt x="6" y="30"/>
                    </a:lnTo>
                    <a:lnTo>
                      <a:pt x="8" y="37"/>
                    </a:lnTo>
                    <a:lnTo>
                      <a:pt x="0" y="49"/>
                    </a:lnTo>
                    <a:lnTo>
                      <a:pt x="8" y="55"/>
                    </a:lnTo>
                    <a:lnTo>
                      <a:pt x="28" y="26"/>
                    </a:lnTo>
                    <a:lnTo>
                      <a:pt x="28" y="19"/>
                    </a:lnTo>
                    <a:lnTo>
                      <a:pt x="32" y="11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16" name="Freeform 80"/>
              <p:cNvSpPr>
                <a:spLocks noChangeAspect="1"/>
              </p:cNvSpPr>
              <p:nvPr/>
            </p:nvSpPr>
            <p:spPr bwMode="gray">
              <a:xfrm>
                <a:off x="3759" y="1369"/>
                <a:ext cx="45" cy="81"/>
              </a:xfrm>
              <a:custGeom>
                <a:avLst/>
                <a:gdLst>
                  <a:gd name="T0" fmla="*/ 52 w 44"/>
                  <a:gd name="T1" fmla="*/ 2 h 79"/>
                  <a:gd name="T2" fmla="*/ 48 w 44"/>
                  <a:gd name="T3" fmla="*/ 4 h 79"/>
                  <a:gd name="T4" fmla="*/ 17 w 44"/>
                  <a:gd name="T5" fmla="*/ 0 h 79"/>
                  <a:gd name="T6" fmla="*/ 4 w 44"/>
                  <a:gd name="T7" fmla="*/ 2 h 79"/>
                  <a:gd name="T8" fmla="*/ 4 w 44"/>
                  <a:gd name="T9" fmla="*/ 43 h 79"/>
                  <a:gd name="T10" fmla="*/ 11 w 44"/>
                  <a:gd name="T11" fmla="*/ 45 h 79"/>
                  <a:gd name="T12" fmla="*/ 11 w 44"/>
                  <a:gd name="T13" fmla="*/ 15 h 79"/>
                  <a:gd name="T14" fmla="*/ 46 w 44"/>
                  <a:gd name="T15" fmla="*/ 51 h 79"/>
                  <a:gd name="T16" fmla="*/ 19 w 44"/>
                  <a:gd name="T17" fmla="*/ 64 h 79"/>
                  <a:gd name="T18" fmla="*/ 10 w 44"/>
                  <a:gd name="T19" fmla="*/ 78 h 79"/>
                  <a:gd name="T20" fmla="*/ 6 w 44"/>
                  <a:gd name="T21" fmla="*/ 112 h 79"/>
                  <a:gd name="T22" fmla="*/ 0 w 44"/>
                  <a:gd name="T23" fmla="*/ 124 h 79"/>
                  <a:gd name="T24" fmla="*/ 8 w 44"/>
                  <a:gd name="T25" fmla="*/ 138 h 79"/>
                  <a:gd name="T26" fmla="*/ 54 w 44"/>
                  <a:gd name="T27" fmla="*/ 115 h 79"/>
                  <a:gd name="T28" fmla="*/ 46 w 44"/>
                  <a:gd name="T29" fmla="*/ 92 h 79"/>
                  <a:gd name="T30" fmla="*/ 52 w 44"/>
                  <a:gd name="T31" fmla="*/ 58 h 79"/>
                  <a:gd name="T32" fmla="*/ 65 w 44"/>
                  <a:gd name="T33" fmla="*/ 49 h 79"/>
                  <a:gd name="T34" fmla="*/ 68 w 44"/>
                  <a:gd name="T35" fmla="*/ 13 h 79"/>
                  <a:gd name="T36" fmla="*/ 52 w 44"/>
                  <a:gd name="T37" fmla="*/ 2 h 7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4"/>
                  <a:gd name="T58" fmla="*/ 0 h 79"/>
                  <a:gd name="T59" fmla="*/ 44 w 44"/>
                  <a:gd name="T60" fmla="*/ 79 h 79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4" h="79">
                    <a:moveTo>
                      <a:pt x="29" y="2"/>
                    </a:moveTo>
                    <a:lnTo>
                      <a:pt x="25" y="4"/>
                    </a:lnTo>
                    <a:lnTo>
                      <a:pt x="17" y="0"/>
                    </a:lnTo>
                    <a:lnTo>
                      <a:pt x="4" y="2"/>
                    </a:lnTo>
                    <a:lnTo>
                      <a:pt x="4" y="20"/>
                    </a:lnTo>
                    <a:lnTo>
                      <a:pt x="11" y="22"/>
                    </a:lnTo>
                    <a:lnTo>
                      <a:pt x="11" y="15"/>
                    </a:lnTo>
                    <a:lnTo>
                      <a:pt x="23" y="28"/>
                    </a:lnTo>
                    <a:lnTo>
                      <a:pt x="19" y="39"/>
                    </a:lnTo>
                    <a:lnTo>
                      <a:pt x="10" y="46"/>
                    </a:lnTo>
                    <a:lnTo>
                      <a:pt x="6" y="62"/>
                    </a:lnTo>
                    <a:lnTo>
                      <a:pt x="0" y="70"/>
                    </a:lnTo>
                    <a:lnTo>
                      <a:pt x="8" y="79"/>
                    </a:lnTo>
                    <a:lnTo>
                      <a:pt x="31" y="64"/>
                    </a:lnTo>
                    <a:lnTo>
                      <a:pt x="23" y="53"/>
                    </a:lnTo>
                    <a:lnTo>
                      <a:pt x="29" y="35"/>
                    </a:lnTo>
                    <a:lnTo>
                      <a:pt x="42" y="26"/>
                    </a:lnTo>
                    <a:lnTo>
                      <a:pt x="44" y="13"/>
                    </a:lnTo>
                    <a:lnTo>
                      <a:pt x="29" y="2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17" name="Freeform 81"/>
              <p:cNvSpPr>
                <a:spLocks noChangeAspect="1"/>
              </p:cNvSpPr>
              <p:nvPr/>
            </p:nvSpPr>
            <p:spPr bwMode="gray">
              <a:xfrm>
                <a:off x="3785" y="1413"/>
                <a:ext cx="29" cy="49"/>
              </a:xfrm>
              <a:custGeom>
                <a:avLst/>
                <a:gdLst>
                  <a:gd name="T0" fmla="*/ 83 w 27"/>
                  <a:gd name="T1" fmla="*/ 0 h 47"/>
                  <a:gd name="T2" fmla="*/ 137 w 27"/>
                  <a:gd name="T3" fmla="*/ 11 h 47"/>
                  <a:gd name="T4" fmla="*/ 111 w 27"/>
                  <a:gd name="T5" fmla="*/ 56 h 47"/>
                  <a:gd name="T6" fmla="*/ 96 w 27"/>
                  <a:gd name="T7" fmla="*/ 88 h 47"/>
                  <a:gd name="T8" fmla="*/ 6 w 27"/>
                  <a:gd name="T9" fmla="*/ 122 h 47"/>
                  <a:gd name="T10" fmla="*/ 0 w 27"/>
                  <a:gd name="T11" fmla="*/ 100 h 47"/>
                  <a:gd name="T12" fmla="*/ 6 w 27"/>
                  <a:gd name="T13" fmla="*/ 52 h 47"/>
                  <a:gd name="T14" fmla="*/ 83 w 27"/>
                  <a:gd name="T15" fmla="*/ 0 h 4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"/>
                  <a:gd name="T25" fmla="*/ 0 h 47"/>
                  <a:gd name="T26" fmla="*/ 27 w 27"/>
                  <a:gd name="T27" fmla="*/ 47 h 4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" h="47">
                    <a:moveTo>
                      <a:pt x="17" y="0"/>
                    </a:moveTo>
                    <a:lnTo>
                      <a:pt x="27" y="11"/>
                    </a:lnTo>
                    <a:lnTo>
                      <a:pt x="21" y="23"/>
                    </a:lnTo>
                    <a:lnTo>
                      <a:pt x="19" y="34"/>
                    </a:lnTo>
                    <a:lnTo>
                      <a:pt x="6" y="47"/>
                    </a:lnTo>
                    <a:lnTo>
                      <a:pt x="0" y="38"/>
                    </a:lnTo>
                    <a:lnTo>
                      <a:pt x="6" y="21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18" name="Freeform 82"/>
              <p:cNvSpPr>
                <a:spLocks noChangeAspect="1"/>
              </p:cNvSpPr>
              <p:nvPr/>
            </p:nvSpPr>
            <p:spPr bwMode="gray">
              <a:xfrm>
                <a:off x="3834" y="1369"/>
                <a:ext cx="29" cy="71"/>
              </a:xfrm>
              <a:custGeom>
                <a:avLst/>
                <a:gdLst>
                  <a:gd name="T0" fmla="*/ 13 w 28"/>
                  <a:gd name="T1" fmla="*/ 0 h 70"/>
                  <a:gd name="T2" fmla="*/ 56 w 28"/>
                  <a:gd name="T3" fmla="*/ 13 h 70"/>
                  <a:gd name="T4" fmla="*/ 52 w 28"/>
                  <a:gd name="T5" fmla="*/ 22 h 70"/>
                  <a:gd name="T6" fmla="*/ 42 w 28"/>
                  <a:gd name="T7" fmla="*/ 29 h 70"/>
                  <a:gd name="T8" fmla="*/ 56 w 28"/>
                  <a:gd name="T9" fmla="*/ 71 h 70"/>
                  <a:gd name="T10" fmla="*/ 60 w 28"/>
                  <a:gd name="T11" fmla="*/ 80 h 70"/>
                  <a:gd name="T12" fmla="*/ 46 w 28"/>
                  <a:gd name="T13" fmla="*/ 91 h 70"/>
                  <a:gd name="T14" fmla="*/ 9 w 28"/>
                  <a:gd name="T15" fmla="*/ 93 h 70"/>
                  <a:gd name="T16" fmla="*/ 0 w 28"/>
                  <a:gd name="T17" fmla="*/ 78 h 70"/>
                  <a:gd name="T18" fmla="*/ 6 w 28"/>
                  <a:gd name="T19" fmla="*/ 65 h 70"/>
                  <a:gd name="T20" fmla="*/ 13 w 28"/>
                  <a:gd name="T21" fmla="*/ 29 h 70"/>
                  <a:gd name="T22" fmla="*/ 13 w 28"/>
                  <a:gd name="T23" fmla="*/ 15 h 70"/>
                  <a:gd name="T24" fmla="*/ 13 w 28"/>
                  <a:gd name="T25" fmla="*/ 0 h 7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8"/>
                  <a:gd name="T40" fmla="*/ 0 h 70"/>
                  <a:gd name="T41" fmla="*/ 28 w 28"/>
                  <a:gd name="T42" fmla="*/ 70 h 7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8" h="70">
                    <a:moveTo>
                      <a:pt x="13" y="0"/>
                    </a:moveTo>
                    <a:lnTo>
                      <a:pt x="26" y="13"/>
                    </a:lnTo>
                    <a:lnTo>
                      <a:pt x="24" y="22"/>
                    </a:lnTo>
                    <a:lnTo>
                      <a:pt x="19" y="29"/>
                    </a:lnTo>
                    <a:lnTo>
                      <a:pt x="26" y="48"/>
                    </a:lnTo>
                    <a:lnTo>
                      <a:pt x="28" y="57"/>
                    </a:lnTo>
                    <a:lnTo>
                      <a:pt x="21" y="68"/>
                    </a:lnTo>
                    <a:lnTo>
                      <a:pt x="9" y="70"/>
                    </a:lnTo>
                    <a:lnTo>
                      <a:pt x="0" y="55"/>
                    </a:lnTo>
                    <a:lnTo>
                      <a:pt x="6" y="42"/>
                    </a:lnTo>
                    <a:lnTo>
                      <a:pt x="13" y="29"/>
                    </a:lnTo>
                    <a:lnTo>
                      <a:pt x="13" y="15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19" name="Freeform 83"/>
              <p:cNvSpPr>
                <a:spLocks noChangeAspect="1"/>
              </p:cNvSpPr>
              <p:nvPr/>
            </p:nvSpPr>
            <p:spPr bwMode="gray">
              <a:xfrm>
                <a:off x="3891" y="1259"/>
                <a:ext cx="154" cy="203"/>
              </a:xfrm>
              <a:custGeom>
                <a:avLst/>
                <a:gdLst>
                  <a:gd name="T0" fmla="*/ 67 w 152"/>
                  <a:gd name="T1" fmla="*/ 2 h 199"/>
                  <a:gd name="T2" fmla="*/ 28 w 152"/>
                  <a:gd name="T3" fmla="*/ 19 h 199"/>
                  <a:gd name="T4" fmla="*/ 20 w 152"/>
                  <a:gd name="T5" fmla="*/ 7 h 199"/>
                  <a:gd name="T6" fmla="*/ 19 w 152"/>
                  <a:gd name="T7" fmla="*/ 0 h 199"/>
                  <a:gd name="T8" fmla="*/ 6 w 152"/>
                  <a:gd name="T9" fmla="*/ 2 h 199"/>
                  <a:gd name="T10" fmla="*/ 0 w 152"/>
                  <a:gd name="T11" fmla="*/ 15 h 199"/>
                  <a:gd name="T12" fmla="*/ 11 w 152"/>
                  <a:gd name="T13" fmla="*/ 54 h 199"/>
                  <a:gd name="T14" fmla="*/ 13 w 152"/>
                  <a:gd name="T15" fmla="*/ 73 h 199"/>
                  <a:gd name="T16" fmla="*/ 28 w 152"/>
                  <a:gd name="T17" fmla="*/ 119 h 199"/>
                  <a:gd name="T18" fmla="*/ 64 w 152"/>
                  <a:gd name="T19" fmla="*/ 134 h 199"/>
                  <a:gd name="T20" fmla="*/ 62 w 152"/>
                  <a:gd name="T21" fmla="*/ 146 h 199"/>
                  <a:gd name="T22" fmla="*/ 64 w 152"/>
                  <a:gd name="T23" fmla="*/ 155 h 199"/>
                  <a:gd name="T24" fmla="*/ 64 w 152"/>
                  <a:gd name="T25" fmla="*/ 168 h 199"/>
                  <a:gd name="T26" fmla="*/ 82 w 152"/>
                  <a:gd name="T27" fmla="*/ 168 h 199"/>
                  <a:gd name="T28" fmla="*/ 97 w 152"/>
                  <a:gd name="T29" fmla="*/ 203 h 199"/>
                  <a:gd name="T30" fmla="*/ 95 w 152"/>
                  <a:gd name="T31" fmla="*/ 207 h 199"/>
                  <a:gd name="T32" fmla="*/ 90 w 152"/>
                  <a:gd name="T33" fmla="*/ 224 h 199"/>
                  <a:gd name="T34" fmla="*/ 80 w 152"/>
                  <a:gd name="T35" fmla="*/ 223 h 199"/>
                  <a:gd name="T36" fmla="*/ 67 w 152"/>
                  <a:gd name="T37" fmla="*/ 220 h 199"/>
                  <a:gd name="T38" fmla="*/ 35 w 152"/>
                  <a:gd name="T39" fmla="*/ 230 h 199"/>
                  <a:gd name="T40" fmla="*/ 62 w 152"/>
                  <a:gd name="T41" fmla="*/ 255 h 199"/>
                  <a:gd name="T42" fmla="*/ 71 w 152"/>
                  <a:gd name="T43" fmla="*/ 288 h 199"/>
                  <a:gd name="T44" fmla="*/ 95 w 152"/>
                  <a:gd name="T45" fmla="*/ 313 h 199"/>
                  <a:gd name="T46" fmla="*/ 117 w 152"/>
                  <a:gd name="T47" fmla="*/ 292 h 199"/>
                  <a:gd name="T48" fmla="*/ 114 w 152"/>
                  <a:gd name="T49" fmla="*/ 267 h 199"/>
                  <a:gd name="T50" fmla="*/ 112 w 152"/>
                  <a:gd name="T51" fmla="*/ 249 h 199"/>
                  <a:gd name="T52" fmla="*/ 114 w 152"/>
                  <a:gd name="T53" fmla="*/ 227 h 199"/>
                  <a:gd name="T54" fmla="*/ 131 w 152"/>
                  <a:gd name="T55" fmla="*/ 230 h 199"/>
                  <a:gd name="T56" fmla="*/ 147 w 152"/>
                  <a:gd name="T57" fmla="*/ 215 h 199"/>
                  <a:gd name="T58" fmla="*/ 165 w 152"/>
                  <a:gd name="T59" fmla="*/ 212 h 199"/>
                  <a:gd name="T60" fmla="*/ 176 w 152"/>
                  <a:gd name="T61" fmla="*/ 188 h 199"/>
                  <a:gd name="T62" fmla="*/ 161 w 152"/>
                  <a:gd name="T63" fmla="*/ 164 h 199"/>
                  <a:gd name="T64" fmla="*/ 139 w 152"/>
                  <a:gd name="T65" fmla="*/ 181 h 199"/>
                  <a:gd name="T66" fmla="*/ 131 w 152"/>
                  <a:gd name="T67" fmla="*/ 188 h 199"/>
                  <a:gd name="T68" fmla="*/ 112 w 152"/>
                  <a:gd name="T69" fmla="*/ 165 h 199"/>
                  <a:gd name="T70" fmla="*/ 123 w 152"/>
                  <a:gd name="T71" fmla="*/ 152 h 199"/>
                  <a:gd name="T72" fmla="*/ 139 w 152"/>
                  <a:gd name="T73" fmla="*/ 164 h 199"/>
                  <a:gd name="T74" fmla="*/ 157 w 152"/>
                  <a:gd name="T75" fmla="*/ 146 h 199"/>
                  <a:gd name="T76" fmla="*/ 172 w 152"/>
                  <a:gd name="T77" fmla="*/ 144 h 199"/>
                  <a:gd name="T78" fmla="*/ 178 w 152"/>
                  <a:gd name="T79" fmla="*/ 168 h 199"/>
                  <a:gd name="T80" fmla="*/ 189 w 152"/>
                  <a:gd name="T81" fmla="*/ 174 h 199"/>
                  <a:gd name="T82" fmla="*/ 201 w 152"/>
                  <a:gd name="T83" fmla="*/ 158 h 199"/>
                  <a:gd name="T84" fmla="*/ 176 w 152"/>
                  <a:gd name="T85" fmla="*/ 124 h 199"/>
                  <a:gd name="T86" fmla="*/ 179 w 152"/>
                  <a:gd name="T87" fmla="*/ 109 h 199"/>
                  <a:gd name="T88" fmla="*/ 172 w 152"/>
                  <a:gd name="T89" fmla="*/ 105 h 199"/>
                  <a:gd name="T90" fmla="*/ 179 w 152"/>
                  <a:gd name="T91" fmla="*/ 73 h 199"/>
                  <a:gd name="T92" fmla="*/ 168 w 152"/>
                  <a:gd name="T93" fmla="*/ 75 h 199"/>
                  <a:gd name="T94" fmla="*/ 127 w 152"/>
                  <a:gd name="T95" fmla="*/ 93 h 199"/>
                  <a:gd name="T96" fmla="*/ 127 w 152"/>
                  <a:gd name="T97" fmla="*/ 128 h 199"/>
                  <a:gd name="T98" fmla="*/ 112 w 152"/>
                  <a:gd name="T99" fmla="*/ 122 h 199"/>
                  <a:gd name="T100" fmla="*/ 103 w 152"/>
                  <a:gd name="T101" fmla="*/ 131 h 199"/>
                  <a:gd name="T102" fmla="*/ 84 w 152"/>
                  <a:gd name="T103" fmla="*/ 126 h 199"/>
                  <a:gd name="T104" fmla="*/ 80 w 152"/>
                  <a:gd name="T105" fmla="*/ 105 h 199"/>
                  <a:gd name="T106" fmla="*/ 75 w 152"/>
                  <a:gd name="T107" fmla="*/ 75 h 199"/>
                  <a:gd name="T108" fmla="*/ 88 w 152"/>
                  <a:gd name="T109" fmla="*/ 97 h 199"/>
                  <a:gd name="T110" fmla="*/ 103 w 152"/>
                  <a:gd name="T111" fmla="*/ 83 h 199"/>
                  <a:gd name="T112" fmla="*/ 105 w 152"/>
                  <a:gd name="T113" fmla="*/ 75 h 199"/>
                  <a:gd name="T114" fmla="*/ 103 w 152"/>
                  <a:gd name="T115" fmla="*/ 64 h 199"/>
                  <a:gd name="T116" fmla="*/ 86 w 152"/>
                  <a:gd name="T117" fmla="*/ 54 h 199"/>
                  <a:gd name="T118" fmla="*/ 77 w 152"/>
                  <a:gd name="T119" fmla="*/ 51 h 199"/>
                  <a:gd name="T120" fmla="*/ 80 w 152"/>
                  <a:gd name="T121" fmla="*/ 17 h 199"/>
                  <a:gd name="T122" fmla="*/ 80 w 152"/>
                  <a:gd name="T123" fmla="*/ 6 h 199"/>
                  <a:gd name="T124" fmla="*/ 67 w 152"/>
                  <a:gd name="T125" fmla="*/ 2 h 19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52"/>
                  <a:gd name="T190" fmla="*/ 0 h 199"/>
                  <a:gd name="T191" fmla="*/ 152 w 152"/>
                  <a:gd name="T192" fmla="*/ 199 h 19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52" h="199">
                    <a:moveTo>
                      <a:pt x="44" y="2"/>
                    </a:moveTo>
                    <a:lnTo>
                      <a:pt x="28" y="19"/>
                    </a:lnTo>
                    <a:lnTo>
                      <a:pt x="20" y="7"/>
                    </a:lnTo>
                    <a:lnTo>
                      <a:pt x="19" y="0"/>
                    </a:lnTo>
                    <a:lnTo>
                      <a:pt x="6" y="2"/>
                    </a:lnTo>
                    <a:lnTo>
                      <a:pt x="0" y="15"/>
                    </a:lnTo>
                    <a:lnTo>
                      <a:pt x="11" y="31"/>
                    </a:lnTo>
                    <a:lnTo>
                      <a:pt x="13" y="50"/>
                    </a:lnTo>
                    <a:lnTo>
                      <a:pt x="28" y="74"/>
                    </a:lnTo>
                    <a:lnTo>
                      <a:pt x="41" y="85"/>
                    </a:lnTo>
                    <a:lnTo>
                      <a:pt x="39" y="93"/>
                    </a:lnTo>
                    <a:lnTo>
                      <a:pt x="41" y="99"/>
                    </a:lnTo>
                    <a:lnTo>
                      <a:pt x="41" y="108"/>
                    </a:lnTo>
                    <a:lnTo>
                      <a:pt x="59" y="108"/>
                    </a:lnTo>
                    <a:lnTo>
                      <a:pt x="74" y="127"/>
                    </a:lnTo>
                    <a:lnTo>
                      <a:pt x="72" y="130"/>
                    </a:lnTo>
                    <a:lnTo>
                      <a:pt x="67" y="143"/>
                    </a:lnTo>
                    <a:lnTo>
                      <a:pt x="57" y="142"/>
                    </a:lnTo>
                    <a:lnTo>
                      <a:pt x="44" y="140"/>
                    </a:lnTo>
                    <a:lnTo>
                      <a:pt x="35" y="147"/>
                    </a:lnTo>
                    <a:lnTo>
                      <a:pt x="39" y="162"/>
                    </a:lnTo>
                    <a:lnTo>
                      <a:pt x="48" y="182"/>
                    </a:lnTo>
                    <a:lnTo>
                      <a:pt x="72" y="199"/>
                    </a:lnTo>
                    <a:lnTo>
                      <a:pt x="93" y="184"/>
                    </a:lnTo>
                    <a:lnTo>
                      <a:pt x="91" y="169"/>
                    </a:lnTo>
                    <a:lnTo>
                      <a:pt x="89" y="158"/>
                    </a:lnTo>
                    <a:lnTo>
                      <a:pt x="91" y="145"/>
                    </a:lnTo>
                    <a:lnTo>
                      <a:pt x="100" y="147"/>
                    </a:lnTo>
                    <a:lnTo>
                      <a:pt x="108" y="136"/>
                    </a:lnTo>
                    <a:lnTo>
                      <a:pt x="119" y="134"/>
                    </a:lnTo>
                    <a:lnTo>
                      <a:pt x="130" y="119"/>
                    </a:lnTo>
                    <a:lnTo>
                      <a:pt x="115" y="105"/>
                    </a:lnTo>
                    <a:lnTo>
                      <a:pt x="104" y="116"/>
                    </a:lnTo>
                    <a:lnTo>
                      <a:pt x="100" y="119"/>
                    </a:lnTo>
                    <a:lnTo>
                      <a:pt x="89" y="106"/>
                    </a:lnTo>
                    <a:lnTo>
                      <a:pt x="96" y="97"/>
                    </a:lnTo>
                    <a:lnTo>
                      <a:pt x="104" y="105"/>
                    </a:lnTo>
                    <a:lnTo>
                      <a:pt x="113" y="93"/>
                    </a:lnTo>
                    <a:lnTo>
                      <a:pt x="126" y="92"/>
                    </a:lnTo>
                    <a:lnTo>
                      <a:pt x="132" y="108"/>
                    </a:lnTo>
                    <a:lnTo>
                      <a:pt x="143" y="112"/>
                    </a:lnTo>
                    <a:lnTo>
                      <a:pt x="152" y="101"/>
                    </a:lnTo>
                    <a:lnTo>
                      <a:pt x="130" y="78"/>
                    </a:lnTo>
                    <a:lnTo>
                      <a:pt x="133" y="69"/>
                    </a:lnTo>
                    <a:lnTo>
                      <a:pt x="126" y="67"/>
                    </a:lnTo>
                    <a:lnTo>
                      <a:pt x="133" y="50"/>
                    </a:lnTo>
                    <a:lnTo>
                      <a:pt x="122" y="52"/>
                    </a:lnTo>
                    <a:lnTo>
                      <a:pt x="98" y="61"/>
                    </a:lnTo>
                    <a:lnTo>
                      <a:pt x="98" y="81"/>
                    </a:lnTo>
                    <a:lnTo>
                      <a:pt x="89" y="76"/>
                    </a:lnTo>
                    <a:lnTo>
                      <a:pt x="80" y="83"/>
                    </a:lnTo>
                    <a:lnTo>
                      <a:pt x="61" y="80"/>
                    </a:lnTo>
                    <a:lnTo>
                      <a:pt x="57" y="67"/>
                    </a:lnTo>
                    <a:lnTo>
                      <a:pt x="52" y="52"/>
                    </a:lnTo>
                    <a:lnTo>
                      <a:pt x="65" y="63"/>
                    </a:lnTo>
                    <a:lnTo>
                      <a:pt x="80" y="56"/>
                    </a:lnTo>
                    <a:lnTo>
                      <a:pt x="82" y="52"/>
                    </a:lnTo>
                    <a:lnTo>
                      <a:pt x="80" y="41"/>
                    </a:lnTo>
                    <a:lnTo>
                      <a:pt x="63" y="31"/>
                    </a:lnTo>
                    <a:lnTo>
                      <a:pt x="54" y="28"/>
                    </a:lnTo>
                    <a:lnTo>
                      <a:pt x="57" y="17"/>
                    </a:lnTo>
                    <a:lnTo>
                      <a:pt x="57" y="6"/>
                    </a:lnTo>
                    <a:lnTo>
                      <a:pt x="44" y="2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20" name="Freeform 84"/>
              <p:cNvSpPr>
                <a:spLocks noChangeAspect="1"/>
              </p:cNvSpPr>
              <p:nvPr/>
            </p:nvSpPr>
            <p:spPr bwMode="gray">
              <a:xfrm>
                <a:off x="3870" y="1367"/>
                <a:ext cx="51" cy="50"/>
              </a:xfrm>
              <a:custGeom>
                <a:avLst/>
                <a:gdLst>
                  <a:gd name="T0" fmla="*/ 110 w 49"/>
                  <a:gd name="T1" fmla="*/ 0 h 50"/>
                  <a:gd name="T2" fmla="*/ 121 w 49"/>
                  <a:gd name="T3" fmla="*/ 6 h 50"/>
                  <a:gd name="T4" fmla="*/ 121 w 49"/>
                  <a:gd name="T5" fmla="*/ 17 h 50"/>
                  <a:gd name="T6" fmla="*/ 116 w 49"/>
                  <a:gd name="T7" fmla="*/ 26 h 50"/>
                  <a:gd name="T8" fmla="*/ 57 w 49"/>
                  <a:gd name="T9" fmla="*/ 43 h 50"/>
                  <a:gd name="T10" fmla="*/ 11 w 49"/>
                  <a:gd name="T11" fmla="*/ 50 h 50"/>
                  <a:gd name="T12" fmla="*/ 0 w 49"/>
                  <a:gd name="T13" fmla="*/ 39 h 50"/>
                  <a:gd name="T14" fmla="*/ 9 w 49"/>
                  <a:gd name="T15" fmla="*/ 24 h 50"/>
                  <a:gd name="T16" fmla="*/ 49 w 49"/>
                  <a:gd name="T17" fmla="*/ 17 h 50"/>
                  <a:gd name="T18" fmla="*/ 110 w 49"/>
                  <a:gd name="T19" fmla="*/ 0 h 5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9"/>
                  <a:gd name="T31" fmla="*/ 0 h 50"/>
                  <a:gd name="T32" fmla="*/ 49 w 49"/>
                  <a:gd name="T33" fmla="*/ 50 h 5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9" h="50">
                    <a:moveTo>
                      <a:pt x="44" y="0"/>
                    </a:moveTo>
                    <a:lnTo>
                      <a:pt x="49" y="6"/>
                    </a:lnTo>
                    <a:lnTo>
                      <a:pt x="49" y="17"/>
                    </a:lnTo>
                    <a:lnTo>
                      <a:pt x="47" y="26"/>
                    </a:lnTo>
                    <a:lnTo>
                      <a:pt x="24" y="43"/>
                    </a:lnTo>
                    <a:lnTo>
                      <a:pt x="11" y="50"/>
                    </a:lnTo>
                    <a:lnTo>
                      <a:pt x="0" y="39"/>
                    </a:lnTo>
                    <a:lnTo>
                      <a:pt x="9" y="24"/>
                    </a:lnTo>
                    <a:lnTo>
                      <a:pt x="20" y="17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195" name="Freeform 85"/>
            <p:cNvSpPr>
              <a:spLocks noChangeAspect="1"/>
            </p:cNvSpPr>
            <p:nvPr>
              <p:custDataLst>
                <p:tags r:id="rId97"/>
              </p:custDataLst>
            </p:nvPr>
          </p:nvSpPr>
          <p:spPr bwMode="gray">
            <a:xfrm>
              <a:off x="2338388" y="5805487"/>
              <a:ext cx="150812" cy="93662"/>
            </a:xfrm>
            <a:custGeom>
              <a:avLst/>
              <a:gdLst>
                <a:gd name="T0" fmla="*/ 2147483647 w 162"/>
                <a:gd name="T1" fmla="*/ 2147483647 h 110"/>
                <a:gd name="T2" fmla="*/ 2147483647 w 162"/>
                <a:gd name="T3" fmla="*/ 2147483647 h 110"/>
                <a:gd name="T4" fmla="*/ 2147483647 w 162"/>
                <a:gd name="T5" fmla="*/ 2147483647 h 110"/>
                <a:gd name="T6" fmla="*/ 2147483647 w 162"/>
                <a:gd name="T7" fmla="*/ 2147483647 h 110"/>
                <a:gd name="T8" fmla="*/ 2147483647 w 162"/>
                <a:gd name="T9" fmla="*/ 2147483647 h 110"/>
                <a:gd name="T10" fmla="*/ 2147483647 w 162"/>
                <a:gd name="T11" fmla="*/ 0 h 110"/>
                <a:gd name="T12" fmla="*/ 2147483647 w 162"/>
                <a:gd name="T13" fmla="*/ 2147483647 h 110"/>
                <a:gd name="T14" fmla="*/ 2147483647 w 162"/>
                <a:gd name="T15" fmla="*/ 2147483647 h 110"/>
                <a:gd name="T16" fmla="*/ 2147483647 w 162"/>
                <a:gd name="T17" fmla="*/ 2147483647 h 110"/>
                <a:gd name="T18" fmla="*/ 2147483647 w 162"/>
                <a:gd name="T19" fmla="*/ 2147483647 h 110"/>
                <a:gd name="T20" fmla="*/ 2147483647 w 162"/>
                <a:gd name="T21" fmla="*/ 2147483647 h 110"/>
                <a:gd name="T22" fmla="*/ 2147483647 w 162"/>
                <a:gd name="T23" fmla="*/ 2147483647 h 110"/>
                <a:gd name="T24" fmla="*/ 2147483647 w 162"/>
                <a:gd name="T25" fmla="*/ 2147483647 h 110"/>
                <a:gd name="T26" fmla="*/ 2147483647 w 162"/>
                <a:gd name="T27" fmla="*/ 2147483647 h 110"/>
                <a:gd name="T28" fmla="*/ 2147483647 w 162"/>
                <a:gd name="T29" fmla="*/ 2147483647 h 110"/>
                <a:gd name="T30" fmla="*/ 2147483647 w 162"/>
                <a:gd name="T31" fmla="*/ 2147483647 h 110"/>
                <a:gd name="T32" fmla="*/ 2147483647 w 162"/>
                <a:gd name="T33" fmla="*/ 2147483647 h 110"/>
                <a:gd name="T34" fmla="*/ 2147483647 w 162"/>
                <a:gd name="T35" fmla="*/ 2147483647 h 110"/>
                <a:gd name="T36" fmla="*/ 2147483647 w 162"/>
                <a:gd name="T37" fmla="*/ 2147483647 h 110"/>
                <a:gd name="T38" fmla="*/ 2147483647 w 162"/>
                <a:gd name="T39" fmla="*/ 2147483647 h 110"/>
                <a:gd name="T40" fmla="*/ 2147483647 w 162"/>
                <a:gd name="T41" fmla="*/ 2147483647 h 110"/>
                <a:gd name="T42" fmla="*/ 0 w 162"/>
                <a:gd name="T43" fmla="*/ 2147483647 h 110"/>
                <a:gd name="T44" fmla="*/ 2147483647 w 162"/>
                <a:gd name="T45" fmla="*/ 2147483647 h 110"/>
                <a:gd name="T46" fmla="*/ 2147483647 w 162"/>
                <a:gd name="T47" fmla="*/ 2147483647 h 11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2"/>
                <a:gd name="T73" fmla="*/ 0 h 110"/>
                <a:gd name="T74" fmla="*/ 162 w 162"/>
                <a:gd name="T75" fmla="*/ 110 h 11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2" h="110">
                  <a:moveTo>
                    <a:pt x="6" y="33"/>
                  </a:moveTo>
                  <a:lnTo>
                    <a:pt x="34" y="14"/>
                  </a:lnTo>
                  <a:lnTo>
                    <a:pt x="52" y="11"/>
                  </a:lnTo>
                  <a:lnTo>
                    <a:pt x="70" y="6"/>
                  </a:lnTo>
                  <a:lnTo>
                    <a:pt x="85" y="6"/>
                  </a:lnTo>
                  <a:lnTo>
                    <a:pt x="100" y="0"/>
                  </a:lnTo>
                  <a:lnTo>
                    <a:pt x="126" y="6"/>
                  </a:lnTo>
                  <a:lnTo>
                    <a:pt x="141" y="5"/>
                  </a:lnTo>
                  <a:lnTo>
                    <a:pt x="156" y="20"/>
                  </a:lnTo>
                  <a:lnTo>
                    <a:pt x="154" y="63"/>
                  </a:lnTo>
                  <a:lnTo>
                    <a:pt x="162" y="68"/>
                  </a:lnTo>
                  <a:lnTo>
                    <a:pt x="151" y="86"/>
                  </a:lnTo>
                  <a:lnTo>
                    <a:pt x="115" y="93"/>
                  </a:lnTo>
                  <a:lnTo>
                    <a:pt x="100" y="89"/>
                  </a:lnTo>
                  <a:lnTo>
                    <a:pt x="90" y="110"/>
                  </a:lnTo>
                  <a:lnTo>
                    <a:pt x="63" y="108"/>
                  </a:lnTo>
                  <a:lnTo>
                    <a:pt x="52" y="105"/>
                  </a:lnTo>
                  <a:lnTo>
                    <a:pt x="36" y="104"/>
                  </a:lnTo>
                  <a:lnTo>
                    <a:pt x="27" y="95"/>
                  </a:lnTo>
                  <a:lnTo>
                    <a:pt x="21" y="98"/>
                  </a:lnTo>
                  <a:lnTo>
                    <a:pt x="9" y="89"/>
                  </a:lnTo>
                  <a:lnTo>
                    <a:pt x="0" y="63"/>
                  </a:lnTo>
                  <a:lnTo>
                    <a:pt x="7" y="50"/>
                  </a:lnTo>
                  <a:lnTo>
                    <a:pt x="6" y="3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96" name="Freeform 86"/>
            <p:cNvSpPr>
              <a:spLocks noChangeAspect="1"/>
            </p:cNvSpPr>
            <p:nvPr>
              <p:custDataLst>
                <p:tags r:id="rId98"/>
              </p:custDataLst>
            </p:nvPr>
          </p:nvSpPr>
          <p:spPr bwMode="gray">
            <a:xfrm>
              <a:off x="2287588" y="4829175"/>
              <a:ext cx="381000" cy="344488"/>
            </a:xfrm>
            <a:custGeom>
              <a:avLst/>
              <a:gdLst>
                <a:gd name="T0" fmla="*/ 2147483647 w 419"/>
                <a:gd name="T1" fmla="*/ 2147483647 h 401"/>
                <a:gd name="T2" fmla="*/ 2147483647 w 419"/>
                <a:gd name="T3" fmla="*/ 2147483647 h 401"/>
                <a:gd name="T4" fmla="*/ 2147483647 w 419"/>
                <a:gd name="T5" fmla="*/ 2147483647 h 401"/>
                <a:gd name="T6" fmla="*/ 2147483647 w 419"/>
                <a:gd name="T7" fmla="*/ 0 h 401"/>
                <a:gd name="T8" fmla="*/ 2147483647 w 419"/>
                <a:gd name="T9" fmla="*/ 2147483647 h 401"/>
                <a:gd name="T10" fmla="*/ 2147483647 w 419"/>
                <a:gd name="T11" fmla="*/ 2147483647 h 401"/>
                <a:gd name="T12" fmla="*/ 2147483647 w 419"/>
                <a:gd name="T13" fmla="*/ 2147483647 h 401"/>
                <a:gd name="T14" fmla="*/ 2147483647 w 419"/>
                <a:gd name="T15" fmla="*/ 2147483647 h 401"/>
                <a:gd name="T16" fmla="*/ 2147483647 w 419"/>
                <a:gd name="T17" fmla="*/ 2147483647 h 401"/>
                <a:gd name="T18" fmla="*/ 0 w 419"/>
                <a:gd name="T19" fmla="*/ 2147483647 h 401"/>
                <a:gd name="T20" fmla="*/ 2147483647 w 419"/>
                <a:gd name="T21" fmla="*/ 2147483647 h 401"/>
                <a:gd name="T22" fmla="*/ 2147483647 w 419"/>
                <a:gd name="T23" fmla="*/ 2147483647 h 401"/>
                <a:gd name="T24" fmla="*/ 2147483647 w 419"/>
                <a:gd name="T25" fmla="*/ 2147483647 h 401"/>
                <a:gd name="T26" fmla="*/ 2147483647 w 419"/>
                <a:gd name="T27" fmla="*/ 2147483647 h 401"/>
                <a:gd name="T28" fmla="*/ 2147483647 w 419"/>
                <a:gd name="T29" fmla="*/ 2147483647 h 401"/>
                <a:gd name="T30" fmla="*/ 2147483647 w 419"/>
                <a:gd name="T31" fmla="*/ 2147483647 h 401"/>
                <a:gd name="T32" fmla="*/ 2147483647 w 419"/>
                <a:gd name="T33" fmla="*/ 2147483647 h 401"/>
                <a:gd name="T34" fmla="*/ 2147483647 w 419"/>
                <a:gd name="T35" fmla="*/ 2147483647 h 401"/>
                <a:gd name="T36" fmla="*/ 2147483647 w 419"/>
                <a:gd name="T37" fmla="*/ 2147483647 h 401"/>
                <a:gd name="T38" fmla="*/ 2147483647 w 419"/>
                <a:gd name="T39" fmla="*/ 2147483647 h 401"/>
                <a:gd name="T40" fmla="*/ 2147483647 w 419"/>
                <a:gd name="T41" fmla="*/ 2147483647 h 401"/>
                <a:gd name="T42" fmla="*/ 2147483647 w 419"/>
                <a:gd name="T43" fmla="*/ 2147483647 h 401"/>
                <a:gd name="T44" fmla="*/ 2147483647 w 419"/>
                <a:gd name="T45" fmla="*/ 2147483647 h 401"/>
                <a:gd name="T46" fmla="*/ 2147483647 w 419"/>
                <a:gd name="T47" fmla="*/ 2147483647 h 401"/>
                <a:gd name="T48" fmla="*/ 2147483647 w 419"/>
                <a:gd name="T49" fmla="*/ 2147483647 h 401"/>
                <a:gd name="T50" fmla="*/ 2147483647 w 419"/>
                <a:gd name="T51" fmla="*/ 2147483647 h 401"/>
                <a:gd name="T52" fmla="*/ 2147483647 w 419"/>
                <a:gd name="T53" fmla="*/ 2147483647 h 401"/>
                <a:gd name="T54" fmla="*/ 2147483647 w 419"/>
                <a:gd name="T55" fmla="*/ 2147483647 h 401"/>
                <a:gd name="T56" fmla="*/ 2147483647 w 419"/>
                <a:gd name="T57" fmla="*/ 2147483647 h 40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19"/>
                <a:gd name="T88" fmla="*/ 0 h 401"/>
                <a:gd name="T89" fmla="*/ 419 w 419"/>
                <a:gd name="T90" fmla="*/ 401 h 40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19" h="401">
                  <a:moveTo>
                    <a:pt x="104" y="22"/>
                  </a:moveTo>
                  <a:lnTo>
                    <a:pt x="77" y="76"/>
                  </a:lnTo>
                  <a:lnTo>
                    <a:pt x="47" y="70"/>
                  </a:lnTo>
                  <a:lnTo>
                    <a:pt x="47" y="0"/>
                  </a:lnTo>
                  <a:lnTo>
                    <a:pt x="25" y="40"/>
                  </a:lnTo>
                  <a:lnTo>
                    <a:pt x="33" y="51"/>
                  </a:lnTo>
                  <a:lnTo>
                    <a:pt x="33" y="55"/>
                  </a:lnTo>
                  <a:lnTo>
                    <a:pt x="33" y="79"/>
                  </a:lnTo>
                  <a:lnTo>
                    <a:pt x="17" y="81"/>
                  </a:lnTo>
                  <a:lnTo>
                    <a:pt x="0" y="95"/>
                  </a:lnTo>
                  <a:lnTo>
                    <a:pt x="241" y="393"/>
                  </a:lnTo>
                  <a:lnTo>
                    <a:pt x="287" y="384"/>
                  </a:lnTo>
                  <a:lnTo>
                    <a:pt x="296" y="401"/>
                  </a:lnTo>
                  <a:lnTo>
                    <a:pt x="309" y="382"/>
                  </a:lnTo>
                  <a:lnTo>
                    <a:pt x="310" y="350"/>
                  </a:lnTo>
                  <a:lnTo>
                    <a:pt x="342" y="335"/>
                  </a:lnTo>
                  <a:lnTo>
                    <a:pt x="369" y="332"/>
                  </a:lnTo>
                  <a:lnTo>
                    <a:pt x="369" y="325"/>
                  </a:lnTo>
                  <a:lnTo>
                    <a:pt x="350" y="287"/>
                  </a:lnTo>
                  <a:lnTo>
                    <a:pt x="342" y="265"/>
                  </a:lnTo>
                  <a:lnTo>
                    <a:pt x="359" y="257"/>
                  </a:lnTo>
                  <a:lnTo>
                    <a:pt x="384" y="262"/>
                  </a:lnTo>
                  <a:lnTo>
                    <a:pt x="419" y="248"/>
                  </a:lnTo>
                  <a:lnTo>
                    <a:pt x="419" y="213"/>
                  </a:lnTo>
                  <a:lnTo>
                    <a:pt x="381" y="201"/>
                  </a:lnTo>
                  <a:lnTo>
                    <a:pt x="348" y="196"/>
                  </a:lnTo>
                  <a:lnTo>
                    <a:pt x="329" y="166"/>
                  </a:lnTo>
                  <a:lnTo>
                    <a:pt x="332" y="136"/>
                  </a:lnTo>
                  <a:lnTo>
                    <a:pt x="104" y="22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97" name="Freeform 87"/>
            <p:cNvSpPr>
              <a:spLocks noChangeAspect="1"/>
            </p:cNvSpPr>
            <p:nvPr>
              <p:custDataLst>
                <p:tags r:id="rId99"/>
              </p:custDataLst>
            </p:nvPr>
          </p:nvSpPr>
          <p:spPr bwMode="gray">
            <a:xfrm>
              <a:off x="2673350" y="5345112"/>
              <a:ext cx="214313" cy="201612"/>
            </a:xfrm>
            <a:custGeom>
              <a:avLst/>
              <a:gdLst>
                <a:gd name="T0" fmla="*/ 2147483647 w 226"/>
                <a:gd name="T1" fmla="*/ 2147483647 h 249"/>
                <a:gd name="T2" fmla="*/ 2147483647 w 226"/>
                <a:gd name="T3" fmla="*/ 2147483647 h 249"/>
                <a:gd name="T4" fmla="*/ 2147483647 w 226"/>
                <a:gd name="T5" fmla="*/ 2147483647 h 249"/>
                <a:gd name="T6" fmla="*/ 2147483647 w 226"/>
                <a:gd name="T7" fmla="*/ 2147483647 h 249"/>
                <a:gd name="T8" fmla="*/ 2147483647 w 226"/>
                <a:gd name="T9" fmla="*/ 2147483647 h 249"/>
                <a:gd name="T10" fmla="*/ 2147483647 w 226"/>
                <a:gd name="T11" fmla="*/ 2147483647 h 249"/>
                <a:gd name="T12" fmla="*/ 2147483647 w 226"/>
                <a:gd name="T13" fmla="*/ 2147483647 h 249"/>
                <a:gd name="T14" fmla="*/ 2147483647 w 226"/>
                <a:gd name="T15" fmla="*/ 2147483647 h 249"/>
                <a:gd name="T16" fmla="*/ 2147483647 w 226"/>
                <a:gd name="T17" fmla="*/ 2147483647 h 249"/>
                <a:gd name="T18" fmla="*/ 2147483647 w 226"/>
                <a:gd name="T19" fmla="*/ 2147483647 h 249"/>
                <a:gd name="T20" fmla="*/ 2147483647 w 226"/>
                <a:gd name="T21" fmla="*/ 2147483647 h 249"/>
                <a:gd name="T22" fmla="*/ 2147483647 w 226"/>
                <a:gd name="T23" fmla="*/ 2147483647 h 249"/>
                <a:gd name="T24" fmla="*/ 2147483647 w 226"/>
                <a:gd name="T25" fmla="*/ 2147483647 h 249"/>
                <a:gd name="T26" fmla="*/ 0 w 226"/>
                <a:gd name="T27" fmla="*/ 2147483647 h 249"/>
                <a:gd name="T28" fmla="*/ 2147483647 w 226"/>
                <a:gd name="T29" fmla="*/ 0 h 249"/>
                <a:gd name="T30" fmla="*/ 2147483647 w 226"/>
                <a:gd name="T31" fmla="*/ 2147483647 h 249"/>
                <a:gd name="T32" fmla="*/ 2147483647 w 226"/>
                <a:gd name="T33" fmla="*/ 2147483647 h 249"/>
                <a:gd name="T34" fmla="*/ 2147483647 w 226"/>
                <a:gd name="T35" fmla="*/ 2147483647 h 249"/>
                <a:gd name="T36" fmla="*/ 2147483647 w 226"/>
                <a:gd name="T37" fmla="*/ 2147483647 h 249"/>
                <a:gd name="T38" fmla="*/ 2147483647 w 226"/>
                <a:gd name="T39" fmla="*/ 2147483647 h 249"/>
                <a:gd name="T40" fmla="*/ 2147483647 w 226"/>
                <a:gd name="T41" fmla="*/ 2147483647 h 249"/>
                <a:gd name="T42" fmla="*/ 2147483647 w 226"/>
                <a:gd name="T43" fmla="*/ 2147483647 h 249"/>
                <a:gd name="T44" fmla="*/ 2147483647 w 226"/>
                <a:gd name="T45" fmla="*/ 2147483647 h 249"/>
                <a:gd name="T46" fmla="*/ 2147483647 w 226"/>
                <a:gd name="T47" fmla="*/ 2147483647 h 249"/>
                <a:gd name="T48" fmla="*/ 2147483647 w 226"/>
                <a:gd name="T49" fmla="*/ 2147483647 h 249"/>
                <a:gd name="T50" fmla="*/ 2147483647 w 226"/>
                <a:gd name="T51" fmla="*/ 2147483647 h 249"/>
                <a:gd name="T52" fmla="*/ 2147483647 w 226"/>
                <a:gd name="T53" fmla="*/ 2147483647 h 249"/>
                <a:gd name="T54" fmla="*/ 2147483647 w 226"/>
                <a:gd name="T55" fmla="*/ 2147483647 h 249"/>
                <a:gd name="T56" fmla="*/ 2147483647 w 226"/>
                <a:gd name="T57" fmla="*/ 2147483647 h 249"/>
                <a:gd name="T58" fmla="*/ 2147483647 w 226"/>
                <a:gd name="T59" fmla="*/ 2147483647 h 249"/>
                <a:gd name="T60" fmla="*/ 2147483647 w 226"/>
                <a:gd name="T61" fmla="*/ 2147483647 h 249"/>
                <a:gd name="T62" fmla="*/ 2147483647 w 226"/>
                <a:gd name="T63" fmla="*/ 2147483647 h 249"/>
                <a:gd name="T64" fmla="*/ 2147483647 w 226"/>
                <a:gd name="T65" fmla="*/ 2147483647 h 249"/>
                <a:gd name="T66" fmla="*/ 2147483647 w 226"/>
                <a:gd name="T67" fmla="*/ 2147483647 h 249"/>
                <a:gd name="T68" fmla="*/ 2147483647 w 226"/>
                <a:gd name="T69" fmla="*/ 2147483647 h 24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6"/>
                <a:gd name="T106" fmla="*/ 0 h 249"/>
                <a:gd name="T107" fmla="*/ 226 w 226"/>
                <a:gd name="T108" fmla="*/ 249 h 24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6" h="249">
                  <a:moveTo>
                    <a:pt x="121" y="249"/>
                  </a:moveTo>
                  <a:lnTo>
                    <a:pt x="108" y="235"/>
                  </a:lnTo>
                  <a:lnTo>
                    <a:pt x="105" y="202"/>
                  </a:lnTo>
                  <a:lnTo>
                    <a:pt x="91" y="178"/>
                  </a:lnTo>
                  <a:lnTo>
                    <a:pt x="90" y="157"/>
                  </a:lnTo>
                  <a:lnTo>
                    <a:pt x="94" y="142"/>
                  </a:lnTo>
                  <a:lnTo>
                    <a:pt x="82" y="120"/>
                  </a:lnTo>
                  <a:lnTo>
                    <a:pt x="67" y="103"/>
                  </a:lnTo>
                  <a:lnTo>
                    <a:pt x="61" y="85"/>
                  </a:lnTo>
                  <a:lnTo>
                    <a:pt x="58" y="73"/>
                  </a:lnTo>
                  <a:lnTo>
                    <a:pt x="40" y="61"/>
                  </a:lnTo>
                  <a:lnTo>
                    <a:pt x="30" y="45"/>
                  </a:lnTo>
                  <a:lnTo>
                    <a:pt x="19" y="27"/>
                  </a:lnTo>
                  <a:lnTo>
                    <a:pt x="0" y="15"/>
                  </a:lnTo>
                  <a:lnTo>
                    <a:pt x="30" y="0"/>
                  </a:lnTo>
                  <a:lnTo>
                    <a:pt x="54" y="3"/>
                  </a:lnTo>
                  <a:lnTo>
                    <a:pt x="69" y="6"/>
                  </a:lnTo>
                  <a:lnTo>
                    <a:pt x="108" y="34"/>
                  </a:lnTo>
                  <a:lnTo>
                    <a:pt x="117" y="39"/>
                  </a:lnTo>
                  <a:lnTo>
                    <a:pt x="145" y="45"/>
                  </a:lnTo>
                  <a:lnTo>
                    <a:pt x="162" y="69"/>
                  </a:lnTo>
                  <a:lnTo>
                    <a:pt x="154" y="87"/>
                  </a:lnTo>
                  <a:lnTo>
                    <a:pt x="165" y="111"/>
                  </a:lnTo>
                  <a:lnTo>
                    <a:pt x="193" y="129"/>
                  </a:lnTo>
                  <a:lnTo>
                    <a:pt x="203" y="144"/>
                  </a:lnTo>
                  <a:lnTo>
                    <a:pt x="220" y="150"/>
                  </a:lnTo>
                  <a:lnTo>
                    <a:pt x="226" y="151"/>
                  </a:lnTo>
                  <a:lnTo>
                    <a:pt x="215" y="159"/>
                  </a:lnTo>
                  <a:lnTo>
                    <a:pt x="187" y="159"/>
                  </a:lnTo>
                  <a:lnTo>
                    <a:pt x="162" y="157"/>
                  </a:lnTo>
                  <a:lnTo>
                    <a:pt x="151" y="162"/>
                  </a:lnTo>
                  <a:lnTo>
                    <a:pt x="154" y="189"/>
                  </a:lnTo>
                  <a:lnTo>
                    <a:pt x="150" y="210"/>
                  </a:lnTo>
                  <a:lnTo>
                    <a:pt x="126" y="235"/>
                  </a:lnTo>
                  <a:lnTo>
                    <a:pt x="121" y="249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98" name="Freeform 88"/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 bwMode="gray">
            <a:xfrm>
              <a:off x="2339975" y="4779962"/>
              <a:ext cx="271463" cy="184150"/>
            </a:xfrm>
            <a:custGeom>
              <a:avLst/>
              <a:gdLst>
                <a:gd name="T0" fmla="*/ 2147483647 w 287"/>
                <a:gd name="T1" fmla="*/ 2147483647 h 225"/>
                <a:gd name="T2" fmla="*/ 0 w 287"/>
                <a:gd name="T3" fmla="*/ 2147483647 h 225"/>
                <a:gd name="T4" fmla="*/ 2147483647 w 287"/>
                <a:gd name="T5" fmla="*/ 2147483647 h 225"/>
                <a:gd name="T6" fmla="*/ 2147483647 w 287"/>
                <a:gd name="T7" fmla="*/ 2147483647 h 225"/>
                <a:gd name="T8" fmla="*/ 2147483647 w 287"/>
                <a:gd name="T9" fmla="*/ 2147483647 h 225"/>
                <a:gd name="T10" fmla="*/ 2147483647 w 287"/>
                <a:gd name="T11" fmla="*/ 2147483647 h 225"/>
                <a:gd name="T12" fmla="*/ 2147483647 w 287"/>
                <a:gd name="T13" fmla="*/ 2147483647 h 225"/>
                <a:gd name="T14" fmla="*/ 2147483647 w 287"/>
                <a:gd name="T15" fmla="*/ 2147483647 h 225"/>
                <a:gd name="T16" fmla="*/ 2147483647 w 287"/>
                <a:gd name="T17" fmla="*/ 2147483647 h 225"/>
                <a:gd name="T18" fmla="*/ 2147483647 w 287"/>
                <a:gd name="T19" fmla="*/ 2147483647 h 225"/>
                <a:gd name="T20" fmla="*/ 2147483647 w 287"/>
                <a:gd name="T21" fmla="*/ 2147483647 h 225"/>
                <a:gd name="T22" fmla="*/ 2147483647 w 287"/>
                <a:gd name="T23" fmla="*/ 2147483647 h 225"/>
                <a:gd name="T24" fmla="*/ 2147483647 w 287"/>
                <a:gd name="T25" fmla="*/ 2147483647 h 225"/>
                <a:gd name="T26" fmla="*/ 2147483647 w 287"/>
                <a:gd name="T27" fmla="*/ 2147483647 h 225"/>
                <a:gd name="T28" fmla="*/ 2147483647 w 287"/>
                <a:gd name="T29" fmla="*/ 2147483647 h 225"/>
                <a:gd name="T30" fmla="*/ 2147483647 w 287"/>
                <a:gd name="T31" fmla="*/ 2147483647 h 225"/>
                <a:gd name="T32" fmla="*/ 2147483647 w 287"/>
                <a:gd name="T33" fmla="*/ 2147483647 h 225"/>
                <a:gd name="T34" fmla="*/ 2147483647 w 287"/>
                <a:gd name="T35" fmla="*/ 2147483647 h 225"/>
                <a:gd name="T36" fmla="*/ 2147483647 w 287"/>
                <a:gd name="T37" fmla="*/ 2147483647 h 225"/>
                <a:gd name="T38" fmla="*/ 2147483647 w 287"/>
                <a:gd name="T39" fmla="*/ 2147483647 h 225"/>
                <a:gd name="T40" fmla="*/ 2147483647 w 287"/>
                <a:gd name="T41" fmla="*/ 2147483647 h 225"/>
                <a:gd name="T42" fmla="*/ 2147483647 w 287"/>
                <a:gd name="T43" fmla="*/ 2147483647 h 225"/>
                <a:gd name="T44" fmla="*/ 2147483647 w 287"/>
                <a:gd name="T45" fmla="*/ 2147483647 h 225"/>
                <a:gd name="T46" fmla="*/ 2147483647 w 287"/>
                <a:gd name="T47" fmla="*/ 2147483647 h 225"/>
                <a:gd name="T48" fmla="*/ 2147483647 w 287"/>
                <a:gd name="T49" fmla="*/ 2147483647 h 225"/>
                <a:gd name="T50" fmla="*/ 2147483647 w 287"/>
                <a:gd name="T51" fmla="*/ 2147483647 h 225"/>
                <a:gd name="T52" fmla="*/ 2147483647 w 287"/>
                <a:gd name="T53" fmla="*/ 2147483647 h 225"/>
                <a:gd name="T54" fmla="*/ 2147483647 w 287"/>
                <a:gd name="T55" fmla="*/ 2147483647 h 225"/>
                <a:gd name="T56" fmla="*/ 2147483647 w 287"/>
                <a:gd name="T57" fmla="*/ 2147483647 h 225"/>
                <a:gd name="T58" fmla="*/ 2147483647 w 287"/>
                <a:gd name="T59" fmla="*/ 2147483647 h 225"/>
                <a:gd name="T60" fmla="*/ 2147483647 w 287"/>
                <a:gd name="T61" fmla="*/ 2147483647 h 225"/>
                <a:gd name="T62" fmla="*/ 2147483647 w 287"/>
                <a:gd name="T63" fmla="*/ 2147483647 h 225"/>
                <a:gd name="T64" fmla="*/ 2147483647 w 287"/>
                <a:gd name="T65" fmla="*/ 2147483647 h 225"/>
                <a:gd name="T66" fmla="*/ 2147483647 w 287"/>
                <a:gd name="T67" fmla="*/ 2147483647 h 225"/>
                <a:gd name="T68" fmla="*/ 2147483647 w 287"/>
                <a:gd name="T69" fmla="*/ 2147483647 h 225"/>
                <a:gd name="T70" fmla="*/ 2147483647 w 287"/>
                <a:gd name="T71" fmla="*/ 2147483647 h 225"/>
                <a:gd name="T72" fmla="*/ 2147483647 w 287"/>
                <a:gd name="T73" fmla="*/ 2147483647 h 225"/>
                <a:gd name="T74" fmla="*/ 2147483647 w 287"/>
                <a:gd name="T75" fmla="*/ 2147483647 h 225"/>
                <a:gd name="T76" fmla="*/ 2147483647 w 287"/>
                <a:gd name="T77" fmla="*/ 0 h 225"/>
                <a:gd name="T78" fmla="*/ 2147483647 w 287"/>
                <a:gd name="T79" fmla="*/ 0 h 225"/>
                <a:gd name="T80" fmla="*/ 2147483647 w 287"/>
                <a:gd name="T81" fmla="*/ 2147483647 h 225"/>
                <a:gd name="T82" fmla="*/ 2147483647 w 287"/>
                <a:gd name="T83" fmla="*/ 2147483647 h 225"/>
                <a:gd name="T84" fmla="*/ 2147483647 w 287"/>
                <a:gd name="T85" fmla="*/ 2147483647 h 225"/>
                <a:gd name="T86" fmla="*/ 2147483647 w 287"/>
                <a:gd name="T87" fmla="*/ 2147483647 h 225"/>
                <a:gd name="T88" fmla="*/ 2147483647 w 287"/>
                <a:gd name="T89" fmla="*/ 2147483647 h 225"/>
                <a:gd name="T90" fmla="*/ 2147483647 w 287"/>
                <a:gd name="T91" fmla="*/ 2147483647 h 225"/>
                <a:gd name="T92" fmla="*/ 2147483647 w 287"/>
                <a:gd name="T93" fmla="*/ 2147483647 h 225"/>
                <a:gd name="T94" fmla="*/ 2147483647 w 287"/>
                <a:gd name="T95" fmla="*/ 2147483647 h 225"/>
                <a:gd name="T96" fmla="*/ 2147483647 w 287"/>
                <a:gd name="T97" fmla="*/ 0 h 225"/>
                <a:gd name="T98" fmla="*/ 2147483647 w 287"/>
                <a:gd name="T99" fmla="*/ 2147483647 h 225"/>
                <a:gd name="T100" fmla="*/ 2147483647 w 287"/>
                <a:gd name="T101" fmla="*/ 2147483647 h 225"/>
                <a:gd name="T102" fmla="*/ 2147483647 w 287"/>
                <a:gd name="T103" fmla="*/ 2147483647 h 22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87"/>
                <a:gd name="T157" fmla="*/ 0 h 225"/>
                <a:gd name="T158" fmla="*/ 287 w 287"/>
                <a:gd name="T159" fmla="*/ 225 h 22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87" h="225">
                  <a:moveTo>
                    <a:pt x="2" y="24"/>
                  </a:moveTo>
                  <a:lnTo>
                    <a:pt x="0" y="31"/>
                  </a:lnTo>
                  <a:lnTo>
                    <a:pt x="4" y="58"/>
                  </a:lnTo>
                  <a:lnTo>
                    <a:pt x="17" y="97"/>
                  </a:lnTo>
                  <a:lnTo>
                    <a:pt x="28" y="108"/>
                  </a:lnTo>
                  <a:lnTo>
                    <a:pt x="54" y="118"/>
                  </a:lnTo>
                  <a:lnTo>
                    <a:pt x="65" y="121"/>
                  </a:lnTo>
                  <a:lnTo>
                    <a:pt x="67" y="134"/>
                  </a:lnTo>
                  <a:lnTo>
                    <a:pt x="67" y="156"/>
                  </a:lnTo>
                  <a:lnTo>
                    <a:pt x="93" y="182"/>
                  </a:lnTo>
                  <a:lnTo>
                    <a:pt x="109" y="190"/>
                  </a:lnTo>
                  <a:lnTo>
                    <a:pt x="117" y="194"/>
                  </a:lnTo>
                  <a:lnTo>
                    <a:pt x="139" y="221"/>
                  </a:lnTo>
                  <a:lnTo>
                    <a:pt x="146" y="216"/>
                  </a:lnTo>
                  <a:lnTo>
                    <a:pt x="161" y="214"/>
                  </a:lnTo>
                  <a:lnTo>
                    <a:pt x="178" y="225"/>
                  </a:lnTo>
                  <a:lnTo>
                    <a:pt x="191" y="218"/>
                  </a:lnTo>
                  <a:lnTo>
                    <a:pt x="209" y="197"/>
                  </a:lnTo>
                  <a:lnTo>
                    <a:pt x="222" y="190"/>
                  </a:lnTo>
                  <a:lnTo>
                    <a:pt x="235" y="195"/>
                  </a:lnTo>
                  <a:lnTo>
                    <a:pt x="243" y="192"/>
                  </a:lnTo>
                  <a:lnTo>
                    <a:pt x="244" y="184"/>
                  </a:lnTo>
                  <a:lnTo>
                    <a:pt x="246" y="142"/>
                  </a:lnTo>
                  <a:lnTo>
                    <a:pt x="254" y="129"/>
                  </a:lnTo>
                  <a:lnTo>
                    <a:pt x="254" y="110"/>
                  </a:lnTo>
                  <a:lnTo>
                    <a:pt x="257" y="103"/>
                  </a:lnTo>
                  <a:lnTo>
                    <a:pt x="272" y="92"/>
                  </a:lnTo>
                  <a:lnTo>
                    <a:pt x="287" y="90"/>
                  </a:lnTo>
                  <a:lnTo>
                    <a:pt x="287" y="69"/>
                  </a:lnTo>
                  <a:lnTo>
                    <a:pt x="283" y="53"/>
                  </a:lnTo>
                  <a:lnTo>
                    <a:pt x="272" y="47"/>
                  </a:lnTo>
                  <a:lnTo>
                    <a:pt x="267" y="49"/>
                  </a:lnTo>
                  <a:lnTo>
                    <a:pt x="248" y="31"/>
                  </a:lnTo>
                  <a:lnTo>
                    <a:pt x="237" y="19"/>
                  </a:lnTo>
                  <a:lnTo>
                    <a:pt x="224" y="19"/>
                  </a:lnTo>
                  <a:lnTo>
                    <a:pt x="198" y="19"/>
                  </a:lnTo>
                  <a:lnTo>
                    <a:pt x="193" y="15"/>
                  </a:lnTo>
                  <a:lnTo>
                    <a:pt x="187" y="2"/>
                  </a:lnTo>
                  <a:lnTo>
                    <a:pt x="180" y="0"/>
                  </a:lnTo>
                  <a:lnTo>
                    <a:pt x="157" y="0"/>
                  </a:lnTo>
                  <a:lnTo>
                    <a:pt x="148" y="11"/>
                  </a:lnTo>
                  <a:lnTo>
                    <a:pt x="139" y="9"/>
                  </a:lnTo>
                  <a:lnTo>
                    <a:pt x="124" y="6"/>
                  </a:lnTo>
                  <a:lnTo>
                    <a:pt x="117" y="4"/>
                  </a:lnTo>
                  <a:lnTo>
                    <a:pt x="106" y="7"/>
                  </a:lnTo>
                  <a:lnTo>
                    <a:pt x="98" y="13"/>
                  </a:lnTo>
                  <a:lnTo>
                    <a:pt x="83" y="7"/>
                  </a:lnTo>
                  <a:lnTo>
                    <a:pt x="52" y="2"/>
                  </a:lnTo>
                  <a:lnTo>
                    <a:pt x="44" y="0"/>
                  </a:lnTo>
                  <a:lnTo>
                    <a:pt x="35" y="7"/>
                  </a:lnTo>
                  <a:lnTo>
                    <a:pt x="20" y="17"/>
                  </a:lnTo>
                  <a:lnTo>
                    <a:pt x="2" y="24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99" name="Freeform 89"/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 bwMode="gray">
            <a:xfrm>
              <a:off x="2359025" y="4621212"/>
              <a:ext cx="61913" cy="53975"/>
            </a:xfrm>
            <a:custGeom>
              <a:avLst/>
              <a:gdLst>
                <a:gd name="T0" fmla="*/ 2147483647 w 65"/>
                <a:gd name="T1" fmla="*/ 0 h 67"/>
                <a:gd name="T2" fmla="*/ 2147483647 w 65"/>
                <a:gd name="T3" fmla="*/ 2147483647 h 67"/>
                <a:gd name="T4" fmla="*/ 2147483647 w 65"/>
                <a:gd name="T5" fmla="*/ 0 h 67"/>
                <a:gd name="T6" fmla="*/ 2147483647 w 65"/>
                <a:gd name="T7" fmla="*/ 2147483647 h 67"/>
                <a:gd name="T8" fmla="*/ 2147483647 w 65"/>
                <a:gd name="T9" fmla="*/ 2147483647 h 67"/>
                <a:gd name="T10" fmla="*/ 0 w 65"/>
                <a:gd name="T11" fmla="*/ 2147483647 h 67"/>
                <a:gd name="T12" fmla="*/ 2147483647 w 65"/>
                <a:gd name="T13" fmla="*/ 2147483647 h 67"/>
                <a:gd name="T14" fmla="*/ 2147483647 w 65"/>
                <a:gd name="T15" fmla="*/ 2147483647 h 67"/>
                <a:gd name="T16" fmla="*/ 2147483647 w 65"/>
                <a:gd name="T17" fmla="*/ 2147483647 h 67"/>
                <a:gd name="T18" fmla="*/ 2147483647 w 65"/>
                <a:gd name="T19" fmla="*/ 2147483647 h 67"/>
                <a:gd name="T20" fmla="*/ 2147483647 w 65"/>
                <a:gd name="T21" fmla="*/ 2147483647 h 67"/>
                <a:gd name="T22" fmla="*/ 2147483647 w 65"/>
                <a:gd name="T23" fmla="*/ 2147483647 h 67"/>
                <a:gd name="T24" fmla="*/ 2147483647 w 65"/>
                <a:gd name="T25" fmla="*/ 2147483647 h 67"/>
                <a:gd name="T26" fmla="*/ 2147483647 w 65"/>
                <a:gd name="T27" fmla="*/ 0 h 6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5"/>
                <a:gd name="T43" fmla="*/ 0 h 67"/>
                <a:gd name="T44" fmla="*/ 65 w 65"/>
                <a:gd name="T45" fmla="*/ 67 h 6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5" h="67">
                  <a:moveTo>
                    <a:pt x="54" y="0"/>
                  </a:moveTo>
                  <a:lnTo>
                    <a:pt x="32" y="4"/>
                  </a:lnTo>
                  <a:lnTo>
                    <a:pt x="24" y="0"/>
                  </a:lnTo>
                  <a:lnTo>
                    <a:pt x="11" y="17"/>
                  </a:lnTo>
                  <a:lnTo>
                    <a:pt x="6" y="13"/>
                  </a:lnTo>
                  <a:lnTo>
                    <a:pt x="0" y="24"/>
                  </a:lnTo>
                  <a:lnTo>
                    <a:pt x="7" y="30"/>
                  </a:lnTo>
                  <a:lnTo>
                    <a:pt x="7" y="58"/>
                  </a:lnTo>
                  <a:lnTo>
                    <a:pt x="13" y="67"/>
                  </a:lnTo>
                  <a:lnTo>
                    <a:pt x="46" y="30"/>
                  </a:lnTo>
                  <a:lnTo>
                    <a:pt x="59" y="30"/>
                  </a:lnTo>
                  <a:lnTo>
                    <a:pt x="65" y="20"/>
                  </a:lnTo>
                  <a:lnTo>
                    <a:pt x="63" y="15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0" name="Freeform 90"/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 bwMode="gray">
            <a:xfrm>
              <a:off x="2325688" y="4665662"/>
              <a:ext cx="366712" cy="155575"/>
            </a:xfrm>
            <a:custGeom>
              <a:avLst/>
              <a:gdLst>
                <a:gd name="T0" fmla="*/ 2147483647 w 403"/>
                <a:gd name="T1" fmla="*/ 2147483647 h 180"/>
                <a:gd name="T2" fmla="*/ 2147483647 w 403"/>
                <a:gd name="T3" fmla="*/ 2147483647 h 180"/>
                <a:gd name="T4" fmla="*/ 2147483647 w 403"/>
                <a:gd name="T5" fmla="*/ 2147483647 h 180"/>
                <a:gd name="T6" fmla="*/ 2147483647 w 403"/>
                <a:gd name="T7" fmla="*/ 2147483647 h 180"/>
                <a:gd name="T8" fmla="*/ 2147483647 w 403"/>
                <a:gd name="T9" fmla="*/ 2147483647 h 180"/>
                <a:gd name="T10" fmla="*/ 2147483647 w 403"/>
                <a:gd name="T11" fmla="*/ 2147483647 h 180"/>
                <a:gd name="T12" fmla="*/ 0 w 403"/>
                <a:gd name="T13" fmla="*/ 2147483647 h 180"/>
                <a:gd name="T14" fmla="*/ 2147483647 w 403"/>
                <a:gd name="T15" fmla="*/ 2147483647 h 180"/>
                <a:gd name="T16" fmla="*/ 2147483647 w 403"/>
                <a:gd name="T17" fmla="*/ 2147483647 h 180"/>
                <a:gd name="T18" fmla="*/ 2147483647 w 403"/>
                <a:gd name="T19" fmla="*/ 2147483647 h 180"/>
                <a:gd name="T20" fmla="*/ 2147483647 w 403"/>
                <a:gd name="T21" fmla="*/ 2147483647 h 180"/>
                <a:gd name="T22" fmla="*/ 2147483647 w 403"/>
                <a:gd name="T23" fmla="*/ 2147483647 h 180"/>
                <a:gd name="T24" fmla="*/ 2147483647 w 403"/>
                <a:gd name="T25" fmla="*/ 2147483647 h 180"/>
                <a:gd name="T26" fmla="*/ 2147483647 w 403"/>
                <a:gd name="T27" fmla="*/ 2147483647 h 180"/>
                <a:gd name="T28" fmla="*/ 2147483647 w 403"/>
                <a:gd name="T29" fmla="*/ 2147483647 h 180"/>
                <a:gd name="T30" fmla="*/ 2147483647 w 403"/>
                <a:gd name="T31" fmla="*/ 2147483647 h 180"/>
                <a:gd name="T32" fmla="*/ 2147483647 w 403"/>
                <a:gd name="T33" fmla="*/ 2147483647 h 180"/>
                <a:gd name="T34" fmla="*/ 2147483647 w 403"/>
                <a:gd name="T35" fmla="*/ 2147483647 h 180"/>
                <a:gd name="T36" fmla="*/ 2147483647 w 403"/>
                <a:gd name="T37" fmla="*/ 2147483647 h 180"/>
                <a:gd name="T38" fmla="*/ 2147483647 w 403"/>
                <a:gd name="T39" fmla="*/ 2147483647 h 180"/>
                <a:gd name="T40" fmla="*/ 2147483647 w 403"/>
                <a:gd name="T41" fmla="*/ 2147483647 h 180"/>
                <a:gd name="T42" fmla="*/ 2147483647 w 403"/>
                <a:gd name="T43" fmla="*/ 2147483647 h 180"/>
                <a:gd name="T44" fmla="*/ 2147483647 w 403"/>
                <a:gd name="T45" fmla="*/ 2147483647 h 180"/>
                <a:gd name="T46" fmla="*/ 2147483647 w 403"/>
                <a:gd name="T47" fmla="*/ 2147483647 h 180"/>
                <a:gd name="T48" fmla="*/ 2147483647 w 403"/>
                <a:gd name="T49" fmla="*/ 2147483647 h 180"/>
                <a:gd name="T50" fmla="*/ 2147483647 w 403"/>
                <a:gd name="T51" fmla="*/ 2147483647 h 180"/>
                <a:gd name="T52" fmla="*/ 2147483647 w 403"/>
                <a:gd name="T53" fmla="*/ 2147483647 h 180"/>
                <a:gd name="T54" fmla="*/ 2147483647 w 403"/>
                <a:gd name="T55" fmla="*/ 2147483647 h 180"/>
                <a:gd name="T56" fmla="*/ 2147483647 w 403"/>
                <a:gd name="T57" fmla="*/ 2147483647 h 180"/>
                <a:gd name="T58" fmla="*/ 2147483647 w 403"/>
                <a:gd name="T59" fmla="*/ 0 h 180"/>
                <a:gd name="T60" fmla="*/ 2147483647 w 403"/>
                <a:gd name="T61" fmla="*/ 2147483647 h 180"/>
                <a:gd name="T62" fmla="*/ 2147483647 w 403"/>
                <a:gd name="T63" fmla="*/ 2147483647 h 180"/>
                <a:gd name="T64" fmla="*/ 2147483647 w 403"/>
                <a:gd name="T65" fmla="*/ 2147483647 h 180"/>
                <a:gd name="T66" fmla="*/ 2147483647 w 403"/>
                <a:gd name="T67" fmla="*/ 2147483647 h 180"/>
                <a:gd name="T68" fmla="*/ 2147483647 w 403"/>
                <a:gd name="T69" fmla="*/ 2147483647 h 1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03"/>
                <a:gd name="T106" fmla="*/ 0 h 180"/>
                <a:gd name="T107" fmla="*/ 403 w 403"/>
                <a:gd name="T108" fmla="*/ 180 h 1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03" h="180">
                  <a:moveTo>
                    <a:pt x="115" y="71"/>
                  </a:moveTo>
                  <a:lnTo>
                    <a:pt x="96" y="60"/>
                  </a:lnTo>
                  <a:lnTo>
                    <a:pt x="92" y="48"/>
                  </a:lnTo>
                  <a:lnTo>
                    <a:pt x="87" y="36"/>
                  </a:lnTo>
                  <a:lnTo>
                    <a:pt x="78" y="24"/>
                  </a:lnTo>
                  <a:lnTo>
                    <a:pt x="62" y="24"/>
                  </a:lnTo>
                  <a:lnTo>
                    <a:pt x="51" y="30"/>
                  </a:lnTo>
                  <a:lnTo>
                    <a:pt x="35" y="43"/>
                  </a:lnTo>
                  <a:lnTo>
                    <a:pt x="16" y="74"/>
                  </a:lnTo>
                  <a:lnTo>
                    <a:pt x="18" y="83"/>
                  </a:lnTo>
                  <a:lnTo>
                    <a:pt x="18" y="91"/>
                  </a:lnTo>
                  <a:lnTo>
                    <a:pt x="14" y="96"/>
                  </a:lnTo>
                  <a:lnTo>
                    <a:pt x="6" y="103"/>
                  </a:lnTo>
                  <a:lnTo>
                    <a:pt x="0" y="110"/>
                  </a:lnTo>
                  <a:lnTo>
                    <a:pt x="4" y="119"/>
                  </a:lnTo>
                  <a:lnTo>
                    <a:pt x="4" y="138"/>
                  </a:lnTo>
                  <a:lnTo>
                    <a:pt x="7" y="153"/>
                  </a:lnTo>
                  <a:lnTo>
                    <a:pt x="16" y="157"/>
                  </a:lnTo>
                  <a:lnTo>
                    <a:pt x="32" y="151"/>
                  </a:lnTo>
                  <a:lnTo>
                    <a:pt x="51" y="141"/>
                  </a:lnTo>
                  <a:lnTo>
                    <a:pt x="59" y="135"/>
                  </a:lnTo>
                  <a:lnTo>
                    <a:pt x="74" y="138"/>
                  </a:lnTo>
                  <a:lnTo>
                    <a:pt x="90" y="141"/>
                  </a:lnTo>
                  <a:lnTo>
                    <a:pt x="103" y="145"/>
                  </a:lnTo>
                  <a:lnTo>
                    <a:pt x="113" y="148"/>
                  </a:lnTo>
                  <a:lnTo>
                    <a:pt x="133" y="138"/>
                  </a:lnTo>
                  <a:lnTo>
                    <a:pt x="142" y="138"/>
                  </a:lnTo>
                  <a:lnTo>
                    <a:pt x="152" y="143"/>
                  </a:lnTo>
                  <a:lnTo>
                    <a:pt x="165" y="147"/>
                  </a:lnTo>
                  <a:lnTo>
                    <a:pt x="177" y="138"/>
                  </a:lnTo>
                  <a:lnTo>
                    <a:pt x="195" y="135"/>
                  </a:lnTo>
                  <a:lnTo>
                    <a:pt x="207" y="136"/>
                  </a:lnTo>
                  <a:lnTo>
                    <a:pt x="216" y="151"/>
                  </a:lnTo>
                  <a:lnTo>
                    <a:pt x="236" y="153"/>
                  </a:lnTo>
                  <a:lnTo>
                    <a:pt x="259" y="151"/>
                  </a:lnTo>
                  <a:lnTo>
                    <a:pt x="275" y="168"/>
                  </a:lnTo>
                  <a:lnTo>
                    <a:pt x="287" y="178"/>
                  </a:lnTo>
                  <a:lnTo>
                    <a:pt x="298" y="180"/>
                  </a:lnTo>
                  <a:lnTo>
                    <a:pt x="316" y="174"/>
                  </a:lnTo>
                  <a:lnTo>
                    <a:pt x="333" y="172"/>
                  </a:lnTo>
                  <a:lnTo>
                    <a:pt x="345" y="163"/>
                  </a:lnTo>
                  <a:lnTo>
                    <a:pt x="351" y="155"/>
                  </a:lnTo>
                  <a:lnTo>
                    <a:pt x="372" y="135"/>
                  </a:lnTo>
                  <a:lnTo>
                    <a:pt x="403" y="125"/>
                  </a:lnTo>
                  <a:lnTo>
                    <a:pt x="390" y="109"/>
                  </a:lnTo>
                  <a:lnTo>
                    <a:pt x="386" y="84"/>
                  </a:lnTo>
                  <a:lnTo>
                    <a:pt x="376" y="79"/>
                  </a:lnTo>
                  <a:lnTo>
                    <a:pt x="358" y="64"/>
                  </a:lnTo>
                  <a:lnTo>
                    <a:pt x="351" y="48"/>
                  </a:lnTo>
                  <a:lnTo>
                    <a:pt x="344" y="31"/>
                  </a:lnTo>
                  <a:lnTo>
                    <a:pt x="328" y="19"/>
                  </a:lnTo>
                  <a:lnTo>
                    <a:pt x="318" y="18"/>
                  </a:lnTo>
                  <a:lnTo>
                    <a:pt x="287" y="19"/>
                  </a:lnTo>
                  <a:lnTo>
                    <a:pt x="273" y="28"/>
                  </a:lnTo>
                  <a:lnTo>
                    <a:pt x="264" y="31"/>
                  </a:lnTo>
                  <a:lnTo>
                    <a:pt x="248" y="18"/>
                  </a:lnTo>
                  <a:lnTo>
                    <a:pt x="234" y="12"/>
                  </a:lnTo>
                  <a:lnTo>
                    <a:pt x="225" y="4"/>
                  </a:lnTo>
                  <a:lnTo>
                    <a:pt x="218" y="2"/>
                  </a:lnTo>
                  <a:lnTo>
                    <a:pt x="201" y="0"/>
                  </a:lnTo>
                  <a:lnTo>
                    <a:pt x="188" y="4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3" y="18"/>
                  </a:lnTo>
                  <a:lnTo>
                    <a:pt x="163" y="36"/>
                  </a:lnTo>
                  <a:lnTo>
                    <a:pt x="168" y="57"/>
                  </a:lnTo>
                  <a:lnTo>
                    <a:pt x="168" y="66"/>
                  </a:lnTo>
                  <a:lnTo>
                    <a:pt x="152" y="79"/>
                  </a:lnTo>
                  <a:lnTo>
                    <a:pt x="142" y="86"/>
                  </a:lnTo>
                  <a:lnTo>
                    <a:pt x="135" y="78"/>
                  </a:lnTo>
                  <a:lnTo>
                    <a:pt x="115" y="71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1" name="Freeform 91"/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 bwMode="gray">
            <a:xfrm>
              <a:off x="2451100" y="5640387"/>
              <a:ext cx="366713" cy="227012"/>
            </a:xfrm>
            <a:custGeom>
              <a:avLst/>
              <a:gdLst>
                <a:gd name="T0" fmla="*/ 2147483647 w 383"/>
                <a:gd name="T1" fmla="*/ 2147483647 h 281"/>
                <a:gd name="T2" fmla="*/ 2147483647 w 383"/>
                <a:gd name="T3" fmla="*/ 2147483647 h 281"/>
                <a:gd name="T4" fmla="*/ 2147483647 w 383"/>
                <a:gd name="T5" fmla="*/ 2147483647 h 281"/>
                <a:gd name="T6" fmla="*/ 2147483647 w 383"/>
                <a:gd name="T7" fmla="*/ 2147483647 h 281"/>
                <a:gd name="T8" fmla="*/ 2147483647 w 383"/>
                <a:gd name="T9" fmla="*/ 2147483647 h 281"/>
                <a:gd name="T10" fmla="*/ 2147483647 w 383"/>
                <a:gd name="T11" fmla="*/ 2147483647 h 281"/>
                <a:gd name="T12" fmla="*/ 2147483647 w 383"/>
                <a:gd name="T13" fmla="*/ 2147483647 h 281"/>
                <a:gd name="T14" fmla="*/ 2147483647 w 383"/>
                <a:gd name="T15" fmla="*/ 2147483647 h 281"/>
                <a:gd name="T16" fmla="*/ 2147483647 w 383"/>
                <a:gd name="T17" fmla="*/ 2147483647 h 281"/>
                <a:gd name="T18" fmla="*/ 2147483647 w 383"/>
                <a:gd name="T19" fmla="*/ 2147483647 h 281"/>
                <a:gd name="T20" fmla="*/ 2147483647 w 383"/>
                <a:gd name="T21" fmla="*/ 2147483647 h 281"/>
                <a:gd name="T22" fmla="*/ 2147483647 w 383"/>
                <a:gd name="T23" fmla="*/ 2147483647 h 281"/>
                <a:gd name="T24" fmla="*/ 2147483647 w 383"/>
                <a:gd name="T25" fmla="*/ 2147483647 h 281"/>
                <a:gd name="T26" fmla="*/ 2147483647 w 383"/>
                <a:gd name="T27" fmla="*/ 2147483647 h 281"/>
                <a:gd name="T28" fmla="*/ 2147483647 w 383"/>
                <a:gd name="T29" fmla="*/ 2147483647 h 281"/>
                <a:gd name="T30" fmla="*/ 2147483647 w 383"/>
                <a:gd name="T31" fmla="*/ 2147483647 h 281"/>
                <a:gd name="T32" fmla="*/ 2147483647 w 383"/>
                <a:gd name="T33" fmla="*/ 2147483647 h 281"/>
                <a:gd name="T34" fmla="*/ 2147483647 w 383"/>
                <a:gd name="T35" fmla="*/ 2147483647 h 281"/>
                <a:gd name="T36" fmla="*/ 2147483647 w 383"/>
                <a:gd name="T37" fmla="*/ 2147483647 h 281"/>
                <a:gd name="T38" fmla="*/ 2147483647 w 383"/>
                <a:gd name="T39" fmla="*/ 2147483647 h 281"/>
                <a:gd name="T40" fmla="*/ 2147483647 w 383"/>
                <a:gd name="T41" fmla="*/ 2147483647 h 281"/>
                <a:gd name="T42" fmla="*/ 2147483647 w 383"/>
                <a:gd name="T43" fmla="*/ 2147483647 h 281"/>
                <a:gd name="T44" fmla="*/ 2147483647 w 383"/>
                <a:gd name="T45" fmla="*/ 2147483647 h 281"/>
                <a:gd name="T46" fmla="*/ 2147483647 w 383"/>
                <a:gd name="T47" fmla="*/ 2147483647 h 281"/>
                <a:gd name="T48" fmla="*/ 2147483647 w 383"/>
                <a:gd name="T49" fmla="*/ 2147483647 h 281"/>
                <a:gd name="T50" fmla="*/ 2147483647 w 383"/>
                <a:gd name="T51" fmla="*/ 2147483647 h 281"/>
                <a:gd name="T52" fmla="*/ 2147483647 w 383"/>
                <a:gd name="T53" fmla="*/ 2147483647 h 281"/>
                <a:gd name="T54" fmla="*/ 2147483647 w 383"/>
                <a:gd name="T55" fmla="*/ 2147483647 h 281"/>
                <a:gd name="T56" fmla="*/ 2147483647 w 383"/>
                <a:gd name="T57" fmla="*/ 2147483647 h 281"/>
                <a:gd name="T58" fmla="*/ 2147483647 w 383"/>
                <a:gd name="T59" fmla="*/ 2147483647 h 281"/>
                <a:gd name="T60" fmla="*/ 2147483647 w 383"/>
                <a:gd name="T61" fmla="*/ 2147483647 h 281"/>
                <a:gd name="T62" fmla="*/ 2147483647 w 383"/>
                <a:gd name="T63" fmla="*/ 2147483647 h 281"/>
                <a:gd name="T64" fmla="*/ 2147483647 w 383"/>
                <a:gd name="T65" fmla="*/ 2147483647 h 281"/>
                <a:gd name="T66" fmla="*/ 2147483647 w 383"/>
                <a:gd name="T67" fmla="*/ 2147483647 h 281"/>
                <a:gd name="T68" fmla="*/ 2147483647 w 383"/>
                <a:gd name="T69" fmla="*/ 2147483647 h 281"/>
                <a:gd name="T70" fmla="*/ 2147483647 w 383"/>
                <a:gd name="T71" fmla="*/ 2147483647 h 28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83"/>
                <a:gd name="T109" fmla="*/ 0 h 281"/>
                <a:gd name="T110" fmla="*/ 383 w 383"/>
                <a:gd name="T111" fmla="*/ 281 h 28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83" h="281">
                  <a:moveTo>
                    <a:pt x="9" y="33"/>
                  </a:moveTo>
                  <a:lnTo>
                    <a:pt x="7" y="39"/>
                  </a:lnTo>
                  <a:lnTo>
                    <a:pt x="0" y="46"/>
                  </a:lnTo>
                  <a:lnTo>
                    <a:pt x="2" y="59"/>
                  </a:lnTo>
                  <a:lnTo>
                    <a:pt x="13" y="80"/>
                  </a:lnTo>
                  <a:lnTo>
                    <a:pt x="28" y="82"/>
                  </a:lnTo>
                  <a:lnTo>
                    <a:pt x="31" y="91"/>
                  </a:lnTo>
                  <a:lnTo>
                    <a:pt x="30" y="115"/>
                  </a:lnTo>
                  <a:lnTo>
                    <a:pt x="24" y="122"/>
                  </a:lnTo>
                  <a:lnTo>
                    <a:pt x="6" y="135"/>
                  </a:lnTo>
                  <a:lnTo>
                    <a:pt x="4" y="141"/>
                  </a:lnTo>
                  <a:lnTo>
                    <a:pt x="9" y="159"/>
                  </a:lnTo>
                  <a:lnTo>
                    <a:pt x="11" y="173"/>
                  </a:lnTo>
                  <a:lnTo>
                    <a:pt x="6" y="186"/>
                  </a:lnTo>
                  <a:lnTo>
                    <a:pt x="0" y="196"/>
                  </a:lnTo>
                  <a:lnTo>
                    <a:pt x="9" y="209"/>
                  </a:lnTo>
                  <a:lnTo>
                    <a:pt x="17" y="207"/>
                  </a:lnTo>
                  <a:lnTo>
                    <a:pt x="30" y="222"/>
                  </a:lnTo>
                  <a:lnTo>
                    <a:pt x="31" y="236"/>
                  </a:lnTo>
                  <a:lnTo>
                    <a:pt x="31" y="255"/>
                  </a:lnTo>
                  <a:lnTo>
                    <a:pt x="30" y="264"/>
                  </a:lnTo>
                  <a:lnTo>
                    <a:pt x="44" y="281"/>
                  </a:lnTo>
                  <a:lnTo>
                    <a:pt x="74" y="275"/>
                  </a:lnTo>
                  <a:lnTo>
                    <a:pt x="109" y="264"/>
                  </a:lnTo>
                  <a:lnTo>
                    <a:pt x="135" y="248"/>
                  </a:lnTo>
                  <a:lnTo>
                    <a:pt x="148" y="236"/>
                  </a:lnTo>
                  <a:lnTo>
                    <a:pt x="165" y="259"/>
                  </a:lnTo>
                  <a:lnTo>
                    <a:pt x="178" y="253"/>
                  </a:lnTo>
                  <a:lnTo>
                    <a:pt x="196" y="259"/>
                  </a:lnTo>
                  <a:lnTo>
                    <a:pt x="207" y="262"/>
                  </a:lnTo>
                  <a:lnTo>
                    <a:pt x="229" y="253"/>
                  </a:lnTo>
                  <a:lnTo>
                    <a:pt x="242" y="249"/>
                  </a:lnTo>
                  <a:lnTo>
                    <a:pt x="242" y="238"/>
                  </a:lnTo>
                  <a:lnTo>
                    <a:pt x="244" y="220"/>
                  </a:lnTo>
                  <a:lnTo>
                    <a:pt x="255" y="214"/>
                  </a:lnTo>
                  <a:lnTo>
                    <a:pt x="270" y="220"/>
                  </a:lnTo>
                  <a:lnTo>
                    <a:pt x="272" y="227"/>
                  </a:lnTo>
                  <a:lnTo>
                    <a:pt x="283" y="212"/>
                  </a:lnTo>
                  <a:lnTo>
                    <a:pt x="311" y="199"/>
                  </a:lnTo>
                  <a:lnTo>
                    <a:pt x="335" y="196"/>
                  </a:lnTo>
                  <a:lnTo>
                    <a:pt x="357" y="196"/>
                  </a:lnTo>
                  <a:lnTo>
                    <a:pt x="353" y="175"/>
                  </a:lnTo>
                  <a:lnTo>
                    <a:pt x="350" y="164"/>
                  </a:lnTo>
                  <a:lnTo>
                    <a:pt x="327" y="147"/>
                  </a:lnTo>
                  <a:lnTo>
                    <a:pt x="326" y="142"/>
                  </a:lnTo>
                  <a:lnTo>
                    <a:pt x="339" y="124"/>
                  </a:lnTo>
                  <a:lnTo>
                    <a:pt x="352" y="121"/>
                  </a:lnTo>
                  <a:lnTo>
                    <a:pt x="348" y="111"/>
                  </a:lnTo>
                  <a:lnTo>
                    <a:pt x="355" y="93"/>
                  </a:lnTo>
                  <a:lnTo>
                    <a:pt x="355" y="82"/>
                  </a:lnTo>
                  <a:lnTo>
                    <a:pt x="359" y="61"/>
                  </a:lnTo>
                  <a:lnTo>
                    <a:pt x="363" y="52"/>
                  </a:lnTo>
                  <a:lnTo>
                    <a:pt x="376" y="54"/>
                  </a:lnTo>
                  <a:lnTo>
                    <a:pt x="383" y="39"/>
                  </a:lnTo>
                  <a:lnTo>
                    <a:pt x="376" y="26"/>
                  </a:lnTo>
                  <a:lnTo>
                    <a:pt x="372" y="9"/>
                  </a:lnTo>
                  <a:lnTo>
                    <a:pt x="363" y="11"/>
                  </a:lnTo>
                  <a:lnTo>
                    <a:pt x="320" y="2"/>
                  </a:lnTo>
                  <a:lnTo>
                    <a:pt x="292" y="0"/>
                  </a:lnTo>
                  <a:lnTo>
                    <a:pt x="265" y="6"/>
                  </a:lnTo>
                  <a:lnTo>
                    <a:pt x="241" y="17"/>
                  </a:lnTo>
                  <a:lnTo>
                    <a:pt x="213" y="32"/>
                  </a:lnTo>
                  <a:lnTo>
                    <a:pt x="192" y="48"/>
                  </a:lnTo>
                  <a:lnTo>
                    <a:pt x="172" y="50"/>
                  </a:lnTo>
                  <a:lnTo>
                    <a:pt x="144" y="45"/>
                  </a:lnTo>
                  <a:lnTo>
                    <a:pt x="118" y="54"/>
                  </a:lnTo>
                  <a:lnTo>
                    <a:pt x="102" y="58"/>
                  </a:lnTo>
                  <a:lnTo>
                    <a:pt x="83" y="52"/>
                  </a:lnTo>
                  <a:lnTo>
                    <a:pt x="56" y="41"/>
                  </a:lnTo>
                  <a:lnTo>
                    <a:pt x="41" y="37"/>
                  </a:lnTo>
                  <a:lnTo>
                    <a:pt x="20" y="33"/>
                  </a:lnTo>
                  <a:lnTo>
                    <a:pt x="9" y="3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2" name="Freeform 92"/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 bwMode="gray">
            <a:xfrm>
              <a:off x="2341563" y="5359400"/>
              <a:ext cx="531812" cy="325438"/>
            </a:xfrm>
            <a:custGeom>
              <a:avLst/>
              <a:gdLst>
                <a:gd name="T0" fmla="*/ 2147483647 w 584"/>
                <a:gd name="T1" fmla="*/ 2147483647 h 379"/>
                <a:gd name="T2" fmla="*/ 2147483647 w 584"/>
                <a:gd name="T3" fmla="*/ 2147483647 h 379"/>
                <a:gd name="T4" fmla="*/ 2147483647 w 584"/>
                <a:gd name="T5" fmla="*/ 2147483647 h 379"/>
                <a:gd name="T6" fmla="*/ 2147483647 w 584"/>
                <a:gd name="T7" fmla="*/ 2147483647 h 379"/>
                <a:gd name="T8" fmla="*/ 2147483647 w 584"/>
                <a:gd name="T9" fmla="*/ 2147483647 h 379"/>
                <a:gd name="T10" fmla="*/ 0 w 584"/>
                <a:gd name="T11" fmla="*/ 2147483647 h 379"/>
                <a:gd name="T12" fmla="*/ 2147483647 w 584"/>
                <a:gd name="T13" fmla="*/ 2147483647 h 379"/>
                <a:gd name="T14" fmla="*/ 2147483647 w 584"/>
                <a:gd name="T15" fmla="*/ 2147483647 h 379"/>
                <a:gd name="T16" fmla="*/ 2147483647 w 584"/>
                <a:gd name="T17" fmla="*/ 2147483647 h 379"/>
                <a:gd name="T18" fmla="*/ 2147483647 w 584"/>
                <a:gd name="T19" fmla="*/ 2147483647 h 379"/>
                <a:gd name="T20" fmla="*/ 2147483647 w 584"/>
                <a:gd name="T21" fmla="*/ 2147483647 h 379"/>
                <a:gd name="T22" fmla="*/ 2147483647 w 584"/>
                <a:gd name="T23" fmla="*/ 2147483647 h 379"/>
                <a:gd name="T24" fmla="*/ 2147483647 w 584"/>
                <a:gd name="T25" fmla="*/ 2147483647 h 379"/>
                <a:gd name="T26" fmla="*/ 2147483647 w 584"/>
                <a:gd name="T27" fmla="*/ 2147483647 h 379"/>
                <a:gd name="T28" fmla="*/ 2147483647 w 584"/>
                <a:gd name="T29" fmla="*/ 2147483647 h 379"/>
                <a:gd name="T30" fmla="*/ 2147483647 w 584"/>
                <a:gd name="T31" fmla="*/ 2147483647 h 379"/>
                <a:gd name="T32" fmla="*/ 2147483647 w 584"/>
                <a:gd name="T33" fmla="*/ 2147483647 h 379"/>
                <a:gd name="T34" fmla="*/ 2147483647 w 584"/>
                <a:gd name="T35" fmla="*/ 2147483647 h 379"/>
                <a:gd name="T36" fmla="*/ 2147483647 w 584"/>
                <a:gd name="T37" fmla="*/ 2147483647 h 379"/>
                <a:gd name="T38" fmla="*/ 2147483647 w 584"/>
                <a:gd name="T39" fmla="*/ 2147483647 h 379"/>
                <a:gd name="T40" fmla="*/ 2147483647 w 584"/>
                <a:gd name="T41" fmla="*/ 2147483647 h 379"/>
                <a:gd name="T42" fmla="*/ 2147483647 w 584"/>
                <a:gd name="T43" fmla="*/ 2147483647 h 379"/>
                <a:gd name="T44" fmla="*/ 2147483647 w 584"/>
                <a:gd name="T45" fmla="*/ 2147483647 h 379"/>
                <a:gd name="T46" fmla="*/ 2147483647 w 584"/>
                <a:gd name="T47" fmla="*/ 2147483647 h 379"/>
                <a:gd name="T48" fmla="*/ 2147483647 w 584"/>
                <a:gd name="T49" fmla="*/ 2147483647 h 379"/>
                <a:gd name="T50" fmla="*/ 2147483647 w 584"/>
                <a:gd name="T51" fmla="*/ 2147483647 h 379"/>
                <a:gd name="T52" fmla="*/ 2147483647 w 584"/>
                <a:gd name="T53" fmla="*/ 2147483647 h 379"/>
                <a:gd name="T54" fmla="*/ 2147483647 w 584"/>
                <a:gd name="T55" fmla="*/ 2147483647 h 379"/>
                <a:gd name="T56" fmla="*/ 2147483647 w 584"/>
                <a:gd name="T57" fmla="*/ 2147483647 h 379"/>
                <a:gd name="T58" fmla="*/ 2147483647 w 584"/>
                <a:gd name="T59" fmla="*/ 2147483647 h 379"/>
                <a:gd name="T60" fmla="*/ 2147483647 w 584"/>
                <a:gd name="T61" fmla="*/ 2147483647 h 379"/>
                <a:gd name="T62" fmla="*/ 2147483647 w 584"/>
                <a:gd name="T63" fmla="*/ 2147483647 h 379"/>
                <a:gd name="T64" fmla="*/ 2147483647 w 584"/>
                <a:gd name="T65" fmla="*/ 2147483647 h 379"/>
                <a:gd name="T66" fmla="*/ 2147483647 w 584"/>
                <a:gd name="T67" fmla="*/ 2147483647 h 379"/>
                <a:gd name="T68" fmla="*/ 2147483647 w 584"/>
                <a:gd name="T69" fmla="*/ 2147483647 h 379"/>
                <a:gd name="T70" fmla="*/ 2147483647 w 584"/>
                <a:gd name="T71" fmla="*/ 2147483647 h 379"/>
                <a:gd name="T72" fmla="*/ 2147483647 w 584"/>
                <a:gd name="T73" fmla="*/ 2147483647 h 379"/>
                <a:gd name="T74" fmla="*/ 2147483647 w 584"/>
                <a:gd name="T75" fmla="*/ 2147483647 h 379"/>
                <a:gd name="T76" fmla="*/ 2147483647 w 584"/>
                <a:gd name="T77" fmla="*/ 2147483647 h 379"/>
                <a:gd name="T78" fmla="*/ 2147483647 w 584"/>
                <a:gd name="T79" fmla="*/ 2147483647 h 379"/>
                <a:gd name="T80" fmla="*/ 2147483647 w 584"/>
                <a:gd name="T81" fmla="*/ 2147483647 h 379"/>
                <a:gd name="T82" fmla="*/ 2147483647 w 584"/>
                <a:gd name="T83" fmla="*/ 0 h 379"/>
                <a:gd name="T84" fmla="*/ 2147483647 w 584"/>
                <a:gd name="T85" fmla="*/ 2147483647 h 379"/>
                <a:gd name="T86" fmla="*/ 2147483647 w 584"/>
                <a:gd name="T87" fmla="*/ 2147483647 h 379"/>
                <a:gd name="T88" fmla="*/ 2147483647 w 584"/>
                <a:gd name="T89" fmla="*/ 2147483647 h 379"/>
                <a:gd name="T90" fmla="*/ 2147483647 w 584"/>
                <a:gd name="T91" fmla="*/ 2147483647 h 379"/>
                <a:gd name="T92" fmla="*/ 2147483647 w 584"/>
                <a:gd name="T93" fmla="*/ 2147483647 h 379"/>
                <a:gd name="T94" fmla="*/ 2147483647 w 584"/>
                <a:gd name="T95" fmla="*/ 2147483647 h 379"/>
                <a:gd name="T96" fmla="*/ 2147483647 w 584"/>
                <a:gd name="T97" fmla="*/ 2147483647 h 379"/>
                <a:gd name="T98" fmla="*/ 2147483647 w 584"/>
                <a:gd name="T99" fmla="*/ 2147483647 h 379"/>
                <a:gd name="T100" fmla="*/ 2147483647 w 584"/>
                <a:gd name="T101" fmla="*/ 2147483647 h 379"/>
                <a:gd name="T102" fmla="*/ 2147483647 w 584"/>
                <a:gd name="T103" fmla="*/ 2147483647 h 37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84"/>
                <a:gd name="T157" fmla="*/ 0 h 379"/>
                <a:gd name="T158" fmla="*/ 584 w 584"/>
                <a:gd name="T159" fmla="*/ 379 h 37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84" h="379">
                  <a:moveTo>
                    <a:pt x="144" y="33"/>
                  </a:moveTo>
                  <a:lnTo>
                    <a:pt x="133" y="43"/>
                  </a:lnTo>
                  <a:lnTo>
                    <a:pt x="126" y="51"/>
                  </a:lnTo>
                  <a:lnTo>
                    <a:pt x="106" y="58"/>
                  </a:lnTo>
                  <a:lnTo>
                    <a:pt x="104" y="96"/>
                  </a:lnTo>
                  <a:lnTo>
                    <a:pt x="105" y="123"/>
                  </a:lnTo>
                  <a:lnTo>
                    <a:pt x="89" y="145"/>
                  </a:lnTo>
                  <a:lnTo>
                    <a:pt x="70" y="159"/>
                  </a:lnTo>
                  <a:lnTo>
                    <a:pt x="58" y="172"/>
                  </a:lnTo>
                  <a:lnTo>
                    <a:pt x="25" y="178"/>
                  </a:lnTo>
                  <a:lnTo>
                    <a:pt x="8" y="191"/>
                  </a:lnTo>
                  <a:lnTo>
                    <a:pt x="0" y="198"/>
                  </a:lnTo>
                  <a:lnTo>
                    <a:pt x="17" y="211"/>
                  </a:lnTo>
                  <a:lnTo>
                    <a:pt x="23" y="223"/>
                  </a:lnTo>
                  <a:lnTo>
                    <a:pt x="21" y="232"/>
                  </a:lnTo>
                  <a:lnTo>
                    <a:pt x="23" y="243"/>
                  </a:lnTo>
                  <a:lnTo>
                    <a:pt x="32" y="248"/>
                  </a:lnTo>
                  <a:lnTo>
                    <a:pt x="48" y="248"/>
                  </a:lnTo>
                  <a:lnTo>
                    <a:pt x="53" y="258"/>
                  </a:lnTo>
                  <a:lnTo>
                    <a:pt x="60" y="278"/>
                  </a:lnTo>
                  <a:lnTo>
                    <a:pt x="62" y="293"/>
                  </a:lnTo>
                  <a:lnTo>
                    <a:pt x="70" y="308"/>
                  </a:lnTo>
                  <a:lnTo>
                    <a:pt x="78" y="309"/>
                  </a:lnTo>
                  <a:lnTo>
                    <a:pt x="85" y="305"/>
                  </a:lnTo>
                  <a:lnTo>
                    <a:pt x="99" y="297"/>
                  </a:lnTo>
                  <a:lnTo>
                    <a:pt x="114" y="307"/>
                  </a:lnTo>
                  <a:lnTo>
                    <a:pt x="112" y="318"/>
                  </a:lnTo>
                  <a:lnTo>
                    <a:pt x="114" y="323"/>
                  </a:lnTo>
                  <a:lnTo>
                    <a:pt x="122" y="326"/>
                  </a:lnTo>
                  <a:lnTo>
                    <a:pt x="133" y="338"/>
                  </a:lnTo>
                  <a:lnTo>
                    <a:pt x="130" y="350"/>
                  </a:lnTo>
                  <a:lnTo>
                    <a:pt x="133" y="356"/>
                  </a:lnTo>
                  <a:lnTo>
                    <a:pt x="151" y="356"/>
                  </a:lnTo>
                  <a:lnTo>
                    <a:pt x="173" y="365"/>
                  </a:lnTo>
                  <a:lnTo>
                    <a:pt x="213" y="379"/>
                  </a:lnTo>
                  <a:lnTo>
                    <a:pt x="229" y="379"/>
                  </a:lnTo>
                  <a:lnTo>
                    <a:pt x="251" y="375"/>
                  </a:lnTo>
                  <a:lnTo>
                    <a:pt x="270" y="369"/>
                  </a:lnTo>
                  <a:lnTo>
                    <a:pt x="302" y="373"/>
                  </a:lnTo>
                  <a:lnTo>
                    <a:pt x="318" y="372"/>
                  </a:lnTo>
                  <a:lnTo>
                    <a:pt x="325" y="371"/>
                  </a:lnTo>
                  <a:lnTo>
                    <a:pt x="345" y="358"/>
                  </a:lnTo>
                  <a:lnTo>
                    <a:pt x="389" y="336"/>
                  </a:lnTo>
                  <a:lnTo>
                    <a:pt x="423" y="326"/>
                  </a:lnTo>
                  <a:lnTo>
                    <a:pt x="441" y="325"/>
                  </a:lnTo>
                  <a:lnTo>
                    <a:pt x="468" y="330"/>
                  </a:lnTo>
                  <a:lnTo>
                    <a:pt x="491" y="332"/>
                  </a:lnTo>
                  <a:lnTo>
                    <a:pt x="503" y="336"/>
                  </a:lnTo>
                  <a:lnTo>
                    <a:pt x="521" y="334"/>
                  </a:lnTo>
                  <a:lnTo>
                    <a:pt x="524" y="320"/>
                  </a:lnTo>
                  <a:lnTo>
                    <a:pt x="524" y="293"/>
                  </a:lnTo>
                  <a:lnTo>
                    <a:pt x="526" y="266"/>
                  </a:lnTo>
                  <a:lnTo>
                    <a:pt x="536" y="252"/>
                  </a:lnTo>
                  <a:lnTo>
                    <a:pt x="547" y="248"/>
                  </a:lnTo>
                  <a:lnTo>
                    <a:pt x="557" y="254"/>
                  </a:lnTo>
                  <a:lnTo>
                    <a:pt x="566" y="248"/>
                  </a:lnTo>
                  <a:lnTo>
                    <a:pt x="572" y="241"/>
                  </a:lnTo>
                  <a:lnTo>
                    <a:pt x="570" y="234"/>
                  </a:lnTo>
                  <a:lnTo>
                    <a:pt x="582" y="231"/>
                  </a:lnTo>
                  <a:lnTo>
                    <a:pt x="584" y="222"/>
                  </a:lnTo>
                  <a:lnTo>
                    <a:pt x="572" y="217"/>
                  </a:lnTo>
                  <a:lnTo>
                    <a:pt x="555" y="213"/>
                  </a:lnTo>
                  <a:lnTo>
                    <a:pt x="540" y="217"/>
                  </a:lnTo>
                  <a:lnTo>
                    <a:pt x="519" y="220"/>
                  </a:lnTo>
                  <a:lnTo>
                    <a:pt x="499" y="220"/>
                  </a:lnTo>
                  <a:lnTo>
                    <a:pt x="485" y="213"/>
                  </a:lnTo>
                  <a:lnTo>
                    <a:pt x="480" y="203"/>
                  </a:lnTo>
                  <a:lnTo>
                    <a:pt x="480" y="189"/>
                  </a:lnTo>
                  <a:lnTo>
                    <a:pt x="478" y="174"/>
                  </a:lnTo>
                  <a:lnTo>
                    <a:pt x="468" y="164"/>
                  </a:lnTo>
                  <a:lnTo>
                    <a:pt x="462" y="154"/>
                  </a:lnTo>
                  <a:lnTo>
                    <a:pt x="462" y="140"/>
                  </a:lnTo>
                  <a:lnTo>
                    <a:pt x="464" y="125"/>
                  </a:lnTo>
                  <a:lnTo>
                    <a:pt x="464" y="117"/>
                  </a:lnTo>
                  <a:lnTo>
                    <a:pt x="455" y="96"/>
                  </a:lnTo>
                  <a:lnTo>
                    <a:pt x="439" y="82"/>
                  </a:lnTo>
                  <a:lnTo>
                    <a:pt x="432" y="68"/>
                  </a:lnTo>
                  <a:lnTo>
                    <a:pt x="430" y="58"/>
                  </a:lnTo>
                  <a:lnTo>
                    <a:pt x="427" y="53"/>
                  </a:lnTo>
                  <a:lnTo>
                    <a:pt x="405" y="39"/>
                  </a:lnTo>
                  <a:lnTo>
                    <a:pt x="398" y="26"/>
                  </a:lnTo>
                  <a:lnTo>
                    <a:pt x="388" y="8"/>
                  </a:lnTo>
                  <a:lnTo>
                    <a:pt x="380" y="2"/>
                  </a:lnTo>
                  <a:lnTo>
                    <a:pt x="370" y="0"/>
                  </a:lnTo>
                  <a:lnTo>
                    <a:pt x="361" y="4"/>
                  </a:lnTo>
                  <a:lnTo>
                    <a:pt x="350" y="12"/>
                  </a:lnTo>
                  <a:lnTo>
                    <a:pt x="345" y="14"/>
                  </a:lnTo>
                  <a:lnTo>
                    <a:pt x="327" y="14"/>
                  </a:lnTo>
                  <a:lnTo>
                    <a:pt x="316" y="16"/>
                  </a:lnTo>
                  <a:lnTo>
                    <a:pt x="307" y="25"/>
                  </a:lnTo>
                  <a:lnTo>
                    <a:pt x="292" y="29"/>
                  </a:lnTo>
                  <a:lnTo>
                    <a:pt x="277" y="28"/>
                  </a:lnTo>
                  <a:lnTo>
                    <a:pt x="268" y="21"/>
                  </a:lnTo>
                  <a:lnTo>
                    <a:pt x="251" y="12"/>
                  </a:lnTo>
                  <a:lnTo>
                    <a:pt x="238" y="16"/>
                  </a:lnTo>
                  <a:lnTo>
                    <a:pt x="220" y="23"/>
                  </a:lnTo>
                  <a:lnTo>
                    <a:pt x="206" y="25"/>
                  </a:lnTo>
                  <a:lnTo>
                    <a:pt x="194" y="21"/>
                  </a:lnTo>
                  <a:lnTo>
                    <a:pt x="181" y="14"/>
                  </a:lnTo>
                  <a:lnTo>
                    <a:pt x="163" y="19"/>
                  </a:lnTo>
                  <a:lnTo>
                    <a:pt x="151" y="25"/>
                  </a:lnTo>
                  <a:lnTo>
                    <a:pt x="147" y="26"/>
                  </a:lnTo>
                  <a:lnTo>
                    <a:pt x="144" y="28"/>
                  </a:lnTo>
                  <a:lnTo>
                    <a:pt x="140" y="29"/>
                  </a:lnTo>
                  <a:lnTo>
                    <a:pt x="144" y="3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3" name="Freeform 93"/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 bwMode="gray">
            <a:xfrm>
              <a:off x="2070100" y="5340350"/>
              <a:ext cx="398463" cy="206375"/>
            </a:xfrm>
            <a:custGeom>
              <a:avLst/>
              <a:gdLst>
                <a:gd name="T0" fmla="*/ 2147483647 w 421"/>
                <a:gd name="T1" fmla="*/ 2147483647 h 254"/>
                <a:gd name="T2" fmla="*/ 2147483647 w 421"/>
                <a:gd name="T3" fmla="*/ 2147483647 h 254"/>
                <a:gd name="T4" fmla="*/ 2147483647 w 421"/>
                <a:gd name="T5" fmla="*/ 2147483647 h 254"/>
                <a:gd name="T6" fmla="*/ 2147483647 w 421"/>
                <a:gd name="T7" fmla="*/ 2147483647 h 254"/>
                <a:gd name="T8" fmla="*/ 2147483647 w 421"/>
                <a:gd name="T9" fmla="*/ 2147483647 h 254"/>
                <a:gd name="T10" fmla="*/ 2147483647 w 421"/>
                <a:gd name="T11" fmla="*/ 2147483647 h 254"/>
                <a:gd name="T12" fmla="*/ 2147483647 w 421"/>
                <a:gd name="T13" fmla="*/ 2147483647 h 254"/>
                <a:gd name="T14" fmla="*/ 2147483647 w 421"/>
                <a:gd name="T15" fmla="*/ 2147483647 h 254"/>
                <a:gd name="T16" fmla="*/ 2147483647 w 421"/>
                <a:gd name="T17" fmla="*/ 2147483647 h 254"/>
                <a:gd name="T18" fmla="*/ 2147483647 w 421"/>
                <a:gd name="T19" fmla="*/ 2147483647 h 254"/>
                <a:gd name="T20" fmla="*/ 2147483647 w 421"/>
                <a:gd name="T21" fmla="*/ 2147483647 h 254"/>
                <a:gd name="T22" fmla="*/ 2147483647 w 421"/>
                <a:gd name="T23" fmla="*/ 2147483647 h 254"/>
                <a:gd name="T24" fmla="*/ 2147483647 w 421"/>
                <a:gd name="T25" fmla="*/ 2147483647 h 254"/>
                <a:gd name="T26" fmla="*/ 2147483647 w 421"/>
                <a:gd name="T27" fmla="*/ 2147483647 h 254"/>
                <a:gd name="T28" fmla="*/ 2147483647 w 421"/>
                <a:gd name="T29" fmla="*/ 2147483647 h 254"/>
                <a:gd name="T30" fmla="*/ 2147483647 w 421"/>
                <a:gd name="T31" fmla="*/ 2147483647 h 254"/>
                <a:gd name="T32" fmla="*/ 2147483647 w 421"/>
                <a:gd name="T33" fmla="*/ 2147483647 h 254"/>
                <a:gd name="T34" fmla="*/ 2147483647 w 421"/>
                <a:gd name="T35" fmla="*/ 2147483647 h 254"/>
                <a:gd name="T36" fmla="*/ 2147483647 w 421"/>
                <a:gd name="T37" fmla="*/ 2147483647 h 254"/>
                <a:gd name="T38" fmla="*/ 2147483647 w 421"/>
                <a:gd name="T39" fmla="*/ 2147483647 h 254"/>
                <a:gd name="T40" fmla="*/ 2147483647 w 421"/>
                <a:gd name="T41" fmla="*/ 2147483647 h 254"/>
                <a:gd name="T42" fmla="*/ 2147483647 w 421"/>
                <a:gd name="T43" fmla="*/ 2147483647 h 254"/>
                <a:gd name="T44" fmla="*/ 2147483647 w 421"/>
                <a:gd name="T45" fmla="*/ 2147483647 h 254"/>
                <a:gd name="T46" fmla="*/ 2147483647 w 421"/>
                <a:gd name="T47" fmla="*/ 2147483647 h 254"/>
                <a:gd name="T48" fmla="*/ 2147483647 w 421"/>
                <a:gd name="T49" fmla="*/ 2147483647 h 254"/>
                <a:gd name="T50" fmla="*/ 2147483647 w 421"/>
                <a:gd name="T51" fmla="*/ 2147483647 h 254"/>
                <a:gd name="T52" fmla="*/ 2147483647 w 421"/>
                <a:gd name="T53" fmla="*/ 2147483647 h 254"/>
                <a:gd name="T54" fmla="*/ 2147483647 w 421"/>
                <a:gd name="T55" fmla="*/ 2147483647 h 254"/>
                <a:gd name="T56" fmla="*/ 2147483647 w 421"/>
                <a:gd name="T57" fmla="*/ 2147483647 h 254"/>
                <a:gd name="T58" fmla="*/ 2147483647 w 421"/>
                <a:gd name="T59" fmla="*/ 2147483647 h 254"/>
                <a:gd name="T60" fmla="*/ 2147483647 w 421"/>
                <a:gd name="T61" fmla="*/ 2147483647 h 254"/>
                <a:gd name="T62" fmla="*/ 2147483647 w 421"/>
                <a:gd name="T63" fmla="*/ 2147483647 h 254"/>
                <a:gd name="T64" fmla="*/ 2147483647 w 421"/>
                <a:gd name="T65" fmla="*/ 0 h 254"/>
                <a:gd name="T66" fmla="*/ 2147483647 w 421"/>
                <a:gd name="T67" fmla="*/ 2147483647 h 254"/>
                <a:gd name="T68" fmla="*/ 2147483647 w 421"/>
                <a:gd name="T69" fmla="*/ 2147483647 h 254"/>
                <a:gd name="T70" fmla="*/ 2147483647 w 421"/>
                <a:gd name="T71" fmla="*/ 2147483647 h 254"/>
                <a:gd name="T72" fmla="*/ 2147483647 w 421"/>
                <a:gd name="T73" fmla="*/ 2147483647 h 254"/>
                <a:gd name="T74" fmla="*/ 2147483647 w 421"/>
                <a:gd name="T75" fmla="*/ 2147483647 h 254"/>
                <a:gd name="T76" fmla="*/ 2147483647 w 421"/>
                <a:gd name="T77" fmla="*/ 2147483647 h 254"/>
                <a:gd name="T78" fmla="*/ 2147483647 w 421"/>
                <a:gd name="T79" fmla="*/ 2147483647 h 254"/>
                <a:gd name="T80" fmla="*/ 2147483647 w 421"/>
                <a:gd name="T81" fmla="*/ 2147483647 h 254"/>
                <a:gd name="T82" fmla="*/ 2147483647 w 421"/>
                <a:gd name="T83" fmla="*/ 2147483647 h 254"/>
                <a:gd name="T84" fmla="*/ 2147483647 w 421"/>
                <a:gd name="T85" fmla="*/ 2147483647 h 254"/>
                <a:gd name="T86" fmla="*/ 2147483647 w 421"/>
                <a:gd name="T87" fmla="*/ 2147483647 h 254"/>
                <a:gd name="T88" fmla="*/ 2147483647 w 421"/>
                <a:gd name="T89" fmla="*/ 2147483647 h 254"/>
                <a:gd name="T90" fmla="*/ 2147483647 w 421"/>
                <a:gd name="T91" fmla="*/ 2147483647 h 254"/>
                <a:gd name="T92" fmla="*/ 2147483647 w 421"/>
                <a:gd name="T93" fmla="*/ 2147483647 h 254"/>
                <a:gd name="T94" fmla="*/ 2147483647 w 421"/>
                <a:gd name="T95" fmla="*/ 2147483647 h 254"/>
                <a:gd name="T96" fmla="*/ 2147483647 w 421"/>
                <a:gd name="T97" fmla="*/ 2147483647 h 254"/>
                <a:gd name="T98" fmla="*/ 2147483647 w 421"/>
                <a:gd name="T99" fmla="*/ 2147483647 h 254"/>
                <a:gd name="T100" fmla="*/ 2147483647 w 421"/>
                <a:gd name="T101" fmla="*/ 2147483647 h 254"/>
                <a:gd name="T102" fmla="*/ 2147483647 w 421"/>
                <a:gd name="T103" fmla="*/ 2147483647 h 254"/>
                <a:gd name="T104" fmla="*/ 2147483647 w 421"/>
                <a:gd name="T105" fmla="*/ 2147483647 h 254"/>
                <a:gd name="T106" fmla="*/ 2147483647 w 421"/>
                <a:gd name="T107" fmla="*/ 2147483647 h 254"/>
                <a:gd name="T108" fmla="*/ 2147483647 w 421"/>
                <a:gd name="T109" fmla="*/ 2147483647 h 254"/>
                <a:gd name="T110" fmla="*/ 2147483647 w 421"/>
                <a:gd name="T111" fmla="*/ 2147483647 h 254"/>
                <a:gd name="T112" fmla="*/ 2147483647 w 421"/>
                <a:gd name="T113" fmla="*/ 2147483647 h 254"/>
                <a:gd name="T114" fmla="*/ 2147483647 w 421"/>
                <a:gd name="T115" fmla="*/ 2147483647 h 254"/>
                <a:gd name="T116" fmla="*/ 2147483647 w 421"/>
                <a:gd name="T117" fmla="*/ 2147483647 h 254"/>
                <a:gd name="T118" fmla="*/ 2147483647 w 421"/>
                <a:gd name="T119" fmla="*/ 2147483647 h 254"/>
                <a:gd name="T120" fmla="*/ 0 w 421"/>
                <a:gd name="T121" fmla="*/ 2147483647 h 254"/>
                <a:gd name="T122" fmla="*/ 2147483647 w 421"/>
                <a:gd name="T123" fmla="*/ 2147483647 h 2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21"/>
                <a:gd name="T187" fmla="*/ 0 h 254"/>
                <a:gd name="T188" fmla="*/ 421 w 421"/>
                <a:gd name="T189" fmla="*/ 254 h 2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21" h="254">
                  <a:moveTo>
                    <a:pt x="2" y="161"/>
                  </a:moveTo>
                  <a:lnTo>
                    <a:pt x="15" y="172"/>
                  </a:lnTo>
                  <a:lnTo>
                    <a:pt x="13" y="178"/>
                  </a:lnTo>
                  <a:lnTo>
                    <a:pt x="17" y="189"/>
                  </a:lnTo>
                  <a:lnTo>
                    <a:pt x="28" y="189"/>
                  </a:lnTo>
                  <a:lnTo>
                    <a:pt x="70" y="230"/>
                  </a:lnTo>
                  <a:lnTo>
                    <a:pt x="83" y="232"/>
                  </a:lnTo>
                  <a:lnTo>
                    <a:pt x="117" y="254"/>
                  </a:lnTo>
                  <a:lnTo>
                    <a:pt x="133" y="241"/>
                  </a:lnTo>
                  <a:lnTo>
                    <a:pt x="157" y="243"/>
                  </a:lnTo>
                  <a:lnTo>
                    <a:pt x="165" y="248"/>
                  </a:lnTo>
                  <a:lnTo>
                    <a:pt x="183" y="241"/>
                  </a:lnTo>
                  <a:lnTo>
                    <a:pt x="220" y="226"/>
                  </a:lnTo>
                  <a:lnTo>
                    <a:pt x="264" y="219"/>
                  </a:lnTo>
                  <a:lnTo>
                    <a:pt x="282" y="222"/>
                  </a:lnTo>
                  <a:lnTo>
                    <a:pt x="288" y="232"/>
                  </a:lnTo>
                  <a:lnTo>
                    <a:pt x="303" y="215"/>
                  </a:lnTo>
                  <a:lnTo>
                    <a:pt x="323" y="208"/>
                  </a:lnTo>
                  <a:lnTo>
                    <a:pt x="342" y="205"/>
                  </a:lnTo>
                  <a:lnTo>
                    <a:pt x="375" y="172"/>
                  </a:lnTo>
                  <a:lnTo>
                    <a:pt x="384" y="152"/>
                  </a:lnTo>
                  <a:lnTo>
                    <a:pt x="388" y="113"/>
                  </a:lnTo>
                  <a:lnTo>
                    <a:pt x="392" y="81"/>
                  </a:lnTo>
                  <a:lnTo>
                    <a:pt x="405" y="80"/>
                  </a:lnTo>
                  <a:lnTo>
                    <a:pt x="415" y="68"/>
                  </a:lnTo>
                  <a:lnTo>
                    <a:pt x="421" y="59"/>
                  </a:lnTo>
                  <a:lnTo>
                    <a:pt x="408" y="50"/>
                  </a:lnTo>
                  <a:lnTo>
                    <a:pt x="401" y="54"/>
                  </a:lnTo>
                  <a:lnTo>
                    <a:pt x="382" y="50"/>
                  </a:lnTo>
                  <a:lnTo>
                    <a:pt x="371" y="35"/>
                  </a:lnTo>
                  <a:lnTo>
                    <a:pt x="360" y="15"/>
                  </a:lnTo>
                  <a:lnTo>
                    <a:pt x="347" y="15"/>
                  </a:lnTo>
                  <a:lnTo>
                    <a:pt x="327" y="0"/>
                  </a:lnTo>
                  <a:lnTo>
                    <a:pt x="316" y="2"/>
                  </a:lnTo>
                  <a:lnTo>
                    <a:pt x="275" y="7"/>
                  </a:lnTo>
                  <a:lnTo>
                    <a:pt x="267" y="19"/>
                  </a:lnTo>
                  <a:lnTo>
                    <a:pt x="256" y="33"/>
                  </a:lnTo>
                  <a:lnTo>
                    <a:pt x="241" y="41"/>
                  </a:lnTo>
                  <a:lnTo>
                    <a:pt x="227" y="44"/>
                  </a:lnTo>
                  <a:lnTo>
                    <a:pt x="216" y="41"/>
                  </a:lnTo>
                  <a:lnTo>
                    <a:pt x="207" y="35"/>
                  </a:lnTo>
                  <a:lnTo>
                    <a:pt x="200" y="33"/>
                  </a:lnTo>
                  <a:lnTo>
                    <a:pt x="187" y="39"/>
                  </a:lnTo>
                  <a:lnTo>
                    <a:pt x="170" y="48"/>
                  </a:lnTo>
                  <a:lnTo>
                    <a:pt x="135" y="63"/>
                  </a:lnTo>
                  <a:lnTo>
                    <a:pt x="120" y="65"/>
                  </a:lnTo>
                  <a:lnTo>
                    <a:pt x="83" y="63"/>
                  </a:lnTo>
                  <a:lnTo>
                    <a:pt x="78" y="61"/>
                  </a:lnTo>
                  <a:lnTo>
                    <a:pt x="68" y="46"/>
                  </a:lnTo>
                  <a:lnTo>
                    <a:pt x="56" y="39"/>
                  </a:lnTo>
                  <a:lnTo>
                    <a:pt x="52" y="44"/>
                  </a:lnTo>
                  <a:lnTo>
                    <a:pt x="50" y="59"/>
                  </a:lnTo>
                  <a:lnTo>
                    <a:pt x="43" y="74"/>
                  </a:lnTo>
                  <a:lnTo>
                    <a:pt x="30" y="74"/>
                  </a:lnTo>
                  <a:lnTo>
                    <a:pt x="26" y="78"/>
                  </a:lnTo>
                  <a:lnTo>
                    <a:pt x="33" y="93"/>
                  </a:lnTo>
                  <a:lnTo>
                    <a:pt x="31" y="108"/>
                  </a:lnTo>
                  <a:lnTo>
                    <a:pt x="22" y="122"/>
                  </a:lnTo>
                  <a:lnTo>
                    <a:pt x="15" y="128"/>
                  </a:lnTo>
                  <a:lnTo>
                    <a:pt x="4" y="133"/>
                  </a:lnTo>
                  <a:lnTo>
                    <a:pt x="0" y="145"/>
                  </a:lnTo>
                  <a:lnTo>
                    <a:pt x="2" y="161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4" name="Freeform 94"/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 bwMode="gray">
            <a:xfrm>
              <a:off x="2108200" y="5264150"/>
              <a:ext cx="336550" cy="128588"/>
            </a:xfrm>
            <a:custGeom>
              <a:avLst/>
              <a:gdLst>
                <a:gd name="T0" fmla="*/ 2147483647 w 353"/>
                <a:gd name="T1" fmla="*/ 2147483647 h 157"/>
                <a:gd name="T2" fmla="*/ 2147483647 w 353"/>
                <a:gd name="T3" fmla="*/ 0 h 157"/>
                <a:gd name="T4" fmla="*/ 2147483647 w 353"/>
                <a:gd name="T5" fmla="*/ 0 h 157"/>
                <a:gd name="T6" fmla="*/ 2147483647 w 353"/>
                <a:gd name="T7" fmla="*/ 2147483647 h 157"/>
                <a:gd name="T8" fmla="*/ 2147483647 w 353"/>
                <a:gd name="T9" fmla="*/ 2147483647 h 157"/>
                <a:gd name="T10" fmla="*/ 2147483647 w 353"/>
                <a:gd name="T11" fmla="*/ 2147483647 h 157"/>
                <a:gd name="T12" fmla="*/ 2147483647 w 353"/>
                <a:gd name="T13" fmla="*/ 2147483647 h 157"/>
                <a:gd name="T14" fmla="*/ 2147483647 w 353"/>
                <a:gd name="T15" fmla="*/ 2147483647 h 157"/>
                <a:gd name="T16" fmla="*/ 2147483647 w 353"/>
                <a:gd name="T17" fmla="*/ 2147483647 h 157"/>
                <a:gd name="T18" fmla="*/ 2147483647 w 353"/>
                <a:gd name="T19" fmla="*/ 2147483647 h 157"/>
                <a:gd name="T20" fmla="*/ 2147483647 w 353"/>
                <a:gd name="T21" fmla="*/ 2147483647 h 157"/>
                <a:gd name="T22" fmla="*/ 2147483647 w 353"/>
                <a:gd name="T23" fmla="*/ 2147483647 h 157"/>
                <a:gd name="T24" fmla="*/ 2147483647 w 353"/>
                <a:gd name="T25" fmla="*/ 2147483647 h 157"/>
                <a:gd name="T26" fmla="*/ 2147483647 w 353"/>
                <a:gd name="T27" fmla="*/ 2147483647 h 157"/>
                <a:gd name="T28" fmla="*/ 2147483647 w 353"/>
                <a:gd name="T29" fmla="*/ 2147483647 h 157"/>
                <a:gd name="T30" fmla="*/ 2147483647 w 353"/>
                <a:gd name="T31" fmla="*/ 2147483647 h 157"/>
                <a:gd name="T32" fmla="*/ 2147483647 w 353"/>
                <a:gd name="T33" fmla="*/ 2147483647 h 157"/>
                <a:gd name="T34" fmla="*/ 2147483647 w 353"/>
                <a:gd name="T35" fmla="*/ 2147483647 h 157"/>
                <a:gd name="T36" fmla="*/ 2147483647 w 353"/>
                <a:gd name="T37" fmla="*/ 2147483647 h 157"/>
                <a:gd name="T38" fmla="*/ 2147483647 w 353"/>
                <a:gd name="T39" fmla="*/ 2147483647 h 157"/>
                <a:gd name="T40" fmla="*/ 2147483647 w 353"/>
                <a:gd name="T41" fmla="*/ 2147483647 h 157"/>
                <a:gd name="T42" fmla="*/ 2147483647 w 353"/>
                <a:gd name="T43" fmla="*/ 2147483647 h 157"/>
                <a:gd name="T44" fmla="*/ 2147483647 w 353"/>
                <a:gd name="T45" fmla="*/ 2147483647 h 157"/>
                <a:gd name="T46" fmla="*/ 2147483647 w 353"/>
                <a:gd name="T47" fmla="*/ 2147483647 h 157"/>
                <a:gd name="T48" fmla="*/ 2147483647 w 353"/>
                <a:gd name="T49" fmla="*/ 2147483647 h 157"/>
                <a:gd name="T50" fmla="*/ 2147483647 w 353"/>
                <a:gd name="T51" fmla="*/ 2147483647 h 157"/>
                <a:gd name="T52" fmla="*/ 2147483647 w 353"/>
                <a:gd name="T53" fmla="*/ 2147483647 h 157"/>
                <a:gd name="T54" fmla="*/ 2147483647 w 353"/>
                <a:gd name="T55" fmla="*/ 2147483647 h 157"/>
                <a:gd name="T56" fmla="*/ 2147483647 w 353"/>
                <a:gd name="T57" fmla="*/ 2147483647 h 157"/>
                <a:gd name="T58" fmla="*/ 2147483647 w 353"/>
                <a:gd name="T59" fmla="*/ 2147483647 h 157"/>
                <a:gd name="T60" fmla="*/ 2147483647 w 353"/>
                <a:gd name="T61" fmla="*/ 2147483647 h 157"/>
                <a:gd name="T62" fmla="*/ 2147483647 w 353"/>
                <a:gd name="T63" fmla="*/ 2147483647 h 157"/>
                <a:gd name="T64" fmla="*/ 2147483647 w 353"/>
                <a:gd name="T65" fmla="*/ 2147483647 h 157"/>
                <a:gd name="T66" fmla="*/ 2147483647 w 353"/>
                <a:gd name="T67" fmla="*/ 2147483647 h 157"/>
                <a:gd name="T68" fmla="*/ 2147483647 w 353"/>
                <a:gd name="T69" fmla="*/ 2147483647 h 157"/>
                <a:gd name="T70" fmla="*/ 2147483647 w 353"/>
                <a:gd name="T71" fmla="*/ 2147483647 h 157"/>
                <a:gd name="T72" fmla="*/ 2147483647 w 353"/>
                <a:gd name="T73" fmla="*/ 2147483647 h 157"/>
                <a:gd name="T74" fmla="*/ 0 w 353"/>
                <a:gd name="T75" fmla="*/ 2147483647 h 157"/>
                <a:gd name="T76" fmla="*/ 0 w 353"/>
                <a:gd name="T77" fmla="*/ 2147483647 h 157"/>
                <a:gd name="T78" fmla="*/ 2147483647 w 353"/>
                <a:gd name="T79" fmla="*/ 2147483647 h 157"/>
                <a:gd name="T80" fmla="*/ 2147483647 w 353"/>
                <a:gd name="T81" fmla="*/ 2147483647 h 157"/>
                <a:gd name="T82" fmla="*/ 2147483647 w 353"/>
                <a:gd name="T83" fmla="*/ 2147483647 h 157"/>
                <a:gd name="T84" fmla="*/ 2147483647 w 353"/>
                <a:gd name="T85" fmla="*/ 2147483647 h 157"/>
                <a:gd name="T86" fmla="*/ 2147483647 w 353"/>
                <a:gd name="T87" fmla="*/ 2147483647 h 15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53"/>
                <a:gd name="T133" fmla="*/ 0 h 157"/>
                <a:gd name="T134" fmla="*/ 353 w 353"/>
                <a:gd name="T135" fmla="*/ 157 h 15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53" h="157">
                  <a:moveTo>
                    <a:pt x="120" y="8"/>
                  </a:moveTo>
                  <a:lnTo>
                    <a:pt x="132" y="0"/>
                  </a:lnTo>
                  <a:lnTo>
                    <a:pt x="146" y="0"/>
                  </a:lnTo>
                  <a:lnTo>
                    <a:pt x="152" y="11"/>
                  </a:lnTo>
                  <a:lnTo>
                    <a:pt x="165" y="2"/>
                  </a:lnTo>
                  <a:lnTo>
                    <a:pt x="178" y="6"/>
                  </a:lnTo>
                  <a:lnTo>
                    <a:pt x="199" y="27"/>
                  </a:lnTo>
                  <a:lnTo>
                    <a:pt x="221" y="36"/>
                  </a:lnTo>
                  <a:lnTo>
                    <a:pt x="229" y="38"/>
                  </a:lnTo>
                  <a:lnTo>
                    <a:pt x="240" y="29"/>
                  </a:lnTo>
                  <a:lnTo>
                    <a:pt x="251" y="25"/>
                  </a:lnTo>
                  <a:lnTo>
                    <a:pt x="281" y="33"/>
                  </a:lnTo>
                  <a:lnTo>
                    <a:pt x="321" y="42"/>
                  </a:lnTo>
                  <a:lnTo>
                    <a:pt x="353" y="51"/>
                  </a:lnTo>
                  <a:lnTo>
                    <a:pt x="342" y="64"/>
                  </a:lnTo>
                  <a:lnTo>
                    <a:pt x="321" y="85"/>
                  </a:lnTo>
                  <a:lnTo>
                    <a:pt x="316" y="92"/>
                  </a:lnTo>
                  <a:lnTo>
                    <a:pt x="318" y="107"/>
                  </a:lnTo>
                  <a:lnTo>
                    <a:pt x="303" y="107"/>
                  </a:lnTo>
                  <a:lnTo>
                    <a:pt x="288" y="96"/>
                  </a:lnTo>
                  <a:lnTo>
                    <a:pt x="273" y="92"/>
                  </a:lnTo>
                  <a:lnTo>
                    <a:pt x="234" y="101"/>
                  </a:lnTo>
                  <a:lnTo>
                    <a:pt x="224" y="110"/>
                  </a:lnTo>
                  <a:lnTo>
                    <a:pt x="213" y="124"/>
                  </a:lnTo>
                  <a:lnTo>
                    <a:pt x="192" y="137"/>
                  </a:lnTo>
                  <a:lnTo>
                    <a:pt x="179" y="137"/>
                  </a:lnTo>
                  <a:lnTo>
                    <a:pt x="166" y="126"/>
                  </a:lnTo>
                  <a:lnTo>
                    <a:pt x="155" y="126"/>
                  </a:lnTo>
                  <a:lnTo>
                    <a:pt x="115" y="145"/>
                  </a:lnTo>
                  <a:lnTo>
                    <a:pt x="96" y="155"/>
                  </a:lnTo>
                  <a:lnTo>
                    <a:pt x="82" y="157"/>
                  </a:lnTo>
                  <a:lnTo>
                    <a:pt x="50" y="155"/>
                  </a:lnTo>
                  <a:lnTo>
                    <a:pt x="37" y="155"/>
                  </a:lnTo>
                  <a:lnTo>
                    <a:pt x="27" y="140"/>
                  </a:lnTo>
                  <a:lnTo>
                    <a:pt x="22" y="135"/>
                  </a:lnTo>
                  <a:lnTo>
                    <a:pt x="11" y="129"/>
                  </a:lnTo>
                  <a:lnTo>
                    <a:pt x="5" y="122"/>
                  </a:lnTo>
                  <a:lnTo>
                    <a:pt x="0" y="107"/>
                  </a:lnTo>
                  <a:lnTo>
                    <a:pt x="0" y="90"/>
                  </a:lnTo>
                  <a:lnTo>
                    <a:pt x="34" y="76"/>
                  </a:lnTo>
                  <a:lnTo>
                    <a:pt x="72" y="76"/>
                  </a:lnTo>
                  <a:lnTo>
                    <a:pt x="95" y="55"/>
                  </a:lnTo>
                  <a:lnTo>
                    <a:pt x="98" y="19"/>
                  </a:lnTo>
                  <a:lnTo>
                    <a:pt x="120" y="8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5" name="Freeform 95"/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 bwMode="gray">
            <a:xfrm>
              <a:off x="1858963" y="5156200"/>
              <a:ext cx="381000" cy="184150"/>
            </a:xfrm>
            <a:custGeom>
              <a:avLst/>
              <a:gdLst>
                <a:gd name="T0" fmla="*/ 2147483647 w 402"/>
                <a:gd name="T1" fmla="*/ 2147483647 h 220"/>
                <a:gd name="T2" fmla="*/ 2147483647 w 402"/>
                <a:gd name="T3" fmla="*/ 2147483647 h 220"/>
                <a:gd name="T4" fmla="*/ 2147483647 w 402"/>
                <a:gd name="T5" fmla="*/ 2147483647 h 220"/>
                <a:gd name="T6" fmla="*/ 2147483647 w 402"/>
                <a:gd name="T7" fmla="*/ 2147483647 h 220"/>
                <a:gd name="T8" fmla="*/ 2147483647 w 402"/>
                <a:gd name="T9" fmla="*/ 2147483647 h 220"/>
                <a:gd name="T10" fmla="*/ 2147483647 w 402"/>
                <a:gd name="T11" fmla="*/ 2147483647 h 220"/>
                <a:gd name="T12" fmla="*/ 2147483647 w 402"/>
                <a:gd name="T13" fmla="*/ 2147483647 h 220"/>
                <a:gd name="T14" fmla="*/ 2147483647 w 402"/>
                <a:gd name="T15" fmla="*/ 2147483647 h 220"/>
                <a:gd name="T16" fmla="*/ 0 w 402"/>
                <a:gd name="T17" fmla="*/ 2147483647 h 220"/>
                <a:gd name="T18" fmla="*/ 2147483647 w 402"/>
                <a:gd name="T19" fmla="*/ 2147483647 h 220"/>
                <a:gd name="T20" fmla="*/ 2147483647 w 402"/>
                <a:gd name="T21" fmla="*/ 2147483647 h 220"/>
                <a:gd name="T22" fmla="*/ 2147483647 w 402"/>
                <a:gd name="T23" fmla="*/ 2147483647 h 220"/>
                <a:gd name="T24" fmla="*/ 2147483647 w 402"/>
                <a:gd name="T25" fmla="*/ 2147483647 h 220"/>
                <a:gd name="T26" fmla="*/ 2147483647 w 402"/>
                <a:gd name="T27" fmla="*/ 0 h 220"/>
                <a:gd name="T28" fmla="*/ 2147483647 w 402"/>
                <a:gd name="T29" fmla="*/ 2147483647 h 220"/>
                <a:gd name="T30" fmla="*/ 2147483647 w 402"/>
                <a:gd name="T31" fmla="*/ 2147483647 h 220"/>
                <a:gd name="T32" fmla="*/ 2147483647 w 402"/>
                <a:gd name="T33" fmla="*/ 2147483647 h 220"/>
                <a:gd name="T34" fmla="*/ 2147483647 w 402"/>
                <a:gd name="T35" fmla="*/ 2147483647 h 220"/>
                <a:gd name="T36" fmla="*/ 2147483647 w 402"/>
                <a:gd name="T37" fmla="*/ 2147483647 h 220"/>
                <a:gd name="T38" fmla="*/ 2147483647 w 402"/>
                <a:gd name="T39" fmla="*/ 2147483647 h 220"/>
                <a:gd name="T40" fmla="*/ 2147483647 w 402"/>
                <a:gd name="T41" fmla="*/ 2147483647 h 220"/>
                <a:gd name="T42" fmla="*/ 2147483647 w 402"/>
                <a:gd name="T43" fmla="*/ 2147483647 h 220"/>
                <a:gd name="T44" fmla="*/ 2147483647 w 402"/>
                <a:gd name="T45" fmla="*/ 2147483647 h 220"/>
                <a:gd name="T46" fmla="*/ 2147483647 w 402"/>
                <a:gd name="T47" fmla="*/ 2147483647 h 220"/>
                <a:gd name="T48" fmla="*/ 2147483647 w 402"/>
                <a:gd name="T49" fmla="*/ 2147483647 h 220"/>
                <a:gd name="T50" fmla="*/ 2147483647 w 402"/>
                <a:gd name="T51" fmla="*/ 2147483647 h 220"/>
                <a:gd name="T52" fmla="*/ 2147483647 w 402"/>
                <a:gd name="T53" fmla="*/ 2147483647 h 220"/>
                <a:gd name="T54" fmla="*/ 2147483647 w 402"/>
                <a:gd name="T55" fmla="*/ 2147483647 h 220"/>
                <a:gd name="T56" fmla="*/ 2147483647 w 402"/>
                <a:gd name="T57" fmla="*/ 2147483647 h 220"/>
                <a:gd name="T58" fmla="*/ 2147483647 w 402"/>
                <a:gd name="T59" fmla="*/ 2147483647 h 220"/>
                <a:gd name="T60" fmla="*/ 2147483647 w 402"/>
                <a:gd name="T61" fmla="*/ 2147483647 h 220"/>
                <a:gd name="T62" fmla="*/ 2147483647 w 402"/>
                <a:gd name="T63" fmla="*/ 2147483647 h 220"/>
                <a:gd name="T64" fmla="*/ 2147483647 w 402"/>
                <a:gd name="T65" fmla="*/ 2147483647 h 220"/>
                <a:gd name="T66" fmla="*/ 2147483647 w 402"/>
                <a:gd name="T67" fmla="*/ 2147483647 h 220"/>
                <a:gd name="T68" fmla="*/ 2147483647 w 402"/>
                <a:gd name="T69" fmla="*/ 2147483647 h 220"/>
                <a:gd name="T70" fmla="*/ 2147483647 w 402"/>
                <a:gd name="T71" fmla="*/ 2147483647 h 220"/>
                <a:gd name="T72" fmla="*/ 2147483647 w 402"/>
                <a:gd name="T73" fmla="*/ 2147483647 h 220"/>
                <a:gd name="T74" fmla="*/ 2147483647 w 402"/>
                <a:gd name="T75" fmla="*/ 2147483647 h 220"/>
                <a:gd name="T76" fmla="*/ 2147483647 w 402"/>
                <a:gd name="T77" fmla="*/ 2147483647 h 220"/>
                <a:gd name="T78" fmla="*/ 2147483647 w 402"/>
                <a:gd name="T79" fmla="*/ 2147483647 h 220"/>
                <a:gd name="T80" fmla="*/ 2147483647 w 402"/>
                <a:gd name="T81" fmla="*/ 2147483647 h 220"/>
                <a:gd name="T82" fmla="*/ 2147483647 w 402"/>
                <a:gd name="T83" fmla="*/ 2147483647 h 220"/>
                <a:gd name="T84" fmla="*/ 2147483647 w 402"/>
                <a:gd name="T85" fmla="*/ 2147483647 h 220"/>
                <a:gd name="T86" fmla="*/ 2147483647 w 402"/>
                <a:gd name="T87" fmla="*/ 2147483647 h 220"/>
                <a:gd name="T88" fmla="*/ 2147483647 w 402"/>
                <a:gd name="T89" fmla="*/ 2147483647 h 220"/>
                <a:gd name="T90" fmla="*/ 2147483647 w 402"/>
                <a:gd name="T91" fmla="*/ 2147483647 h 220"/>
                <a:gd name="T92" fmla="*/ 2147483647 w 402"/>
                <a:gd name="T93" fmla="*/ 2147483647 h 22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2"/>
                <a:gd name="T142" fmla="*/ 0 h 220"/>
                <a:gd name="T143" fmla="*/ 402 w 402"/>
                <a:gd name="T144" fmla="*/ 220 h 22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2" h="220">
                  <a:moveTo>
                    <a:pt x="99" y="211"/>
                  </a:moveTo>
                  <a:lnTo>
                    <a:pt x="96" y="199"/>
                  </a:lnTo>
                  <a:lnTo>
                    <a:pt x="83" y="192"/>
                  </a:lnTo>
                  <a:lnTo>
                    <a:pt x="36" y="149"/>
                  </a:lnTo>
                  <a:lnTo>
                    <a:pt x="33" y="126"/>
                  </a:lnTo>
                  <a:lnTo>
                    <a:pt x="12" y="123"/>
                  </a:lnTo>
                  <a:lnTo>
                    <a:pt x="13" y="102"/>
                  </a:lnTo>
                  <a:lnTo>
                    <a:pt x="6" y="82"/>
                  </a:lnTo>
                  <a:lnTo>
                    <a:pt x="0" y="71"/>
                  </a:lnTo>
                  <a:lnTo>
                    <a:pt x="4" y="59"/>
                  </a:lnTo>
                  <a:lnTo>
                    <a:pt x="19" y="59"/>
                  </a:lnTo>
                  <a:lnTo>
                    <a:pt x="45" y="53"/>
                  </a:lnTo>
                  <a:lnTo>
                    <a:pt x="126" y="11"/>
                  </a:lnTo>
                  <a:lnTo>
                    <a:pt x="143" y="0"/>
                  </a:lnTo>
                  <a:lnTo>
                    <a:pt x="154" y="13"/>
                  </a:lnTo>
                  <a:lnTo>
                    <a:pt x="171" y="6"/>
                  </a:lnTo>
                  <a:lnTo>
                    <a:pt x="187" y="7"/>
                  </a:lnTo>
                  <a:lnTo>
                    <a:pt x="197" y="14"/>
                  </a:lnTo>
                  <a:lnTo>
                    <a:pt x="197" y="33"/>
                  </a:lnTo>
                  <a:lnTo>
                    <a:pt x="226" y="52"/>
                  </a:lnTo>
                  <a:lnTo>
                    <a:pt x="228" y="65"/>
                  </a:lnTo>
                  <a:lnTo>
                    <a:pt x="239" y="80"/>
                  </a:lnTo>
                  <a:lnTo>
                    <a:pt x="247" y="86"/>
                  </a:lnTo>
                  <a:lnTo>
                    <a:pt x="252" y="80"/>
                  </a:lnTo>
                  <a:lnTo>
                    <a:pt x="273" y="69"/>
                  </a:lnTo>
                  <a:lnTo>
                    <a:pt x="282" y="71"/>
                  </a:lnTo>
                  <a:lnTo>
                    <a:pt x="308" y="100"/>
                  </a:lnTo>
                  <a:lnTo>
                    <a:pt x="314" y="99"/>
                  </a:lnTo>
                  <a:lnTo>
                    <a:pt x="341" y="115"/>
                  </a:lnTo>
                  <a:lnTo>
                    <a:pt x="381" y="113"/>
                  </a:lnTo>
                  <a:lnTo>
                    <a:pt x="402" y="126"/>
                  </a:lnTo>
                  <a:lnTo>
                    <a:pt x="358" y="151"/>
                  </a:lnTo>
                  <a:lnTo>
                    <a:pt x="356" y="181"/>
                  </a:lnTo>
                  <a:lnTo>
                    <a:pt x="329" y="206"/>
                  </a:lnTo>
                  <a:lnTo>
                    <a:pt x="300" y="205"/>
                  </a:lnTo>
                  <a:lnTo>
                    <a:pt x="284" y="212"/>
                  </a:lnTo>
                  <a:lnTo>
                    <a:pt x="264" y="220"/>
                  </a:lnTo>
                  <a:lnTo>
                    <a:pt x="239" y="204"/>
                  </a:lnTo>
                  <a:lnTo>
                    <a:pt x="223" y="212"/>
                  </a:lnTo>
                  <a:lnTo>
                    <a:pt x="209" y="215"/>
                  </a:lnTo>
                  <a:lnTo>
                    <a:pt x="197" y="196"/>
                  </a:lnTo>
                  <a:lnTo>
                    <a:pt x="162" y="197"/>
                  </a:lnTo>
                  <a:lnTo>
                    <a:pt x="151" y="205"/>
                  </a:lnTo>
                  <a:lnTo>
                    <a:pt x="143" y="213"/>
                  </a:lnTo>
                  <a:lnTo>
                    <a:pt x="128" y="213"/>
                  </a:lnTo>
                  <a:lnTo>
                    <a:pt x="112" y="216"/>
                  </a:lnTo>
                  <a:lnTo>
                    <a:pt x="99" y="211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6" name="Freeform 96"/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 bwMode="gray">
            <a:xfrm>
              <a:off x="2428875" y="4535487"/>
              <a:ext cx="206375" cy="155575"/>
            </a:xfrm>
            <a:custGeom>
              <a:avLst/>
              <a:gdLst>
                <a:gd name="T0" fmla="*/ 2147483647 w 214"/>
                <a:gd name="T1" fmla="*/ 2147483647 h 191"/>
                <a:gd name="T2" fmla="*/ 2147483647 w 214"/>
                <a:gd name="T3" fmla="*/ 2147483647 h 191"/>
                <a:gd name="T4" fmla="*/ 2147483647 w 214"/>
                <a:gd name="T5" fmla="*/ 2147483647 h 191"/>
                <a:gd name="T6" fmla="*/ 2147483647 w 214"/>
                <a:gd name="T7" fmla="*/ 2147483647 h 191"/>
                <a:gd name="T8" fmla="*/ 2147483647 w 214"/>
                <a:gd name="T9" fmla="*/ 2147483647 h 191"/>
                <a:gd name="T10" fmla="*/ 2147483647 w 214"/>
                <a:gd name="T11" fmla="*/ 2147483647 h 191"/>
                <a:gd name="T12" fmla="*/ 2147483647 w 214"/>
                <a:gd name="T13" fmla="*/ 2147483647 h 191"/>
                <a:gd name="T14" fmla="*/ 2147483647 w 214"/>
                <a:gd name="T15" fmla="*/ 2147483647 h 191"/>
                <a:gd name="T16" fmla="*/ 2147483647 w 214"/>
                <a:gd name="T17" fmla="*/ 2147483647 h 191"/>
                <a:gd name="T18" fmla="*/ 2147483647 w 214"/>
                <a:gd name="T19" fmla="*/ 2147483647 h 191"/>
                <a:gd name="T20" fmla="*/ 2147483647 w 214"/>
                <a:gd name="T21" fmla="*/ 2147483647 h 191"/>
                <a:gd name="T22" fmla="*/ 2147483647 w 214"/>
                <a:gd name="T23" fmla="*/ 2147483647 h 191"/>
                <a:gd name="T24" fmla="*/ 2147483647 w 214"/>
                <a:gd name="T25" fmla="*/ 2147483647 h 191"/>
                <a:gd name="T26" fmla="*/ 2147483647 w 214"/>
                <a:gd name="T27" fmla="*/ 2147483647 h 191"/>
                <a:gd name="T28" fmla="*/ 2147483647 w 214"/>
                <a:gd name="T29" fmla="*/ 2147483647 h 191"/>
                <a:gd name="T30" fmla="*/ 2147483647 w 214"/>
                <a:gd name="T31" fmla="*/ 2147483647 h 191"/>
                <a:gd name="T32" fmla="*/ 2147483647 w 214"/>
                <a:gd name="T33" fmla="*/ 2147483647 h 191"/>
                <a:gd name="T34" fmla="*/ 2147483647 w 214"/>
                <a:gd name="T35" fmla="*/ 2147483647 h 191"/>
                <a:gd name="T36" fmla="*/ 2147483647 w 214"/>
                <a:gd name="T37" fmla="*/ 2147483647 h 191"/>
                <a:gd name="T38" fmla="*/ 2147483647 w 214"/>
                <a:gd name="T39" fmla="*/ 2147483647 h 191"/>
                <a:gd name="T40" fmla="*/ 2147483647 w 214"/>
                <a:gd name="T41" fmla="*/ 0 h 191"/>
                <a:gd name="T42" fmla="*/ 2147483647 w 214"/>
                <a:gd name="T43" fmla="*/ 2147483647 h 191"/>
                <a:gd name="T44" fmla="*/ 2147483647 w 214"/>
                <a:gd name="T45" fmla="*/ 2147483647 h 191"/>
                <a:gd name="T46" fmla="*/ 2147483647 w 214"/>
                <a:gd name="T47" fmla="*/ 2147483647 h 191"/>
                <a:gd name="T48" fmla="*/ 2147483647 w 214"/>
                <a:gd name="T49" fmla="*/ 2147483647 h 191"/>
                <a:gd name="T50" fmla="*/ 2147483647 w 214"/>
                <a:gd name="T51" fmla="*/ 2147483647 h 191"/>
                <a:gd name="T52" fmla="*/ 2147483647 w 214"/>
                <a:gd name="T53" fmla="*/ 2147483647 h 191"/>
                <a:gd name="T54" fmla="*/ 0 w 214"/>
                <a:gd name="T55" fmla="*/ 2147483647 h 191"/>
                <a:gd name="T56" fmla="*/ 2147483647 w 214"/>
                <a:gd name="T57" fmla="*/ 2147483647 h 191"/>
                <a:gd name="T58" fmla="*/ 2147483647 w 214"/>
                <a:gd name="T59" fmla="*/ 2147483647 h 191"/>
                <a:gd name="T60" fmla="*/ 2147483647 w 214"/>
                <a:gd name="T61" fmla="*/ 2147483647 h 191"/>
                <a:gd name="T62" fmla="*/ 2147483647 w 214"/>
                <a:gd name="T63" fmla="*/ 2147483647 h 191"/>
                <a:gd name="T64" fmla="*/ 2147483647 w 214"/>
                <a:gd name="T65" fmla="*/ 2147483647 h 191"/>
                <a:gd name="T66" fmla="*/ 2147483647 w 214"/>
                <a:gd name="T67" fmla="*/ 2147483647 h 191"/>
                <a:gd name="T68" fmla="*/ 2147483647 w 214"/>
                <a:gd name="T69" fmla="*/ 2147483647 h 191"/>
                <a:gd name="T70" fmla="*/ 2147483647 w 214"/>
                <a:gd name="T71" fmla="*/ 2147483647 h 191"/>
                <a:gd name="T72" fmla="*/ 2147483647 w 214"/>
                <a:gd name="T73" fmla="*/ 2147483647 h 191"/>
                <a:gd name="T74" fmla="*/ 2147483647 w 214"/>
                <a:gd name="T75" fmla="*/ 2147483647 h 191"/>
                <a:gd name="T76" fmla="*/ 2147483647 w 214"/>
                <a:gd name="T77" fmla="*/ 2147483647 h 191"/>
                <a:gd name="T78" fmla="*/ 2147483647 w 214"/>
                <a:gd name="T79" fmla="*/ 2147483647 h 191"/>
                <a:gd name="T80" fmla="*/ 2147483647 w 214"/>
                <a:gd name="T81" fmla="*/ 2147483647 h 191"/>
                <a:gd name="T82" fmla="*/ 2147483647 w 214"/>
                <a:gd name="T83" fmla="*/ 2147483647 h 191"/>
                <a:gd name="T84" fmla="*/ 2147483647 w 214"/>
                <a:gd name="T85" fmla="*/ 2147483647 h 191"/>
                <a:gd name="T86" fmla="*/ 2147483647 w 214"/>
                <a:gd name="T87" fmla="*/ 2147483647 h 191"/>
                <a:gd name="T88" fmla="*/ 2147483647 w 214"/>
                <a:gd name="T89" fmla="*/ 2147483647 h 191"/>
                <a:gd name="T90" fmla="*/ 2147483647 w 214"/>
                <a:gd name="T91" fmla="*/ 2147483647 h 19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14"/>
                <a:gd name="T139" fmla="*/ 0 h 191"/>
                <a:gd name="T140" fmla="*/ 214 w 214"/>
                <a:gd name="T141" fmla="*/ 191 h 19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14" h="191">
                  <a:moveTo>
                    <a:pt x="207" y="180"/>
                  </a:moveTo>
                  <a:lnTo>
                    <a:pt x="205" y="169"/>
                  </a:lnTo>
                  <a:lnTo>
                    <a:pt x="212" y="159"/>
                  </a:lnTo>
                  <a:lnTo>
                    <a:pt x="212" y="145"/>
                  </a:lnTo>
                  <a:lnTo>
                    <a:pt x="197" y="134"/>
                  </a:lnTo>
                  <a:lnTo>
                    <a:pt x="192" y="128"/>
                  </a:lnTo>
                  <a:lnTo>
                    <a:pt x="188" y="109"/>
                  </a:lnTo>
                  <a:lnTo>
                    <a:pt x="179" y="93"/>
                  </a:lnTo>
                  <a:lnTo>
                    <a:pt x="169" y="80"/>
                  </a:lnTo>
                  <a:lnTo>
                    <a:pt x="169" y="69"/>
                  </a:lnTo>
                  <a:lnTo>
                    <a:pt x="175" y="61"/>
                  </a:lnTo>
                  <a:lnTo>
                    <a:pt x="199" y="63"/>
                  </a:lnTo>
                  <a:lnTo>
                    <a:pt x="208" y="52"/>
                  </a:lnTo>
                  <a:lnTo>
                    <a:pt x="214" y="24"/>
                  </a:lnTo>
                  <a:lnTo>
                    <a:pt x="212" y="15"/>
                  </a:lnTo>
                  <a:lnTo>
                    <a:pt x="201" y="13"/>
                  </a:lnTo>
                  <a:lnTo>
                    <a:pt x="181" y="15"/>
                  </a:lnTo>
                  <a:lnTo>
                    <a:pt x="153" y="15"/>
                  </a:lnTo>
                  <a:lnTo>
                    <a:pt x="132" y="6"/>
                  </a:lnTo>
                  <a:lnTo>
                    <a:pt x="117" y="2"/>
                  </a:lnTo>
                  <a:lnTo>
                    <a:pt x="104" y="0"/>
                  </a:lnTo>
                  <a:lnTo>
                    <a:pt x="91" y="17"/>
                  </a:lnTo>
                  <a:lnTo>
                    <a:pt x="76" y="28"/>
                  </a:lnTo>
                  <a:lnTo>
                    <a:pt x="54" y="26"/>
                  </a:lnTo>
                  <a:lnTo>
                    <a:pt x="41" y="35"/>
                  </a:lnTo>
                  <a:lnTo>
                    <a:pt x="20" y="56"/>
                  </a:lnTo>
                  <a:lnTo>
                    <a:pt x="4" y="69"/>
                  </a:lnTo>
                  <a:lnTo>
                    <a:pt x="0" y="78"/>
                  </a:lnTo>
                  <a:lnTo>
                    <a:pt x="9" y="95"/>
                  </a:lnTo>
                  <a:lnTo>
                    <a:pt x="19" y="117"/>
                  </a:lnTo>
                  <a:lnTo>
                    <a:pt x="30" y="130"/>
                  </a:lnTo>
                  <a:lnTo>
                    <a:pt x="41" y="126"/>
                  </a:lnTo>
                  <a:lnTo>
                    <a:pt x="60" y="119"/>
                  </a:lnTo>
                  <a:lnTo>
                    <a:pt x="58" y="137"/>
                  </a:lnTo>
                  <a:lnTo>
                    <a:pt x="52" y="159"/>
                  </a:lnTo>
                  <a:lnTo>
                    <a:pt x="54" y="163"/>
                  </a:lnTo>
                  <a:lnTo>
                    <a:pt x="63" y="163"/>
                  </a:lnTo>
                  <a:lnTo>
                    <a:pt x="76" y="159"/>
                  </a:lnTo>
                  <a:lnTo>
                    <a:pt x="104" y="162"/>
                  </a:lnTo>
                  <a:lnTo>
                    <a:pt x="112" y="172"/>
                  </a:lnTo>
                  <a:lnTo>
                    <a:pt x="128" y="178"/>
                  </a:lnTo>
                  <a:lnTo>
                    <a:pt x="141" y="191"/>
                  </a:lnTo>
                  <a:lnTo>
                    <a:pt x="150" y="189"/>
                  </a:lnTo>
                  <a:lnTo>
                    <a:pt x="167" y="180"/>
                  </a:lnTo>
                  <a:lnTo>
                    <a:pt x="184" y="178"/>
                  </a:lnTo>
                  <a:lnTo>
                    <a:pt x="207" y="18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7" name="Freeform 97"/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 bwMode="gray">
            <a:xfrm>
              <a:off x="1987550" y="4884737"/>
              <a:ext cx="522288" cy="423862"/>
            </a:xfrm>
            <a:custGeom>
              <a:avLst/>
              <a:gdLst>
                <a:gd name="T0" fmla="*/ 2147483647 w 551"/>
                <a:gd name="T1" fmla="*/ 2147483647 h 518"/>
                <a:gd name="T2" fmla="*/ 0 w 551"/>
                <a:gd name="T3" fmla="*/ 2147483647 h 518"/>
                <a:gd name="T4" fmla="*/ 2147483647 w 551"/>
                <a:gd name="T5" fmla="*/ 2147483647 h 518"/>
                <a:gd name="T6" fmla="*/ 2147483647 w 551"/>
                <a:gd name="T7" fmla="*/ 2147483647 h 518"/>
                <a:gd name="T8" fmla="*/ 2147483647 w 551"/>
                <a:gd name="T9" fmla="*/ 2147483647 h 518"/>
                <a:gd name="T10" fmla="*/ 2147483647 w 551"/>
                <a:gd name="T11" fmla="*/ 2147483647 h 518"/>
                <a:gd name="T12" fmla="*/ 2147483647 w 551"/>
                <a:gd name="T13" fmla="*/ 2147483647 h 518"/>
                <a:gd name="T14" fmla="*/ 2147483647 w 551"/>
                <a:gd name="T15" fmla="*/ 2147483647 h 518"/>
                <a:gd name="T16" fmla="*/ 2147483647 w 551"/>
                <a:gd name="T17" fmla="*/ 2147483647 h 518"/>
                <a:gd name="T18" fmla="*/ 2147483647 w 551"/>
                <a:gd name="T19" fmla="*/ 2147483647 h 518"/>
                <a:gd name="T20" fmla="*/ 2147483647 w 551"/>
                <a:gd name="T21" fmla="*/ 2147483647 h 518"/>
                <a:gd name="T22" fmla="*/ 2147483647 w 551"/>
                <a:gd name="T23" fmla="*/ 2147483647 h 518"/>
                <a:gd name="T24" fmla="*/ 2147483647 w 551"/>
                <a:gd name="T25" fmla="*/ 2147483647 h 518"/>
                <a:gd name="T26" fmla="*/ 2147483647 w 551"/>
                <a:gd name="T27" fmla="*/ 2147483647 h 518"/>
                <a:gd name="T28" fmla="*/ 2147483647 w 551"/>
                <a:gd name="T29" fmla="*/ 2147483647 h 518"/>
                <a:gd name="T30" fmla="*/ 2147483647 w 551"/>
                <a:gd name="T31" fmla="*/ 2147483647 h 518"/>
                <a:gd name="T32" fmla="*/ 2147483647 w 551"/>
                <a:gd name="T33" fmla="*/ 2147483647 h 518"/>
                <a:gd name="T34" fmla="*/ 2147483647 w 551"/>
                <a:gd name="T35" fmla="*/ 2147483647 h 518"/>
                <a:gd name="T36" fmla="*/ 2147483647 w 551"/>
                <a:gd name="T37" fmla="*/ 2147483647 h 518"/>
                <a:gd name="T38" fmla="*/ 2147483647 w 551"/>
                <a:gd name="T39" fmla="*/ 2147483647 h 518"/>
                <a:gd name="T40" fmla="*/ 2147483647 w 551"/>
                <a:gd name="T41" fmla="*/ 2147483647 h 518"/>
                <a:gd name="T42" fmla="*/ 2147483647 w 551"/>
                <a:gd name="T43" fmla="*/ 2147483647 h 518"/>
                <a:gd name="T44" fmla="*/ 2147483647 w 551"/>
                <a:gd name="T45" fmla="*/ 2147483647 h 518"/>
                <a:gd name="T46" fmla="*/ 2147483647 w 551"/>
                <a:gd name="T47" fmla="*/ 2147483647 h 518"/>
                <a:gd name="T48" fmla="*/ 2147483647 w 551"/>
                <a:gd name="T49" fmla="*/ 2147483647 h 518"/>
                <a:gd name="T50" fmla="*/ 2147483647 w 551"/>
                <a:gd name="T51" fmla="*/ 2147483647 h 518"/>
                <a:gd name="T52" fmla="*/ 2147483647 w 551"/>
                <a:gd name="T53" fmla="*/ 2147483647 h 518"/>
                <a:gd name="T54" fmla="*/ 2147483647 w 551"/>
                <a:gd name="T55" fmla="*/ 2147483647 h 518"/>
                <a:gd name="T56" fmla="*/ 2147483647 w 551"/>
                <a:gd name="T57" fmla="*/ 2147483647 h 518"/>
                <a:gd name="T58" fmla="*/ 2147483647 w 551"/>
                <a:gd name="T59" fmla="*/ 2147483647 h 518"/>
                <a:gd name="T60" fmla="*/ 2147483647 w 551"/>
                <a:gd name="T61" fmla="*/ 2147483647 h 518"/>
                <a:gd name="T62" fmla="*/ 2147483647 w 551"/>
                <a:gd name="T63" fmla="*/ 2147483647 h 518"/>
                <a:gd name="T64" fmla="*/ 2147483647 w 551"/>
                <a:gd name="T65" fmla="*/ 2147483647 h 518"/>
                <a:gd name="T66" fmla="*/ 2147483647 w 551"/>
                <a:gd name="T67" fmla="*/ 2147483647 h 518"/>
                <a:gd name="T68" fmla="*/ 2147483647 w 551"/>
                <a:gd name="T69" fmla="*/ 2147483647 h 518"/>
                <a:gd name="T70" fmla="*/ 2147483647 w 551"/>
                <a:gd name="T71" fmla="*/ 2147483647 h 518"/>
                <a:gd name="T72" fmla="*/ 2147483647 w 551"/>
                <a:gd name="T73" fmla="*/ 2147483647 h 518"/>
                <a:gd name="T74" fmla="*/ 2147483647 w 551"/>
                <a:gd name="T75" fmla="*/ 2147483647 h 518"/>
                <a:gd name="T76" fmla="*/ 2147483647 w 551"/>
                <a:gd name="T77" fmla="*/ 2147483647 h 518"/>
                <a:gd name="T78" fmla="*/ 2147483647 w 551"/>
                <a:gd name="T79" fmla="*/ 2147483647 h 518"/>
                <a:gd name="T80" fmla="*/ 2147483647 w 551"/>
                <a:gd name="T81" fmla="*/ 2147483647 h 518"/>
                <a:gd name="T82" fmla="*/ 2147483647 w 551"/>
                <a:gd name="T83" fmla="*/ 2147483647 h 518"/>
                <a:gd name="T84" fmla="*/ 2147483647 w 551"/>
                <a:gd name="T85" fmla="*/ 2147483647 h 518"/>
                <a:gd name="T86" fmla="*/ 2147483647 w 551"/>
                <a:gd name="T87" fmla="*/ 2147483647 h 518"/>
                <a:gd name="T88" fmla="*/ 2147483647 w 551"/>
                <a:gd name="T89" fmla="*/ 2147483647 h 518"/>
                <a:gd name="T90" fmla="*/ 2147483647 w 551"/>
                <a:gd name="T91" fmla="*/ 2147483647 h 518"/>
                <a:gd name="T92" fmla="*/ 2147483647 w 551"/>
                <a:gd name="T93" fmla="*/ 2147483647 h 518"/>
                <a:gd name="T94" fmla="*/ 2147483647 w 551"/>
                <a:gd name="T95" fmla="*/ 2147483647 h 51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51"/>
                <a:gd name="T145" fmla="*/ 0 h 518"/>
                <a:gd name="T146" fmla="*/ 551 w 551"/>
                <a:gd name="T147" fmla="*/ 518 h 51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51" h="518">
                  <a:moveTo>
                    <a:pt x="13" y="98"/>
                  </a:moveTo>
                  <a:lnTo>
                    <a:pt x="11" y="130"/>
                  </a:lnTo>
                  <a:lnTo>
                    <a:pt x="11" y="150"/>
                  </a:lnTo>
                  <a:lnTo>
                    <a:pt x="0" y="165"/>
                  </a:lnTo>
                  <a:lnTo>
                    <a:pt x="22" y="191"/>
                  </a:lnTo>
                  <a:lnTo>
                    <a:pt x="24" y="198"/>
                  </a:lnTo>
                  <a:lnTo>
                    <a:pt x="19" y="215"/>
                  </a:lnTo>
                  <a:lnTo>
                    <a:pt x="20" y="226"/>
                  </a:lnTo>
                  <a:lnTo>
                    <a:pt x="31" y="241"/>
                  </a:lnTo>
                  <a:lnTo>
                    <a:pt x="30" y="250"/>
                  </a:lnTo>
                  <a:lnTo>
                    <a:pt x="28" y="278"/>
                  </a:lnTo>
                  <a:lnTo>
                    <a:pt x="37" y="297"/>
                  </a:lnTo>
                  <a:lnTo>
                    <a:pt x="44" y="308"/>
                  </a:lnTo>
                  <a:lnTo>
                    <a:pt x="39" y="315"/>
                  </a:lnTo>
                  <a:lnTo>
                    <a:pt x="39" y="326"/>
                  </a:lnTo>
                  <a:lnTo>
                    <a:pt x="33" y="332"/>
                  </a:lnTo>
                  <a:lnTo>
                    <a:pt x="33" y="339"/>
                  </a:lnTo>
                  <a:lnTo>
                    <a:pt x="48" y="341"/>
                  </a:lnTo>
                  <a:lnTo>
                    <a:pt x="59" y="345"/>
                  </a:lnTo>
                  <a:lnTo>
                    <a:pt x="63" y="352"/>
                  </a:lnTo>
                  <a:lnTo>
                    <a:pt x="63" y="365"/>
                  </a:lnTo>
                  <a:lnTo>
                    <a:pt x="78" y="380"/>
                  </a:lnTo>
                  <a:lnTo>
                    <a:pt x="91" y="386"/>
                  </a:lnTo>
                  <a:lnTo>
                    <a:pt x="94" y="399"/>
                  </a:lnTo>
                  <a:lnTo>
                    <a:pt x="111" y="421"/>
                  </a:lnTo>
                  <a:lnTo>
                    <a:pt x="126" y="408"/>
                  </a:lnTo>
                  <a:lnTo>
                    <a:pt x="139" y="404"/>
                  </a:lnTo>
                  <a:lnTo>
                    <a:pt x="148" y="406"/>
                  </a:lnTo>
                  <a:lnTo>
                    <a:pt x="174" y="434"/>
                  </a:lnTo>
                  <a:lnTo>
                    <a:pt x="180" y="436"/>
                  </a:lnTo>
                  <a:lnTo>
                    <a:pt x="211" y="450"/>
                  </a:lnTo>
                  <a:lnTo>
                    <a:pt x="218" y="452"/>
                  </a:lnTo>
                  <a:lnTo>
                    <a:pt x="231" y="449"/>
                  </a:lnTo>
                  <a:lnTo>
                    <a:pt x="246" y="447"/>
                  </a:lnTo>
                  <a:lnTo>
                    <a:pt x="259" y="452"/>
                  </a:lnTo>
                  <a:lnTo>
                    <a:pt x="276" y="467"/>
                  </a:lnTo>
                  <a:lnTo>
                    <a:pt x="283" y="475"/>
                  </a:lnTo>
                  <a:lnTo>
                    <a:pt x="291" y="469"/>
                  </a:lnTo>
                  <a:lnTo>
                    <a:pt x="300" y="467"/>
                  </a:lnTo>
                  <a:lnTo>
                    <a:pt x="314" y="478"/>
                  </a:lnTo>
                  <a:lnTo>
                    <a:pt x="329" y="490"/>
                  </a:lnTo>
                  <a:lnTo>
                    <a:pt x="340" y="498"/>
                  </a:lnTo>
                  <a:lnTo>
                    <a:pt x="355" y="503"/>
                  </a:lnTo>
                  <a:lnTo>
                    <a:pt x="362" y="501"/>
                  </a:lnTo>
                  <a:lnTo>
                    <a:pt x="369" y="494"/>
                  </a:lnTo>
                  <a:lnTo>
                    <a:pt x="379" y="490"/>
                  </a:lnTo>
                  <a:lnTo>
                    <a:pt x="397" y="496"/>
                  </a:lnTo>
                  <a:lnTo>
                    <a:pt x="482" y="518"/>
                  </a:lnTo>
                  <a:lnTo>
                    <a:pt x="495" y="507"/>
                  </a:lnTo>
                  <a:lnTo>
                    <a:pt x="486" y="490"/>
                  </a:lnTo>
                  <a:lnTo>
                    <a:pt x="477" y="462"/>
                  </a:lnTo>
                  <a:lnTo>
                    <a:pt x="536" y="408"/>
                  </a:lnTo>
                  <a:lnTo>
                    <a:pt x="547" y="395"/>
                  </a:lnTo>
                  <a:lnTo>
                    <a:pt x="551" y="374"/>
                  </a:lnTo>
                  <a:lnTo>
                    <a:pt x="542" y="347"/>
                  </a:lnTo>
                  <a:lnTo>
                    <a:pt x="532" y="324"/>
                  </a:lnTo>
                  <a:lnTo>
                    <a:pt x="516" y="298"/>
                  </a:lnTo>
                  <a:lnTo>
                    <a:pt x="505" y="287"/>
                  </a:lnTo>
                  <a:lnTo>
                    <a:pt x="503" y="271"/>
                  </a:lnTo>
                  <a:lnTo>
                    <a:pt x="505" y="254"/>
                  </a:lnTo>
                  <a:lnTo>
                    <a:pt x="510" y="237"/>
                  </a:lnTo>
                  <a:lnTo>
                    <a:pt x="503" y="226"/>
                  </a:lnTo>
                  <a:lnTo>
                    <a:pt x="494" y="219"/>
                  </a:lnTo>
                  <a:lnTo>
                    <a:pt x="503" y="208"/>
                  </a:lnTo>
                  <a:lnTo>
                    <a:pt x="518" y="187"/>
                  </a:lnTo>
                  <a:lnTo>
                    <a:pt x="523" y="182"/>
                  </a:lnTo>
                  <a:lnTo>
                    <a:pt x="520" y="146"/>
                  </a:lnTo>
                  <a:lnTo>
                    <a:pt x="514" y="128"/>
                  </a:lnTo>
                  <a:lnTo>
                    <a:pt x="508" y="109"/>
                  </a:lnTo>
                  <a:lnTo>
                    <a:pt x="508" y="91"/>
                  </a:lnTo>
                  <a:lnTo>
                    <a:pt x="497" y="74"/>
                  </a:lnTo>
                  <a:lnTo>
                    <a:pt x="482" y="59"/>
                  </a:lnTo>
                  <a:lnTo>
                    <a:pt x="466" y="57"/>
                  </a:lnTo>
                  <a:lnTo>
                    <a:pt x="418" y="56"/>
                  </a:lnTo>
                  <a:lnTo>
                    <a:pt x="392" y="54"/>
                  </a:lnTo>
                  <a:lnTo>
                    <a:pt x="344" y="50"/>
                  </a:lnTo>
                  <a:lnTo>
                    <a:pt x="325" y="41"/>
                  </a:lnTo>
                  <a:lnTo>
                    <a:pt x="304" y="39"/>
                  </a:lnTo>
                  <a:lnTo>
                    <a:pt x="293" y="43"/>
                  </a:lnTo>
                  <a:lnTo>
                    <a:pt x="280" y="52"/>
                  </a:lnTo>
                  <a:lnTo>
                    <a:pt x="268" y="48"/>
                  </a:lnTo>
                  <a:lnTo>
                    <a:pt x="257" y="37"/>
                  </a:lnTo>
                  <a:lnTo>
                    <a:pt x="244" y="37"/>
                  </a:lnTo>
                  <a:lnTo>
                    <a:pt x="239" y="32"/>
                  </a:lnTo>
                  <a:lnTo>
                    <a:pt x="235" y="15"/>
                  </a:lnTo>
                  <a:lnTo>
                    <a:pt x="218" y="2"/>
                  </a:lnTo>
                  <a:lnTo>
                    <a:pt x="206" y="0"/>
                  </a:lnTo>
                  <a:lnTo>
                    <a:pt x="183" y="6"/>
                  </a:lnTo>
                  <a:lnTo>
                    <a:pt x="165" y="11"/>
                  </a:lnTo>
                  <a:lnTo>
                    <a:pt x="150" y="20"/>
                  </a:lnTo>
                  <a:lnTo>
                    <a:pt x="124" y="35"/>
                  </a:lnTo>
                  <a:lnTo>
                    <a:pt x="98" y="43"/>
                  </a:lnTo>
                  <a:lnTo>
                    <a:pt x="76" y="52"/>
                  </a:lnTo>
                  <a:lnTo>
                    <a:pt x="52" y="63"/>
                  </a:lnTo>
                  <a:lnTo>
                    <a:pt x="39" y="78"/>
                  </a:lnTo>
                  <a:lnTo>
                    <a:pt x="24" y="91"/>
                  </a:lnTo>
                  <a:lnTo>
                    <a:pt x="13" y="98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" name="Freeform 98"/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 bwMode="gray">
            <a:xfrm>
              <a:off x="1898127" y="5472358"/>
              <a:ext cx="187925" cy="88017"/>
            </a:xfrm>
            <a:custGeom>
              <a:avLst/>
              <a:gdLst>
                <a:gd name="T0" fmla="*/ 2147483647 w 198"/>
                <a:gd name="T1" fmla="*/ 2147483647 h 115"/>
                <a:gd name="T2" fmla="*/ 2147483647 w 198"/>
                <a:gd name="T3" fmla="*/ 2147483647 h 115"/>
                <a:gd name="T4" fmla="*/ 2147483647 w 198"/>
                <a:gd name="T5" fmla="*/ 2147483647 h 115"/>
                <a:gd name="T6" fmla="*/ 2147483647 w 198"/>
                <a:gd name="T7" fmla="*/ 2147483647 h 115"/>
                <a:gd name="T8" fmla="*/ 2147483647 w 198"/>
                <a:gd name="T9" fmla="*/ 2147483647 h 115"/>
                <a:gd name="T10" fmla="*/ 0 w 198"/>
                <a:gd name="T11" fmla="*/ 2147483647 h 115"/>
                <a:gd name="T12" fmla="*/ 2147483647 w 198"/>
                <a:gd name="T13" fmla="*/ 2147483647 h 115"/>
                <a:gd name="T14" fmla="*/ 2147483647 w 198"/>
                <a:gd name="T15" fmla="*/ 2147483647 h 115"/>
                <a:gd name="T16" fmla="*/ 2147483647 w 198"/>
                <a:gd name="T17" fmla="*/ 2147483647 h 115"/>
                <a:gd name="T18" fmla="*/ 2147483647 w 198"/>
                <a:gd name="T19" fmla="*/ 2147483647 h 115"/>
                <a:gd name="T20" fmla="*/ 2147483647 w 198"/>
                <a:gd name="T21" fmla="*/ 2147483647 h 115"/>
                <a:gd name="T22" fmla="*/ 2147483647 w 198"/>
                <a:gd name="T23" fmla="*/ 2147483647 h 115"/>
                <a:gd name="T24" fmla="*/ 2147483647 w 198"/>
                <a:gd name="T25" fmla="*/ 2147483647 h 115"/>
                <a:gd name="T26" fmla="*/ 2147483647 w 198"/>
                <a:gd name="T27" fmla="*/ 2147483647 h 115"/>
                <a:gd name="T28" fmla="*/ 2147483647 w 198"/>
                <a:gd name="T29" fmla="*/ 2147483647 h 115"/>
                <a:gd name="T30" fmla="*/ 2147483647 w 198"/>
                <a:gd name="T31" fmla="*/ 2147483647 h 115"/>
                <a:gd name="T32" fmla="*/ 2147483647 w 198"/>
                <a:gd name="T33" fmla="*/ 0 h 115"/>
                <a:gd name="T34" fmla="*/ 2147483647 w 198"/>
                <a:gd name="T35" fmla="*/ 2147483647 h 115"/>
                <a:gd name="T36" fmla="*/ 2147483647 w 198"/>
                <a:gd name="T37" fmla="*/ 2147483647 h 115"/>
                <a:gd name="T38" fmla="*/ 2147483647 w 198"/>
                <a:gd name="T39" fmla="*/ 2147483647 h 115"/>
                <a:gd name="T40" fmla="*/ 2147483647 w 198"/>
                <a:gd name="T41" fmla="*/ 2147483647 h 115"/>
                <a:gd name="T42" fmla="*/ 2147483647 w 198"/>
                <a:gd name="T43" fmla="*/ 2147483647 h 115"/>
                <a:gd name="T44" fmla="*/ 2147483647 w 198"/>
                <a:gd name="T45" fmla="*/ 2147483647 h 115"/>
                <a:gd name="T46" fmla="*/ 2147483647 w 198"/>
                <a:gd name="T47" fmla="*/ 2147483647 h 115"/>
                <a:gd name="T48" fmla="*/ 2147483647 w 198"/>
                <a:gd name="T49" fmla="*/ 2147483647 h 115"/>
                <a:gd name="T50" fmla="*/ 2147483647 w 198"/>
                <a:gd name="T51" fmla="*/ 2147483647 h 115"/>
                <a:gd name="T52" fmla="*/ 2147483647 w 198"/>
                <a:gd name="T53" fmla="*/ 2147483647 h 115"/>
                <a:gd name="T54" fmla="*/ 2147483647 w 198"/>
                <a:gd name="T55" fmla="*/ 2147483647 h 11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8"/>
                <a:gd name="T85" fmla="*/ 0 h 115"/>
                <a:gd name="T86" fmla="*/ 198 w 198"/>
                <a:gd name="T87" fmla="*/ 115 h 11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8" h="115">
                  <a:moveTo>
                    <a:pt x="17" y="63"/>
                  </a:moveTo>
                  <a:lnTo>
                    <a:pt x="37" y="83"/>
                  </a:lnTo>
                  <a:lnTo>
                    <a:pt x="31" y="93"/>
                  </a:lnTo>
                  <a:lnTo>
                    <a:pt x="22" y="100"/>
                  </a:lnTo>
                  <a:lnTo>
                    <a:pt x="11" y="102"/>
                  </a:lnTo>
                  <a:lnTo>
                    <a:pt x="0" y="104"/>
                  </a:lnTo>
                  <a:lnTo>
                    <a:pt x="20" y="113"/>
                  </a:lnTo>
                  <a:lnTo>
                    <a:pt x="28" y="115"/>
                  </a:lnTo>
                  <a:lnTo>
                    <a:pt x="53" y="100"/>
                  </a:lnTo>
                  <a:lnTo>
                    <a:pt x="108" y="114"/>
                  </a:lnTo>
                  <a:lnTo>
                    <a:pt x="144" y="74"/>
                  </a:lnTo>
                  <a:lnTo>
                    <a:pt x="151" y="57"/>
                  </a:lnTo>
                  <a:lnTo>
                    <a:pt x="158" y="52"/>
                  </a:lnTo>
                  <a:lnTo>
                    <a:pt x="178" y="54"/>
                  </a:lnTo>
                  <a:lnTo>
                    <a:pt x="198" y="30"/>
                  </a:lnTo>
                  <a:lnTo>
                    <a:pt x="196" y="15"/>
                  </a:lnTo>
                  <a:lnTo>
                    <a:pt x="182" y="0"/>
                  </a:lnTo>
                  <a:lnTo>
                    <a:pt x="173" y="2"/>
                  </a:lnTo>
                  <a:lnTo>
                    <a:pt x="163" y="5"/>
                  </a:lnTo>
                  <a:lnTo>
                    <a:pt x="145" y="1"/>
                  </a:lnTo>
                  <a:lnTo>
                    <a:pt x="127" y="2"/>
                  </a:lnTo>
                  <a:lnTo>
                    <a:pt x="109" y="7"/>
                  </a:lnTo>
                  <a:lnTo>
                    <a:pt x="84" y="5"/>
                  </a:lnTo>
                  <a:lnTo>
                    <a:pt x="73" y="20"/>
                  </a:lnTo>
                  <a:lnTo>
                    <a:pt x="31" y="7"/>
                  </a:lnTo>
                  <a:lnTo>
                    <a:pt x="15" y="7"/>
                  </a:lnTo>
                  <a:lnTo>
                    <a:pt x="15" y="32"/>
                  </a:lnTo>
                  <a:lnTo>
                    <a:pt x="17" y="63"/>
                  </a:lnTo>
                  <a:close/>
                </a:path>
              </a:pathLst>
            </a:custGeom>
            <a:solidFill>
              <a:schemeClr val="accent3">
                <a:lumMod val="85000"/>
              </a:schemeClr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  <a:defRPr/>
              </a:pPr>
              <a:endParaRPr lang="de-DE" sz="1400" b="1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108" name="Rectangle 10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105525" y="4105275"/>
            <a:ext cx="2779713" cy="23034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72009" tIns="72009" rIns="72009" bIns="72009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endParaRPr lang="de-DE" sz="1200" dirty="0">
              <a:solidFill>
                <a:srgbClr val="000000"/>
              </a:solidFill>
            </a:endParaRPr>
          </a:p>
        </p:txBody>
      </p:sp>
      <p:pic>
        <p:nvPicPr>
          <p:cNvPr id="4109" name="Picture 115" descr="Leiste-neu-bu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14" cstate="print"/>
          <a:srcRect l="91542"/>
          <a:stretch>
            <a:fillRect/>
          </a:stretch>
        </p:blipFill>
        <p:spPr bwMode="gray">
          <a:xfrm>
            <a:off x="7043738" y="5540375"/>
            <a:ext cx="468312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10" name="Rectangle 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44475" y="6607175"/>
            <a:ext cx="6478588" cy="13811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eaLnBrk="0" hangingPunct="0">
              <a:lnSpc>
                <a:spcPct val="90000"/>
              </a:lnSpc>
              <a:tabLst>
                <a:tab pos="687388" algn="l"/>
                <a:tab pos="2116138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Source: A.T. Kearney Embedded Systems Study 2010</a:t>
            </a:r>
          </a:p>
        </p:txBody>
      </p:sp>
      <p:sp>
        <p:nvSpPr>
          <p:cNvPr id="4111" name="AutoShape 121" descr="http://images.google.de/imgres?imgurl=http://www.cbc-fellbach.de/files/wys/users/2/600px-BMW.svg.png&amp;imgrefurl=http://www.cbc-fellbach.de/index.php%3Fpage%3D/Seiten/Partner_5%26SID%3D&amp;usg=__6v5E_FkC7Yuf_vEfKuBmIB_ApP8=&amp;h=600&amp;w=600&amp;sz=118&amp;hl=de&amp;start=2&amp;um=1&amp;tbnid=t7gmzMqR-2-hiM:&amp;tbnh=135&amp;tbnw=135&amp;prev=/images%3Fq%3Dbmw%26hl%3Dde%26sa%3DG%26um%3D1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auto">
          <a:xfrm>
            <a:off x="141288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4112" name="AutoShape 123" descr="http://images.google.de/imgres?imgurl=http://www.cbc-fellbach.de/files/wys/users/2/600px-BMW.svg.png&amp;imgrefurl=http://www.cbc-fellbach.de/index.php%3Fpage%3D/Seiten/Partner_5%26SID%3D&amp;usg=__6v5E_FkC7Yuf_vEfKuBmIB_ApP8=&amp;h=600&amp;w=600&amp;sz=118&amp;hl=de&amp;start=2&amp;um=1&amp;tbnid=t7gmzMqR-2-hiM:&amp;tbnh=135&amp;tbnw=135&amp;prev=/images%3Fq%3Dbmw%26hl%3Dde%26sa%3DG%26um%3D1"/>
          <p:cNvSpPr>
            <a:spLocks noChangeAspect="1" noChangeArrowheads="1"/>
          </p:cNvSpPr>
          <p:nvPr>
            <p:custDataLst>
              <p:tags r:id="rId14"/>
            </p:custDataLst>
          </p:nvPr>
        </p:nvSpPr>
        <p:spPr bwMode="auto">
          <a:xfrm>
            <a:off x="141288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4113" name="AutoShape 125" descr="http://images.google.de/imgres?imgurl=http://www.cbc-fellbach.de/files/wys/users/2/600px-BMW.svg.png&amp;imgrefurl=http://www.cbc-fellbach.de/index.php%3Fpage%3D/Seiten/Partner_5%26SID%3D&amp;usg=__6v5E_FkC7Yuf_vEfKuBmIB_ApP8=&amp;h=600&amp;w=600&amp;sz=118&amp;hl=de&amp;start=2&amp;um=1&amp;tbnid=t7gmzMqR-2-hiM:&amp;tbnh=135&amp;tbnw=135&amp;prev=/images%3Fq%3Dbmw%26hl%3Dde%26sa%3DG%26um%3D1"/>
          <p:cNvSpPr>
            <a:spLocks noChangeAspect="1" noChangeArrowheads="1"/>
          </p:cNvSpPr>
          <p:nvPr>
            <p:custDataLst>
              <p:tags r:id="rId15"/>
            </p:custDataLst>
          </p:nvPr>
        </p:nvSpPr>
        <p:spPr bwMode="auto">
          <a:xfrm>
            <a:off x="141288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de-DE" sz="1400" b="1" dirty="0">
              <a:solidFill>
                <a:srgbClr val="000000"/>
              </a:solidFill>
            </a:endParaRPr>
          </a:p>
        </p:txBody>
      </p:sp>
      <p:pic>
        <p:nvPicPr>
          <p:cNvPr id="4114" name="Picture 127" descr="http://www.cbc-fellbach.de/files/wys/users/2/600px-BMW.svg.pn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115" cstate="print"/>
          <a:srcRect/>
          <a:stretch>
            <a:fillRect/>
          </a:stretch>
        </p:blipFill>
        <p:spPr bwMode="auto">
          <a:xfrm>
            <a:off x="6540500" y="4578350"/>
            <a:ext cx="50482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5" name="Picture 129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116" cstate="print"/>
          <a:srcRect/>
          <a:stretch>
            <a:fillRect/>
          </a:stretch>
        </p:blipFill>
        <p:spPr bwMode="auto">
          <a:xfrm>
            <a:off x="6305550" y="5748337"/>
            <a:ext cx="6731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6" name="Picture 138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117" cstate="print"/>
          <a:srcRect/>
          <a:stretch>
            <a:fillRect/>
          </a:stretch>
        </p:blipFill>
        <p:spPr bwMode="auto">
          <a:xfrm>
            <a:off x="6208713" y="5202237"/>
            <a:ext cx="1311275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099" name="Object 5"/>
          <p:cNvGraphicFramePr>
            <a:graphicFrameLocks noChangeAspect="1"/>
          </p:cNvGraphicFramePr>
          <p:nvPr/>
        </p:nvGraphicFramePr>
        <p:xfrm>
          <a:off x="4071937" y="4291012"/>
          <a:ext cx="1905135" cy="1905000"/>
        </p:xfrm>
        <a:graphic>
          <a:graphicData uri="http://schemas.openxmlformats.org/presentationml/2006/ole">
            <p:oleObj spid="_x0000_s455683" name="Chart" r:id="rId118" imgW="1905135" imgH="1905000" progId="MSGraph.Chart.8">
              <p:embed followColorScheme="full"/>
            </p:oleObj>
          </a:graphicData>
        </a:graphic>
      </p:graphicFrame>
      <p:sp>
        <p:nvSpPr>
          <p:cNvPr id="138" name="Rectangle 137"/>
          <p:cNvSpPr/>
          <p:nvPr>
            <p:custDataLst>
              <p:tags r:id="rId19"/>
            </p:custDataLst>
          </p:nvPr>
        </p:nvSpPr>
        <p:spPr bwMode="auto">
          <a:xfrm>
            <a:off x="3084512" y="4708525"/>
            <a:ext cx="1054100" cy="3302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lnSpc>
                <a:spcPct val="90000"/>
              </a:lnSpc>
              <a:buClr>
                <a:schemeClr val="bg2"/>
              </a:buClr>
              <a:defRPr/>
            </a:pPr>
            <a:fld id="{DA8D1700-139B-47C9-BE44-FAC1F638342F}" type="datetime'C''''omm''''''un''''icat''i''on&#10;/ ''''''''''H''igh-T''e''''ch'">
              <a:rPr lang="en-US" sz="1200">
                <a:solidFill>
                  <a:schemeClr val="tx1"/>
                </a:solidFill>
                <a:cs typeface="Arial"/>
                <a:sym typeface="Arial"/>
              </a:rPr>
              <a:pPr algn="r">
                <a:lnSpc>
                  <a:spcPct val="90000"/>
                </a:lnSpc>
                <a:buClr>
                  <a:schemeClr val="bg2"/>
                </a:buClr>
                <a:defRPr/>
              </a:pPr>
              <a:t>Communication
/ High-Tech</a:t>
            </a:fld>
            <a:endParaRPr lang="en-US" sz="1200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41" name="Rectangle 140"/>
          <p:cNvSpPr/>
          <p:nvPr>
            <p:custDataLst>
              <p:tags r:id="rId20"/>
            </p:custDataLst>
          </p:nvPr>
        </p:nvSpPr>
        <p:spPr bwMode="auto">
          <a:xfrm>
            <a:off x="3938587" y="4176712"/>
            <a:ext cx="590550" cy="3302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lnSpc>
                <a:spcPct val="90000"/>
              </a:lnSpc>
              <a:buClr>
                <a:schemeClr val="bg2"/>
              </a:buClr>
              <a:defRPr/>
            </a:pPr>
            <a:fld id="{690671C9-8EBD-40E7-96E5-DDE0423F271C}" type="datetime'''''''''Tr''a''''''n''s''''''''-''''''&#10;po''''r''t''atio''n'''">
              <a:rPr lang="en-US" sz="1200">
                <a:solidFill>
                  <a:schemeClr val="tx1"/>
                </a:solidFill>
                <a:cs typeface="Arial"/>
                <a:sym typeface="Arial"/>
              </a:rPr>
              <a:pPr algn="r">
                <a:lnSpc>
                  <a:spcPct val="90000"/>
                </a:lnSpc>
                <a:buClr>
                  <a:schemeClr val="bg2"/>
                </a:buClr>
                <a:defRPr/>
              </a:pPr>
              <a:t>Trans-
portation</a:t>
            </a:fld>
            <a:endParaRPr lang="en-US" sz="1200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42" name="Rectangle 141"/>
          <p:cNvSpPr/>
          <p:nvPr>
            <p:custDataLst>
              <p:tags r:id="rId21"/>
            </p:custDataLst>
          </p:nvPr>
        </p:nvSpPr>
        <p:spPr bwMode="auto">
          <a:xfrm>
            <a:off x="4230687" y="4946650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 algn="ctr" fontAlgn="auto">
              <a:lnSpc>
                <a:spcPct val="90000"/>
              </a:lnSpc>
              <a:buClr>
                <a:schemeClr val="bg2"/>
              </a:buClr>
              <a:defRPr/>
            </a:pPr>
            <a:fld id="{257071A1-2C7E-4B8D-9EAF-52384381A08F}" type="datetime'''''''''''''1''''''2''%'''''''''''''''''''''''''">
              <a:rPr lang="en-US" sz="1200" smtClean="0">
                <a:solidFill>
                  <a:schemeClr val="tx1"/>
                </a:solidFill>
                <a:cs typeface="Arial"/>
                <a:sym typeface="Arial"/>
              </a:rPr>
              <a:pPr algn="ctr" fontAlgn="auto">
                <a:lnSpc>
                  <a:spcPct val="90000"/>
                </a:lnSpc>
                <a:buClr>
                  <a:schemeClr val="bg2"/>
                </a:buClr>
                <a:defRPr/>
              </a:pPr>
              <a:t>12%</a:t>
            </a:fld>
            <a:endParaRPr lang="en-US" sz="1200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39" name="Rectangle 138"/>
          <p:cNvSpPr/>
          <p:nvPr>
            <p:custDataLst>
              <p:tags r:id="rId22"/>
            </p:custDataLst>
          </p:nvPr>
        </p:nvSpPr>
        <p:spPr bwMode="auto">
          <a:xfrm>
            <a:off x="3797300" y="5978525"/>
            <a:ext cx="7604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lnSpc>
                <a:spcPct val="90000"/>
              </a:lnSpc>
              <a:buClr>
                <a:schemeClr val="bg2"/>
              </a:buClr>
              <a:defRPr/>
            </a:pPr>
            <a:fld id="{A18FDB63-BCE1-4B6A-802E-FFA9A18CF842}" type="datetime'A''''''u''''''''to''''mo''''ti''''v''''''''''''''e'''''''''''">
              <a:rPr lang="en-US" sz="1200" smtClean="0">
                <a:solidFill>
                  <a:schemeClr val="tx1"/>
                </a:solidFill>
                <a:cs typeface="Arial"/>
                <a:sym typeface="Arial"/>
              </a:rPr>
              <a:pPr algn="r">
                <a:lnSpc>
                  <a:spcPct val="90000"/>
                </a:lnSpc>
                <a:buClr>
                  <a:schemeClr val="bg2"/>
                </a:buClr>
                <a:defRPr/>
              </a:pPr>
              <a:t>Automotive</a:t>
            </a:fld>
            <a:endParaRPr lang="en-US" sz="1200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40" name="Rectangle 139"/>
          <p:cNvSpPr/>
          <p:nvPr>
            <p:custDataLst>
              <p:tags r:id="rId23"/>
            </p:custDataLst>
          </p:nvPr>
        </p:nvSpPr>
        <p:spPr bwMode="gray">
          <a:xfrm>
            <a:off x="5348287" y="5608637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 algn="ctr" fontAlgn="auto">
              <a:lnSpc>
                <a:spcPct val="90000"/>
              </a:lnSpc>
              <a:buClr>
                <a:schemeClr val="bg2"/>
              </a:buClr>
              <a:defRPr/>
            </a:pPr>
            <a:fld id="{707BFBFE-8710-46AC-A27D-025EDAA4AB94}" type="datetime'''''7''4''''''''''''''''''''%'''''''''''''''''''''''">
              <a:rPr lang="en-US" sz="1200" smtClean="0">
                <a:solidFill>
                  <a:schemeClr val="bg1"/>
                </a:solidFill>
                <a:cs typeface="Arial"/>
                <a:sym typeface="Arial"/>
              </a:rPr>
              <a:pPr algn="ctr" fontAlgn="auto">
                <a:lnSpc>
                  <a:spcPct val="90000"/>
                </a:lnSpc>
                <a:buClr>
                  <a:schemeClr val="bg2"/>
                </a:buClr>
                <a:defRPr/>
              </a:pPr>
              <a:t>74%</a:t>
            </a:fld>
            <a:endParaRPr lang="en-US" sz="1200" dirty="0" err="1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144" name="Rectangle 143"/>
          <p:cNvSpPr/>
          <p:nvPr>
            <p:custDataLst>
              <p:tags r:id="rId24"/>
            </p:custDataLst>
          </p:nvPr>
        </p:nvSpPr>
        <p:spPr bwMode="auto">
          <a:xfrm>
            <a:off x="4640262" y="4181475"/>
            <a:ext cx="381000" cy="182562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buClr>
                <a:schemeClr val="bg2"/>
              </a:buClr>
              <a:defRPr/>
            </a:pPr>
            <a:fld id="{F4C6B709-6288-4C5F-9E52-889F4E133B89}" type="datetime'''''''''''''''''O''th''''''''''''''''e''''''r'''''''''''''">
              <a:rPr lang="en-US" sz="1200" smtClean="0">
                <a:solidFill>
                  <a:schemeClr val="tx1"/>
                </a:solidFill>
                <a:cs typeface="Arial"/>
                <a:sym typeface="Arial"/>
              </a:rPr>
              <a:pPr>
                <a:buClr>
                  <a:schemeClr val="bg2"/>
                </a:buClr>
                <a:defRPr/>
              </a:pPr>
              <a:t>Other</a:t>
            </a:fld>
            <a:endParaRPr lang="en-US" sz="1200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125" name="Rectangle 3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249238" y="3748087"/>
            <a:ext cx="2798762" cy="360362"/>
          </a:xfrm>
          <a:prstGeom prst="rect">
            <a:avLst/>
          </a:prstGeom>
          <a:solidFill>
            <a:schemeClr val="fol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600" b="1" dirty="0">
                <a:solidFill>
                  <a:srgbClr val="000000"/>
                </a:solidFill>
              </a:rPr>
              <a:t>Geographic scope</a:t>
            </a:r>
          </a:p>
        </p:txBody>
      </p:sp>
      <p:sp>
        <p:nvSpPr>
          <p:cNvPr id="4126" name="Rectangle 5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3125788" y="3748087"/>
            <a:ext cx="2906712" cy="360362"/>
          </a:xfrm>
          <a:prstGeom prst="rect">
            <a:avLst/>
          </a:prstGeom>
          <a:solidFill>
            <a:schemeClr val="fol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600" b="1" dirty="0">
                <a:solidFill>
                  <a:srgbClr val="000000"/>
                </a:solidFill>
              </a:rPr>
              <a:t>Industry scope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4127" name="Rectangle 102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6105525" y="3748087"/>
            <a:ext cx="2779713" cy="360362"/>
          </a:xfrm>
          <a:prstGeom prst="rect">
            <a:avLst/>
          </a:prstGeom>
          <a:solidFill>
            <a:schemeClr val="folHlink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90000"/>
              </a:lnSpc>
            </a:pPr>
            <a:r>
              <a:rPr lang="en-US" sz="1600" b="1" dirty="0">
                <a:solidFill>
                  <a:srgbClr val="000000"/>
                </a:solidFill>
              </a:rPr>
              <a:t>Selected participants</a:t>
            </a:r>
            <a:endParaRPr lang="en-US" sz="1400" dirty="0">
              <a:solidFill>
                <a:srgbClr val="000000"/>
              </a:solidFill>
            </a:endParaRPr>
          </a:p>
        </p:txBody>
      </p:sp>
      <p:pic>
        <p:nvPicPr>
          <p:cNvPr id="4129" name="Picture 134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119" cstate="print"/>
          <a:srcRect t="29025" b="34541"/>
          <a:stretch>
            <a:fillRect/>
          </a:stretch>
        </p:blipFill>
        <p:spPr bwMode="auto">
          <a:xfrm>
            <a:off x="6207125" y="4206875"/>
            <a:ext cx="1370013" cy="331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0" name="Picture 135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120" cstate="print"/>
          <a:srcRect/>
          <a:stretch>
            <a:fillRect/>
          </a:stretch>
        </p:blipFill>
        <p:spPr bwMode="auto">
          <a:xfrm>
            <a:off x="7226300" y="5992812"/>
            <a:ext cx="1597025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1" name="Picture 139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121" cstate="print"/>
          <a:srcRect/>
          <a:stretch>
            <a:fillRect/>
          </a:stretch>
        </p:blipFill>
        <p:spPr bwMode="auto">
          <a:xfrm>
            <a:off x="7589838" y="5148262"/>
            <a:ext cx="620712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0" name="Picture 4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122" cstate="print"/>
          <a:srcRect/>
          <a:stretch>
            <a:fillRect/>
          </a:stretch>
        </p:blipFill>
        <p:spPr bwMode="auto">
          <a:xfrm>
            <a:off x="8271428" y="5334000"/>
            <a:ext cx="56777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123" cstate="print"/>
          <a:srcRect/>
          <a:stretch>
            <a:fillRect/>
          </a:stretch>
        </p:blipFill>
        <p:spPr bwMode="auto">
          <a:xfrm>
            <a:off x="7607300" y="4424362"/>
            <a:ext cx="1166813" cy="259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124" cstate="print"/>
          <a:srcRect l="8133" t="31778" r="8133" b="35778"/>
          <a:stretch>
            <a:fillRect/>
          </a:stretch>
        </p:blipFill>
        <p:spPr bwMode="auto">
          <a:xfrm>
            <a:off x="7302500" y="4787900"/>
            <a:ext cx="1422400" cy="330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03842" name="think-cell Slide" r:id="rId9" imgW="0" imgH="0" progId="">
              <p:embed/>
            </p:oleObj>
          </a:graphicData>
        </a:graphic>
      </p:graphicFrame>
      <p:sp>
        <p:nvSpPr>
          <p:cNvPr id="48" name="Rectangle 4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anchor="ctr"/>
          <a:lstStyle/>
          <a:p>
            <a:pPr algn="ctr">
              <a:buClr>
                <a:srgbClr val="7D0900"/>
              </a:buClr>
              <a:defRPr/>
            </a:pPr>
            <a:r>
              <a:rPr lang="en-US" sz="800" b="1">
                <a:solidFill>
                  <a:srgbClr val="000000"/>
                </a:solidFill>
                <a:cs typeface="Arial"/>
                <a:sym typeface="Arial "/>
              </a:rPr>
              <a:t>58.0</a:t>
            </a:r>
            <a:endParaRPr lang="en-US" sz="800" b="1" dirty="0" err="1">
              <a:solidFill>
                <a:srgbClr val="000000"/>
              </a:solidFill>
              <a:cs typeface="Arial"/>
              <a:sym typeface="Arial "/>
            </a:endParaRPr>
          </a:p>
        </p:txBody>
      </p:sp>
      <p:sp>
        <p:nvSpPr>
          <p:cNvPr id="3079" name="AutoShape 68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>
            <a:off x="827585" y="5373216"/>
            <a:ext cx="7452000" cy="2160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rot="10800000" wrap="none"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7D0900"/>
              </a:buClr>
            </a:pP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3080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4475" y="6597650"/>
            <a:ext cx="6842125" cy="1444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  <a:tabLst>
                <a:tab pos="687388" algn="l"/>
                <a:tab pos="2116138" algn="l"/>
              </a:tabLst>
            </a:pPr>
            <a:endParaRPr lang="en-US" sz="1000" dirty="0">
              <a:solidFill>
                <a:srgbClr val="000000"/>
              </a:solidFill>
            </a:endParaRPr>
          </a:p>
          <a:p>
            <a:pPr eaLnBrk="0" hangingPunct="0">
              <a:lnSpc>
                <a:spcPct val="85000"/>
              </a:lnSpc>
              <a:tabLst>
                <a:tab pos="687388" algn="l"/>
                <a:tab pos="2116138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Source: BITKOM; A.T. Kearney Embedded Systems Study 2010</a:t>
            </a:r>
          </a:p>
        </p:txBody>
      </p:sp>
      <p:sp>
        <p:nvSpPr>
          <p:cNvPr id="3081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4475" y="1616075"/>
            <a:ext cx="7064375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smtClean="0">
                <a:solidFill>
                  <a:srgbClr val="000000"/>
                </a:solidFill>
              </a:rPr>
              <a:t>Characteristics of Embedded Systems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3082" name="Title 18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altLang="ko-KR" dirty="0" smtClean="0"/>
              <a:t>The notion of Embedded Systems is rather diverse and stands for a </a:t>
            </a:r>
            <a:r>
              <a:rPr lang="en-US" dirty="0" smtClean="0"/>
              <a:t>very wide variety of devices and </a:t>
            </a:r>
            <a:r>
              <a:rPr lang="de-DE" dirty="0" err="1" smtClean="0"/>
              <a:t>systems</a:t>
            </a:r>
            <a:endParaRPr lang="en-US" dirty="0" smtClean="0"/>
          </a:p>
        </p:txBody>
      </p:sp>
      <p:sp>
        <p:nvSpPr>
          <p:cNvPr id="50" name="TextBox 49"/>
          <p:cNvSpPr txBox="1"/>
          <p:nvPr>
            <p:custDataLst>
              <p:tags r:id="rId7"/>
            </p:custDataLst>
          </p:nvPr>
        </p:nvSpPr>
        <p:spPr>
          <a:xfrm>
            <a:off x="253077" y="5803407"/>
            <a:ext cx="8648700" cy="652486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</a:rPr>
              <a:t>As the word “Embedded” implies, these systems are “hidden” in a hosting system and their impact is therefore often not immediately measurable</a:t>
            </a:r>
            <a:r>
              <a:rPr lang="de-DE" b="1" dirty="0" smtClean="0">
                <a:solidFill>
                  <a:schemeClr val="bg1"/>
                </a:solidFill>
              </a:rPr>
              <a:t>.</a:t>
            </a:r>
            <a:endParaRPr lang="en-US" b="1" dirty="0" smtClean="0">
              <a:solidFill>
                <a:schemeClr val="bg1"/>
              </a:solidFill>
            </a:endParaRPr>
          </a:p>
        </p:txBody>
      </p:sp>
      <p:pic>
        <p:nvPicPr>
          <p:cNvPr id="625667" name="Picture 3"/>
          <p:cNvPicPr>
            <a:picLocks noChangeAspect="1" noChangeArrowheads="1"/>
          </p:cNvPicPr>
          <p:nvPr/>
        </p:nvPicPr>
        <p:blipFill>
          <a:blip r:embed="rId10" cstate="print"/>
          <a:srcRect b="817"/>
          <a:stretch>
            <a:fillRect/>
          </a:stretch>
        </p:blipFill>
        <p:spPr bwMode="auto">
          <a:xfrm>
            <a:off x="253077" y="2097361"/>
            <a:ext cx="8641654" cy="1963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Rectangle 14"/>
          <p:cNvSpPr/>
          <p:nvPr/>
        </p:nvSpPr>
        <p:spPr>
          <a:xfrm>
            <a:off x="215517" y="2135755"/>
            <a:ext cx="5256583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Embedded systems are some combination of computer hardware, software and mechanical components, either fixed in capability or programmable.</a:t>
            </a:r>
          </a:p>
          <a:p>
            <a:pPr marL="177800" indent="-177800"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It is a dedicated system that is often an important part of a larger heterogeneous system.</a:t>
            </a:r>
          </a:p>
          <a:p>
            <a:pPr marL="177800" indent="-177800"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Embedded systems are designed for a particular function, rather than being a general-purpose computer for multiple tasks. </a:t>
            </a:r>
          </a:p>
          <a:p>
            <a:pPr marL="177800" indent="-177800"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Some also have real-time performance constraints that must be met, for reasons such as safety and usability; </a:t>
            </a:r>
          </a:p>
          <a:p>
            <a:pPr marL="177800" indent="-177800"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Others may have low or no performance requirements, allowing the system hardware to be simplified to reduce costs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6803" name="think-cell Slide" r:id="rId20" imgW="0" imgH="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0</a:t>
            </a:r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Title 27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4800" y="597600"/>
            <a:ext cx="8648700" cy="664797"/>
          </a:xfrm>
        </p:spPr>
        <p:txBody>
          <a:bodyPr/>
          <a:lstStyle/>
          <a:p>
            <a:r>
              <a:rPr lang="en-US" dirty="0" smtClean="0"/>
              <a:t>Through the strong growth in automotive and other industries, the market for Embedded Systems will double</a:t>
            </a:r>
            <a:endParaRPr lang="en-US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4572000" y="2091600"/>
            <a:ext cx="4321500" cy="4382738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 smtClean="0"/>
              <a:t>Today, a turnover of ~€ 19bn is generated through development of embedded systems in Germany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Besides automotive (~€ 6bn) embedded system are heavily used in the engineering industry, facility management, home appliances and others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Automotive will strongly grow the demand for embedded systems through Integration Services, New Car Services, Sustainability Services &amp; Mobility Concepts and New Consumer Services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Also in other industries, embedded systems will experience significant growth such as in 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Engineering, e.g. increased connectivity of machines</a:t>
            </a:r>
          </a:p>
          <a:p>
            <a:pPr lvl="1">
              <a:spcBef>
                <a:spcPts val="600"/>
              </a:spcBef>
            </a:pPr>
            <a:r>
              <a:rPr lang="en-US" dirty="0" smtClean="0"/>
              <a:t>Utilities, e.g. smart energy networks</a:t>
            </a:r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474662" y="2859088"/>
          <a:ext cx="3028989" cy="3267165"/>
        </p:xfrm>
        <a:graphic>
          <a:graphicData uri="http://schemas.openxmlformats.org/presentationml/2006/ole">
            <p:oleObj spid="_x0000_s716802" name="Chart" r:id="rId21" imgW="3028989" imgH="3267165" progId="MSGraph.Chart.8">
              <p:embed followColorScheme="full"/>
            </p:oleObj>
          </a:graphicData>
        </a:graphic>
      </p:graphicFrame>
      <p:sp>
        <p:nvSpPr>
          <p:cNvPr id="5" name="Rectangle 4"/>
          <p:cNvSpPr/>
          <p:nvPr>
            <p:custDataLst>
              <p:tags r:id="rId5"/>
            </p:custDataLst>
          </p:nvPr>
        </p:nvSpPr>
        <p:spPr bwMode="auto">
          <a:xfrm>
            <a:off x="1071562" y="6113462"/>
            <a:ext cx="406400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8220569D-85B5-4DEB-916C-E1A7DFF4AB08}" type="datetime'''''''''''2''''''''''''01''''''''0''''''''''''''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10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Rectangle 5"/>
          <p:cNvSpPr/>
          <p:nvPr>
            <p:custDataLst>
              <p:tags r:id="rId6"/>
            </p:custDataLst>
          </p:nvPr>
        </p:nvSpPr>
        <p:spPr bwMode="auto">
          <a:xfrm>
            <a:off x="2481262" y="6113462"/>
            <a:ext cx="406400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E4587574-02B4-478E-80C9-A78E54666C74}" type="datetime'''2''''''0''''2''''''5''''''''''''''''''''''''''''''''''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25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" name="Rectangle 29"/>
          <p:cNvSpPr/>
          <p:nvPr>
            <p:custDataLst>
              <p:tags r:id="rId7"/>
            </p:custDataLst>
          </p:nvPr>
        </p:nvSpPr>
        <p:spPr bwMode="auto">
          <a:xfrm>
            <a:off x="3195637" y="3652837"/>
            <a:ext cx="846137" cy="38417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3B2D3AD8-4B73-4859-9975-A7949367C43E}" type="datetime'Oth''er''''&#10;''''''''''''''''ind''u''''''''''s''''t''r''ies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Other
industries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" name="Rectangle 31"/>
          <p:cNvSpPr/>
          <p:nvPr>
            <p:custDataLst>
              <p:tags r:id="rId8"/>
            </p:custDataLst>
          </p:nvPr>
        </p:nvSpPr>
        <p:spPr bwMode="auto">
          <a:xfrm>
            <a:off x="1190625" y="4468812"/>
            <a:ext cx="168275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18DB7939-3094-44B9-B81E-7830EE50D819}" type="datetime'''''''''''''''''''''''''''''''''1''''''''''''''''''''''''''9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9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" name="Rectangle 32"/>
          <p:cNvSpPr/>
          <p:nvPr>
            <p:custDataLst>
              <p:tags r:id="rId9"/>
            </p:custDataLst>
          </p:nvPr>
        </p:nvSpPr>
        <p:spPr bwMode="auto">
          <a:xfrm>
            <a:off x="2600325" y="2763837"/>
            <a:ext cx="168275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DAF17F52-88AD-4A6D-AEA9-4BFB635501A4}" type="datetime'''''''''43''''''''''''''''''''''''''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43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1" name="Rectangle 30"/>
          <p:cNvSpPr/>
          <p:nvPr>
            <p:custDataLst>
              <p:tags r:id="rId10"/>
            </p:custDataLst>
          </p:nvPr>
        </p:nvSpPr>
        <p:spPr bwMode="auto">
          <a:xfrm>
            <a:off x="3195637" y="5276850"/>
            <a:ext cx="974725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5675F48E-1BF9-44EE-AA9B-9A5B2990133C}" type="datetime'A''''''''''ut''o''''''''''''''m''''''''''''o''tive''''''''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Automotive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34" name="Straight Connector 33"/>
          <p:cNvCxnSpPr/>
          <p:nvPr>
            <p:custDataLst>
              <p:tags r:id="rId11"/>
            </p:custDataLst>
          </p:nvPr>
        </p:nvCxnSpPr>
        <p:spPr bwMode="auto">
          <a:xfrm>
            <a:off x="1665287" y="4659312"/>
            <a:ext cx="254000" cy="0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12"/>
            </p:custDataLst>
          </p:nvPr>
        </p:nvCxnSpPr>
        <p:spPr bwMode="auto">
          <a:xfrm flipH="1">
            <a:off x="1843087" y="2954337"/>
            <a:ext cx="450850" cy="0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13"/>
            </p:custDataLst>
          </p:nvPr>
        </p:nvCxnSpPr>
        <p:spPr bwMode="auto">
          <a:xfrm flipV="1">
            <a:off x="1881187" y="2951162"/>
            <a:ext cx="0" cy="1711325"/>
          </a:xfrm>
          <a:prstGeom prst="line">
            <a:avLst/>
          </a:prstGeom>
          <a:ln w="25400" cap="rnd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>
            <p:custDataLst>
              <p:tags r:id="rId14"/>
            </p:custDataLst>
          </p:nvPr>
        </p:nvSpPr>
        <p:spPr bwMode="gray">
          <a:xfrm>
            <a:off x="1543050" y="3741737"/>
            <a:ext cx="674687" cy="234950"/>
          </a:xfrm>
          <a:prstGeom prst="ellipse">
            <a:avLst/>
          </a:prstGeom>
          <a:solidFill>
            <a:srgbClr val="7D0900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C4E520FD-B0F4-4AED-81A6-F7A8A90A109D}" type="datetime'''''''+''''1''''''''''''''''''''2''''''''''''''''6%'''''''''">
              <a:rPr lang="en-US" sz="1200" b="1" i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+126%</a:t>
            </a:fld>
            <a:endParaRPr lang="en-US" sz="1200" b="1" i="1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TextBox 14"/>
          <p:cNvSpPr txBox="1"/>
          <p:nvPr>
            <p:custDataLst>
              <p:tags r:id="rId15"/>
            </p:custDataLst>
          </p:nvPr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latin typeface="Arial"/>
                <a:cs typeface="Arial"/>
              </a:rPr>
              <a:t>Development of ES demand of the German Automotive industry</a:t>
            </a:r>
          </a:p>
        </p:txBody>
      </p:sp>
      <p:sp>
        <p:nvSpPr>
          <p:cNvPr id="16" name="TextBox 15"/>
          <p:cNvSpPr txBox="1"/>
          <p:nvPr>
            <p:custDataLst>
              <p:tags r:id="rId16"/>
            </p:custDataLst>
          </p:nvPr>
        </p:nvSpPr>
        <p:spPr>
          <a:xfrm>
            <a:off x="359532" y="2096852"/>
            <a:ext cx="3263318" cy="58169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latin typeface="Arial "/>
              </a:rPr>
              <a:t>Expected turnover development of Embedded System in Germany</a:t>
            </a:r>
            <a:br>
              <a:rPr lang="en-US" sz="1400" b="1" dirty="0" smtClean="0">
                <a:latin typeface="Arial "/>
              </a:rPr>
            </a:br>
            <a:r>
              <a:rPr lang="en-US" sz="1400" dirty="0" smtClean="0">
                <a:latin typeface="Arial "/>
              </a:rPr>
              <a:t>(in € </a:t>
            </a:r>
            <a:r>
              <a:rPr lang="en-US" sz="1400" dirty="0" err="1" smtClean="0">
                <a:latin typeface="Arial "/>
              </a:rPr>
              <a:t>bn</a:t>
            </a:r>
            <a:r>
              <a:rPr lang="en-US" sz="1400" dirty="0" smtClean="0">
                <a:latin typeface="Arial "/>
              </a:rPr>
              <a:t>)</a:t>
            </a:r>
          </a:p>
        </p:txBody>
      </p:sp>
      <p:sp>
        <p:nvSpPr>
          <p:cNvPr id="17" name="Rectangle 3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44475" y="6597650"/>
            <a:ext cx="6842125" cy="1444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41338" indent="-541338" eaLnBrk="0" hangingPunct="0">
              <a:lnSpc>
                <a:spcPct val="85000"/>
              </a:lnSpc>
              <a:tabLst>
                <a:tab pos="2116138" algn="l"/>
              </a:tabLst>
            </a:pPr>
            <a:r>
              <a:rPr lang="en-US" sz="1000" dirty="0"/>
              <a:t>Source: </a:t>
            </a:r>
            <a:r>
              <a:rPr lang="en-US" sz="1000" dirty="0">
                <a:solidFill>
                  <a:srgbClr val="000000"/>
                </a:solidFill>
              </a:rPr>
              <a:t>A.T. Kearney Embedded Systems Study </a:t>
            </a:r>
            <a:r>
              <a:rPr lang="en-US" sz="1000" dirty="0" smtClean="0">
                <a:solidFill>
                  <a:srgbClr val="000000"/>
                </a:solidFill>
              </a:rPr>
              <a:t>2010, BITKOM</a:t>
            </a:r>
            <a:endParaRPr lang="en-US" sz="1000" dirty="0"/>
          </a:p>
        </p:txBody>
      </p:sp>
      <p:sp>
        <p:nvSpPr>
          <p:cNvPr id="35" name="Oval 34"/>
          <p:cNvSpPr/>
          <p:nvPr>
            <p:custDataLst>
              <p:tags r:id="rId18"/>
            </p:custDataLst>
          </p:nvPr>
        </p:nvSpPr>
        <p:spPr>
          <a:xfrm>
            <a:off x="5724128" y="158750"/>
            <a:ext cx="2484276" cy="929990"/>
          </a:xfrm>
          <a:prstGeom prst="ellipse">
            <a:avLst/>
          </a:prstGeom>
          <a:solidFill>
            <a:srgbClr val="FFFF00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LL: </a:t>
            </a:r>
            <a:r>
              <a:rPr lang="en-US" sz="14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Zahlen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lausibilisieren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(€ 19bn </a:t>
            </a:r>
            <a:r>
              <a:rPr lang="en-US" sz="14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ommen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von BITKOM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07586" name="think-cell Slide" r:id="rId25" imgW="0" imgH="0" progId="">
              <p:embed/>
            </p:oleObj>
          </a:graphicData>
        </a:graphic>
      </p:graphicFrame>
      <p:sp>
        <p:nvSpPr>
          <p:cNvPr id="39" name="Rectangle 3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0</a:t>
            </a:r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0" name="Rectangle 49"/>
          <p:cNvSpPr/>
          <p:nvPr>
            <p:custDataLst>
              <p:tags r:id="rId3"/>
            </p:custDataLst>
          </p:nvPr>
        </p:nvSpPr>
        <p:spPr>
          <a:xfrm>
            <a:off x="5833474" y="2668587"/>
            <a:ext cx="3095010" cy="248874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400" b="1" dirty="0" smtClean="0">
                <a:solidFill>
                  <a:schemeClr val="tx1"/>
                </a:solidFill>
                <a:latin typeface="Arial "/>
              </a:rPr>
              <a:t>Value </a:t>
            </a:r>
            <a:r>
              <a:rPr lang="de-DE" sz="1400" b="1" dirty="0" err="1" smtClean="0">
                <a:solidFill>
                  <a:schemeClr val="tx1"/>
                </a:solidFill>
                <a:latin typeface="Arial "/>
              </a:rPr>
              <a:t>add</a:t>
            </a:r>
            <a:r>
              <a:rPr lang="de-DE" sz="1400" b="1" dirty="0" smtClean="0">
                <a:solidFill>
                  <a:schemeClr val="tx1"/>
                </a:solidFill>
                <a:latin typeface="Arial "/>
              </a:rPr>
              <a:t> per </a:t>
            </a:r>
            <a:r>
              <a:rPr lang="de-DE" sz="1400" b="1" dirty="0" err="1" smtClean="0">
                <a:solidFill>
                  <a:schemeClr val="tx1"/>
                </a:solidFill>
                <a:latin typeface="Arial "/>
              </a:rPr>
              <a:t>car</a:t>
            </a:r>
            <a:endParaRPr lang="en-US" sz="1400" b="1" dirty="0" err="1" smtClean="0">
              <a:solidFill>
                <a:schemeClr val="tx1"/>
              </a:solidFill>
              <a:latin typeface="Arial "/>
            </a:endParaRPr>
          </a:p>
        </p:txBody>
      </p:sp>
      <p:sp>
        <p:nvSpPr>
          <p:cNvPr id="27" name="Freeform 26"/>
          <p:cNvSpPr/>
          <p:nvPr>
            <p:custDataLst>
              <p:tags r:id="rId4"/>
            </p:custDataLst>
          </p:nvPr>
        </p:nvSpPr>
        <p:spPr>
          <a:xfrm>
            <a:off x="1245898" y="2398712"/>
            <a:ext cx="4298210" cy="3550568"/>
          </a:xfrm>
          <a:custGeom>
            <a:avLst/>
            <a:gdLst>
              <a:gd name="connsiteX0" fmla="*/ 0 w 6702014"/>
              <a:gd name="connsiteY0" fmla="*/ 2872292 h 3098202"/>
              <a:gd name="connsiteX1" fmla="*/ 3141233 w 6702014"/>
              <a:gd name="connsiteY1" fmla="*/ 2926080 h 3098202"/>
              <a:gd name="connsiteX2" fmla="*/ 5389581 w 6702014"/>
              <a:gd name="connsiteY2" fmla="*/ 1839558 h 3098202"/>
              <a:gd name="connsiteX3" fmla="*/ 6702014 w 6702014"/>
              <a:gd name="connsiteY3" fmla="*/ 0 h 3098202"/>
              <a:gd name="connsiteX0" fmla="*/ 0 w 6702014"/>
              <a:gd name="connsiteY0" fmla="*/ 3096936 h 3209891"/>
              <a:gd name="connsiteX1" fmla="*/ 3141233 w 6702014"/>
              <a:gd name="connsiteY1" fmla="*/ 2926080 h 3209891"/>
              <a:gd name="connsiteX2" fmla="*/ 5389581 w 6702014"/>
              <a:gd name="connsiteY2" fmla="*/ 1839558 h 3209891"/>
              <a:gd name="connsiteX3" fmla="*/ 6702014 w 6702014"/>
              <a:gd name="connsiteY3" fmla="*/ 0 h 3209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02014" h="3209891">
                <a:moveTo>
                  <a:pt x="0" y="3096936"/>
                </a:moveTo>
                <a:cubicBezTo>
                  <a:pt x="1121484" y="3209891"/>
                  <a:pt x="2242969" y="3135643"/>
                  <a:pt x="3141233" y="2926080"/>
                </a:cubicBezTo>
                <a:cubicBezTo>
                  <a:pt x="4039497" y="2716517"/>
                  <a:pt x="4796118" y="2327238"/>
                  <a:pt x="5389581" y="1839558"/>
                </a:cubicBezTo>
                <a:cubicBezTo>
                  <a:pt x="5983044" y="1351878"/>
                  <a:pt x="6342529" y="675939"/>
                  <a:pt x="6702014" y="0"/>
                </a:cubicBezTo>
              </a:path>
            </a:pathLst>
          </a:custGeom>
          <a:ln w="266700" cap="rnd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To overcome barriers all four growth areas must develop clear business cases to increase the value add per vehicle</a:t>
            </a:r>
            <a:endParaRPr lang="en-US" dirty="0"/>
          </a:p>
        </p:txBody>
      </p:sp>
      <p:sp>
        <p:nvSpPr>
          <p:cNvPr id="3" name="TextBox 2"/>
          <p:cNvSpPr txBox="1"/>
          <p:nvPr>
            <p:custDataLst>
              <p:tags r:id="rId6"/>
            </p:custDataLst>
          </p:nvPr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latin typeface="Arial"/>
                <a:cs typeface="Arial"/>
              </a:rPr>
              <a:t>Role of embedded services in future vehicles</a:t>
            </a:r>
          </a:p>
        </p:txBody>
      </p:sp>
      <p:grpSp>
        <p:nvGrpSpPr>
          <p:cNvPr id="4" name="Group 11"/>
          <p:cNvGrpSpPr/>
          <p:nvPr>
            <p:custDataLst>
              <p:tags r:id="rId7"/>
            </p:custDataLst>
          </p:nvPr>
        </p:nvGrpSpPr>
        <p:grpSpPr>
          <a:xfrm>
            <a:off x="792162" y="2398712"/>
            <a:ext cx="5307013" cy="3875087"/>
            <a:chOff x="1007604" y="4060948"/>
            <a:chExt cx="1440000" cy="1441588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1007604" y="5500948"/>
              <a:ext cx="1440000" cy="1588"/>
            </a:xfrm>
            <a:prstGeom prst="line">
              <a:avLst/>
            </a:prstGeom>
            <a:ln w="19050" cap="rnd">
              <a:solidFill>
                <a:schemeClr val="tx1"/>
              </a:solidFill>
              <a:headEnd type="none" len="sm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rot="5400000" flipH="1" flipV="1">
              <a:off x="289193" y="4780154"/>
              <a:ext cx="1440000" cy="1588"/>
            </a:xfrm>
            <a:prstGeom prst="line">
              <a:avLst/>
            </a:prstGeom>
            <a:ln w="19050" cap="rnd">
              <a:solidFill>
                <a:schemeClr val="tx1"/>
              </a:solidFill>
              <a:headEnd type="none" len="sm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Box 12"/>
          <p:cNvSpPr txBox="1"/>
          <p:nvPr>
            <p:custDataLst>
              <p:tags r:id="rId8"/>
            </p:custDataLst>
          </p:nvPr>
        </p:nvSpPr>
        <p:spPr>
          <a:xfrm>
            <a:off x="2051720" y="6308928"/>
            <a:ext cx="3286144" cy="2215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Software value add per car</a:t>
            </a:r>
          </a:p>
        </p:txBody>
      </p:sp>
      <p:sp>
        <p:nvSpPr>
          <p:cNvPr id="14" name="TextBox 13"/>
          <p:cNvSpPr txBox="1"/>
          <p:nvPr>
            <p:custDataLst>
              <p:tags r:id="rId9"/>
            </p:custDataLst>
          </p:nvPr>
        </p:nvSpPr>
        <p:spPr>
          <a:xfrm>
            <a:off x="250825" y="3248980"/>
            <a:ext cx="443198" cy="2308471"/>
          </a:xfrm>
          <a:prstGeom prst="rect">
            <a:avLst/>
          </a:prstGeom>
          <a:noFill/>
          <a:ln w="12700" cap="rnd">
            <a:noFill/>
          </a:ln>
        </p:spPr>
        <p:txBody>
          <a:bodyPr vert="vert270"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Jobs in “Embedded Systems”</a:t>
            </a:r>
          </a:p>
        </p:txBody>
      </p:sp>
      <p:sp>
        <p:nvSpPr>
          <p:cNvPr id="18" name="Pentagon 17"/>
          <p:cNvSpPr/>
          <p:nvPr/>
        </p:nvSpPr>
        <p:spPr>
          <a:xfrm>
            <a:off x="3374341" y="4574385"/>
            <a:ext cx="1116944" cy="523981"/>
          </a:xfrm>
          <a:prstGeom prst="homePlate">
            <a:avLst>
              <a:gd name="adj" fmla="val 12773"/>
            </a:avLst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w Car Services</a:t>
            </a:r>
          </a:p>
        </p:txBody>
      </p:sp>
      <p:grpSp>
        <p:nvGrpSpPr>
          <p:cNvPr id="5" name="Group 22"/>
          <p:cNvGrpSpPr/>
          <p:nvPr>
            <p:custDataLst>
              <p:tags r:id="rId10"/>
            </p:custDataLst>
          </p:nvPr>
        </p:nvGrpSpPr>
        <p:grpSpPr>
          <a:xfrm>
            <a:off x="3640547" y="2727055"/>
            <a:ext cx="2148129" cy="747137"/>
            <a:chOff x="250826" y="2110735"/>
            <a:chExt cx="3584196" cy="1246613"/>
          </a:xfrm>
        </p:grpSpPr>
        <p:sp>
          <p:nvSpPr>
            <p:cNvPr id="21" name="Pentagon 20"/>
            <p:cNvSpPr/>
            <p:nvPr/>
          </p:nvSpPr>
          <p:spPr>
            <a:xfrm>
              <a:off x="1971378" y="2280866"/>
              <a:ext cx="1863644" cy="874274"/>
            </a:xfrm>
            <a:prstGeom prst="homePlate">
              <a:avLst>
                <a:gd name="adj" fmla="val 12773"/>
              </a:avLst>
            </a:prstGeom>
            <a:solidFill>
              <a:schemeClr val="accent4"/>
            </a:solidFill>
            <a:ln w="12700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3152" rIns="73152" bIns="73152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</a:pPr>
              <a:r>
                <a:rPr lang="en-US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New Consumer Services</a:t>
              </a:r>
            </a:p>
          </p:txBody>
        </p:sp>
        <p:pic>
          <p:nvPicPr>
            <p:cNvPr id="22" name="Picture 8"/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250826" y="2110735"/>
              <a:ext cx="1728100" cy="1246613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</p:pic>
      </p:grpSp>
      <p:grpSp>
        <p:nvGrpSpPr>
          <p:cNvPr id="6" name="Group 25"/>
          <p:cNvGrpSpPr/>
          <p:nvPr>
            <p:custDataLst>
              <p:tags r:id="rId11"/>
            </p:custDataLst>
          </p:nvPr>
        </p:nvGrpSpPr>
        <p:grpSpPr>
          <a:xfrm>
            <a:off x="1084108" y="5347917"/>
            <a:ext cx="2150946" cy="744028"/>
            <a:chOff x="246125" y="5035589"/>
            <a:chExt cx="3588897" cy="1241425"/>
          </a:xfrm>
        </p:grpSpPr>
        <p:sp>
          <p:nvSpPr>
            <p:cNvPr id="24" name="Pentagon 23"/>
            <p:cNvSpPr/>
            <p:nvPr/>
          </p:nvSpPr>
          <p:spPr>
            <a:xfrm>
              <a:off x="1971378" y="5219164"/>
              <a:ext cx="1863644" cy="874274"/>
            </a:xfrm>
            <a:prstGeom prst="homePlate">
              <a:avLst>
                <a:gd name="adj" fmla="val 12773"/>
              </a:avLst>
            </a:prstGeom>
            <a:solidFill>
              <a:schemeClr val="accent4"/>
            </a:solidFill>
            <a:ln w="12700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3152" rIns="73152" bIns="73152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</a:pPr>
              <a:r>
                <a:rPr lang="en-US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Integration Service</a:t>
              </a:r>
            </a:p>
          </p:txBody>
        </p:sp>
        <p:pic>
          <p:nvPicPr>
            <p:cNvPr id="25" name="Picture 8"/>
            <p:cNvPicPr>
              <a:picLocks noChangeAspect="1" noChangeArrowheads="1"/>
            </p:cNvPicPr>
            <p:nvPr/>
          </p:nvPicPr>
          <p:blipFill>
            <a:blip r:embed="rId27" cstate="print"/>
            <a:srcRect/>
            <a:stretch>
              <a:fillRect/>
            </a:stretch>
          </p:blipFill>
          <p:spPr bwMode="auto">
            <a:xfrm>
              <a:off x="246125" y="5035589"/>
              <a:ext cx="1736725" cy="124142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</p:pic>
      </p:grpSp>
      <p:graphicFrame>
        <p:nvGraphicFramePr>
          <p:cNvPr id="31" name="Object 10"/>
          <p:cNvGraphicFramePr>
            <a:graphicFrameLocks noChangeAspect="1"/>
          </p:cNvGraphicFramePr>
          <p:nvPr/>
        </p:nvGraphicFramePr>
        <p:xfrm>
          <a:off x="6577012" y="3048000"/>
          <a:ext cx="2209935" cy="1819343"/>
        </p:xfrm>
        <a:graphic>
          <a:graphicData uri="http://schemas.openxmlformats.org/presentationml/2006/ole">
            <p:oleObj spid="_x0000_s707587" name="Chart" r:id="rId28" imgW="2209935" imgH="1819343" progId="MSGraph.Chart.8">
              <p:embed followColorScheme="full"/>
            </p:oleObj>
          </a:graphicData>
        </a:graphic>
      </p:graphicFrame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auto">
          <a:xfrm>
            <a:off x="6045200" y="4151312"/>
            <a:ext cx="725487" cy="182562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 algn="r">
              <a:buClr>
                <a:schemeClr val="bg2"/>
              </a:buClr>
              <a:defRPr/>
            </a:pPr>
            <a:fld id="{D99E8A15-3290-4B4F-B974-719AFF0423DC}" type="datetime'''''''''''M''ec''''''''''ha''''''''ni''''c''''''''''''''s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buClr>
                  <a:schemeClr val="bg2"/>
                </a:buClr>
                <a:defRPr/>
              </a:pPr>
              <a:t>Mechanics</a:t>
            </a:fld>
            <a:endParaRPr lang="en-US" sz="1200" dirty="0" err="1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 bwMode="auto">
          <a:xfrm>
            <a:off x="6027737" y="3417887"/>
            <a:ext cx="742950" cy="182562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 algn="r">
              <a:buClr>
                <a:schemeClr val="bg2"/>
              </a:buClr>
              <a:defRPr/>
            </a:pPr>
            <a:fld id="{1449E7C5-2218-47C3-A014-8D293F7DA010}" type="datetime'El''e''''''''c''''''t''''''''''''''''''r''on''''''''''ics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buClr>
                  <a:schemeClr val="bg2"/>
                </a:buClr>
                <a:defRPr/>
              </a:pPr>
              <a:t>Electronics</a:t>
            </a:fld>
            <a:endParaRPr lang="en-US" sz="1200" dirty="0" err="1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Rectangle 33"/>
          <p:cNvSpPr/>
          <p:nvPr>
            <p:custDataLst>
              <p:tags r:id="rId14"/>
            </p:custDataLst>
          </p:nvPr>
        </p:nvSpPr>
        <p:spPr bwMode="auto">
          <a:xfrm>
            <a:off x="6170612" y="3132137"/>
            <a:ext cx="600075" cy="182562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 algn="r">
              <a:buClr>
                <a:schemeClr val="bg2"/>
              </a:buClr>
              <a:defRPr/>
            </a:pPr>
            <a:fld id="{96B8F5C8-201E-4704-876B-0B1921DD15CE}" type="datetime'''''''So''''''''f''''''tw''''''''''''a''''''re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buClr>
                  <a:schemeClr val="bg2"/>
                </a:buClr>
                <a:defRPr/>
              </a:pPr>
              <a:t>Software</a:t>
            </a:fld>
            <a:endParaRPr lang="en-US" sz="1200" dirty="0" err="1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Rectangle 34"/>
          <p:cNvSpPr/>
          <p:nvPr>
            <p:custDataLst>
              <p:tags r:id="rId15"/>
            </p:custDataLst>
          </p:nvPr>
        </p:nvSpPr>
        <p:spPr bwMode="auto">
          <a:xfrm>
            <a:off x="7974012" y="4873625"/>
            <a:ext cx="406400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buClr>
                <a:schemeClr val="bg2"/>
              </a:buClr>
              <a:defRPr/>
            </a:pPr>
            <a:fld id="{F163D353-4D01-41E3-AA00-47345FDD2C17}" type="datetime'2''''0''''''''''''''''''''''''2''''''''''5'''''''''">
              <a:rPr lang="en-US" sz="1400" b="1" smtClean="0">
                <a:solidFill>
                  <a:schemeClr val="tx1"/>
                </a:solidFill>
                <a:cs typeface="Arial"/>
                <a:sym typeface="Arial"/>
              </a:rPr>
              <a:pPr algn="ctr">
                <a:buClr>
                  <a:schemeClr val="bg2"/>
                </a:buClr>
                <a:defRPr/>
              </a:pPr>
              <a:t>2025</a:t>
            </a:fld>
            <a:endParaRPr lang="en-US" sz="1400" b="1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36" name="Rectangle 35"/>
          <p:cNvSpPr/>
          <p:nvPr>
            <p:custDataLst>
              <p:tags r:id="rId16"/>
            </p:custDataLst>
          </p:nvPr>
        </p:nvSpPr>
        <p:spPr bwMode="auto">
          <a:xfrm>
            <a:off x="6969125" y="4873625"/>
            <a:ext cx="406400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buClr>
                <a:schemeClr val="bg2"/>
              </a:buClr>
              <a:defRPr/>
            </a:pPr>
            <a:fld id="{06E40B01-BA75-4BD3-B4FF-D9EF962B1C64}" type="datetime'''2''''''''''''0''''''''''1''''''''''''''''''0'''''''">
              <a:rPr lang="en-US" sz="1400" b="1" smtClean="0">
                <a:solidFill>
                  <a:schemeClr val="tx1"/>
                </a:solidFill>
                <a:cs typeface="Arial"/>
                <a:sym typeface="Arial"/>
              </a:rPr>
              <a:pPr algn="ctr">
                <a:buClr>
                  <a:schemeClr val="bg2"/>
                </a:buClr>
                <a:defRPr/>
              </a:pPr>
              <a:t>2010</a:t>
            </a:fld>
            <a:endParaRPr lang="en-US" sz="1400" b="1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cxnSp>
        <p:nvCxnSpPr>
          <p:cNvPr id="40" name="Straight Connector 39"/>
          <p:cNvCxnSpPr/>
          <p:nvPr>
            <p:custDataLst>
              <p:tags r:id="rId17"/>
            </p:custDataLst>
          </p:nvPr>
        </p:nvCxnSpPr>
        <p:spPr bwMode="auto">
          <a:xfrm>
            <a:off x="7453312" y="3714750"/>
            <a:ext cx="447675" cy="64770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18"/>
            </p:custDataLst>
          </p:nvPr>
        </p:nvCxnSpPr>
        <p:spPr bwMode="auto">
          <a:xfrm>
            <a:off x="7453312" y="3305175"/>
            <a:ext cx="447675" cy="48577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43"/>
          <p:cNvSpPr/>
          <p:nvPr>
            <p:custDataLst>
              <p:tags r:id="rId19"/>
            </p:custDataLst>
          </p:nvPr>
        </p:nvSpPr>
        <p:spPr>
          <a:xfrm>
            <a:off x="2990938" y="5264808"/>
            <a:ext cx="324000" cy="324000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</a:t>
            </a:r>
          </a:p>
        </p:txBody>
      </p:sp>
      <p:sp>
        <p:nvSpPr>
          <p:cNvPr id="45" name="Oval 44"/>
          <p:cNvSpPr/>
          <p:nvPr>
            <p:custDataLst>
              <p:tags r:id="rId20"/>
            </p:custDataLst>
          </p:nvPr>
        </p:nvSpPr>
        <p:spPr>
          <a:xfrm>
            <a:off x="4235177" y="4412385"/>
            <a:ext cx="324000" cy="324000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I</a:t>
            </a:r>
          </a:p>
        </p:txBody>
      </p:sp>
      <p:sp>
        <p:nvSpPr>
          <p:cNvPr id="46" name="Oval 45"/>
          <p:cNvSpPr/>
          <p:nvPr/>
        </p:nvSpPr>
        <p:spPr>
          <a:xfrm>
            <a:off x="5518664" y="2669019"/>
            <a:ext cx="324000" cy="324000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V</a:t>
            </a:r>
          </a:p>
        </p:txBody>
      </p:sp>
      <p:sp>
        <p:nvSpPr>
          <p:cNvPr id="47" name="Rectangle 46"/>
          <p:cNvSpPr/>
          <p:nvPr>
            <p:custDataLst>
              <p:tags r:id="rId21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7" name="Picture 5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2377423" y="4453674"/>
            <a:ext cx="1011988" cy="7540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41" name="Pentagon 40"/>
          <p:cNvSpPr/>
          <p:nvPr/>
        </p:nvSpPr>
        <p:spPr>
          <a:xfrm>
            <a:off x="4049556" y="3680690"/>
            <a:ext cx="1116944" cy="523982"/>
          </a:xfrm>
          <a:prstGeom prst="homePlate">
            <a:avLst>
              <a:gd name="adj" fmla="val 12773"/>
            </a:avLst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ustainab</a:t>
            </a: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</a:t>
            </a:r>
            <a:b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&amp; Mobility</a:t>
            </a:r>
          </a:p>
        </p:txBody>
      </p:sp>
      <p:sp>
        <p:nvSpPr>
          <p:cNvPr id="48" name="Oval 47"/>
          <p:cNvSpPr/>
          <p:nvPr>
            <p:custDataLst>
              <p:tags r:id="rId22"/>
            </p:custDataLst>
          </p:nvPr>
        </p:nvSpPr>
        <p:spPr>
          <a:xfrm>
            <a:off x="4896488" y="3520689"/>
            <a:ext cx="324000" cy="324000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II</a:t>
            </a:r>
            <a:endParaRPr lang="en-US" sz="16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9" name="Picture 6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3055172" y="3594062"/>
            <a:ext cx="1067690" cy="7397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08610" name="think-cell Slide" r:id="rId31" imgW="0" imgH="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4</a:t>
            </a:r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The continuously increasing number of ECU`s require expertise in system standardization and modularization</a:t>
            </a:r>
            <a:endParaRPr lang="en-US" dirty="0" smtClean="0"/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car2car, Siemens</a:t>
            </a:r>
          </a:p>
        </p:txBody>
      </p:sp>
      <p:sp>
        <p:nvSpPr>
          <p:cNvPr id="11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4507" y="2471753"/>
            <a:ext cx="4229099" cy="2622256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80975" indent="-180975"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/>
              <a:t>Example: ECU development</a:t>
            </a: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Today, about 90% of all innovations in a vehicle are based on software and electronics</a:t>
            </a: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The total number of ECU’s is continuously increasing. Nowadays, more than 100 ECU’s are build into an advanced car</a:t>
            </a: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Nowadays, ECUs form a complex communication networking within a car</a:t>
            </a: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The complex functions, integrated in the ECU’s, require the usage of highly efficient development- and testing tools to ensure a zero bug quality</a:t>
            </a:r>
          </a:p>
        </p:txBody>
      </p:sp>
      <p:sp>
        <p:nvSpPr>
          <p:cNvPr id="12" name="TextBox 11"/>
          <p:cNvSpPr txBox="1"/>
          <p:nvPr>
            <p:custDataLst>
              <p:tags r:id="rId6"/>
            </p:custDataLst>
          </p:nvPr>
        </p:nvSpPr>
        <p:spPr>
          <a:xfrm>
            <a:off x="248920" y="5559425"/>
            <a:ext cx="8648700" cy="652486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  <a:latin typeface="Arial"/>
                <a:cs typeface="Arial"/>
              </a:rPr>
              <a:t>The increasing number of complex functions, integrated in the ECU’s, are leading to an ES job growth for OEMs, suppliers and 3</a:t>
            </a:r>
            <a:r>
              <a:rPr lang="en-US" b="1" baseline="30000" dirty="0" smtClean="0">
                <a:solidFill>
                  <a:schemeClr val="bg1"/>
                </a:solidFill>
                <a:latin typeface="Arial"/>
                <a:cs typeface="Arial"/>
              </a:rPr>
              <a:t>rd</a:t>
            </a:r>
            <a:r>
              <a:rPr lang="en-US" b="1" dirty="0" smtClean="0">
                <a:solidFill>
                  <a:schemeClr val="bg1"/>
                </a:solidFill>
                <a:latin typeface="Arial"/>
                <a:cs typeface="Arial"/>
              </a:rPr>
              <a:t> parties</a:t>
            </a:r>
          </a:p>
        </p:txBody>
      </p:sp>
      <p:sp>
        <p:nvSpPr>
          <p:cNvPr id="22" name="Freeform 21"/>
          <p:cNvSpPr/>
          <p:nvPr>
            <p:custDataLst>
              <p:tags r:id="rId7"/>
            </p:custDataLst>
          </p:nvPr>
        </p:nvSpPr>
        <p:spPr>
          <a:xfrm>
            <a:off x="5303837" y="2673350"/>
            <a:ext cx="3160450" cy="2090945"/>
          </a:xfrm>
          <a:custGeom>
            <a:avLst/>
            <a:gdLst>
              <a:gd name="connsiteX0" fmla="*/ 0 w 3160450"/>
              <a:gd name="connsiteY0" fmla="*/ 2432482 h 2432482"/>
              <a:gd name="connsiteX1" fmla="*/ 1899821 w 3160450"/>
              <a:gd name="connsiteY1" fmla="*/ 1917577 h 2432482"/>
              <a:gd name="connsiteX2" fmla="*/ 3160450 w 3160450"/>
              <a:gd name="connsiteY2" fmla="*/ 0 h 2432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60450" h="2432482">
                <a:moveTo>
                  <a:pt x="0" y="2432482"/>
                </a:moveTo>
                <a:cubicBezTo>
                  <a:pt x="686539" y="2377736"/>
                  <a:pt x="1373079" y="2322991"/>
                  <a:pt x="1899821" y="1917577"/>
                </a:cubicBezTo>
                <a:cubicBezTo>
                  <a:pt x="2426563" y="1512163"/>
                  <a:pt x="3160450" y="0"/>
                  <a:pt x="3160450" y="0"/>
                </a:cubicBezTo>
              </a:path>
            </a:pathLst>
          </a:custGeom>
          <a:ln w="76200" cap="rnd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3" name="Object 22"/>
          <p:cNvGraphicFramePr>
            <a:graphicFrameLocks noChangeAspect="1"/>
          </p:cNvGraphicFramePr>
          <p:nvPr/>
        </p:nvGraphicFramePr>
        <p:xfrm>
          <a:off x="4737101" y="2389186"/>
          <a:ext cx="4209973" cy="2981454"/>
        </p:xfrm>
        <a:graphic>
          <a:graphicData uri="http://schemas.openxmlformats.org/presentationml/2006/ole">
            <p:oleObj spid="_x0000_s708611" name="Chart" r:id="rId32" imgW="4209973" imgH="2981454" progId="MSGraph.Chart.8">
              <p:embed followColorScheme="full"/>
            </p:oleObj>
          </a:graphicData>
        </a:graphic>
      </p:graphicFrame>
      <p:sp>
        <p:nvSpPr>
          <p:cNvPr id="40" name="Rectangle 39"/>
          <p:cNvSpPr/>
          <p:nvPr>
            <p:custDataLst>
              <p:tags r:id="rId8"/>
            </p:custDataLst>
          </p:nvPr>
        </p:nvSpPr>
        <p:spPr bwMode="auto">
          <a:xfrm>
            <a:off x="7073900" y="5243512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43F71517-611D-4685-8E08-D9524C37EADE}" type="datetime'''''''''2''''''''''''0''''0''1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01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Rectangle 23"/>
          <p:cNvSpPr/>
          <p:nvPr>
            <p:custDataLst>
              <p:tags r:id="rId9"/>
            </p:custDataLst>
          </p:nvPr>
        </p:nvSpPr>
        <p:spPr bwMode="auto">
          <a:xfrm>
            <a:off x="4640262" y="2312987"/>
            <a:ext cx="1239837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200" b="1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# of control units</a:t>
            </a:r>
          </a:p>
        </p:txBody>
      </p:sp>
      <p:sp>
        <p:nvSpPr>
          <p:cNvPr id="49" name="Rectangle 48"/>
          <p:cNvSpPr/>
          <p:nvPr>
            <p:custDataLst>
              <p:tags r:id="rId10"/>
            </p:custDataLst>
          </p:nvPr>
        </p:nvSpPr>
        <p:spPr bwMode="auto">
          <a:xfrm>
            <a:off x="8655050" y="5243512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1E5B309A-1CA6-4CED-8A8E-21CD940E0A7E}" type="datetime'''''''''''''''2''''''''''''''''0''''''''''''''''05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05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Rectangle 43"/>
          <p:cNvSpPr/>
          <p:nvPr>
            <p:custDataLst>
              <p:tags r:id="rId11"/>
            </p:custDataLst>
          </p:nvPr>
        </p:nvSpPr>
        <p:spPr bwMode="auto">
          <a:xfrm>
            <a:off x="8255000" y="5243512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CE1738C4-0DA6-4BDC-8661-AE91AF26DAE3}" type="datetime'''''''''''''2''''''00''''''''''''''''''''''''''''''''''''''4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04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" name="Rectangle 42"/>
          <p:cNvSpPr/>
          <p:nvPr>
            <p:custDataLst>
              <p:tags r:id="rId12"/>
            </p:custDataLst>
          </p:nvPr>
        </p:nvSpPr>
        <p:spPr bwMode="auto">
          <a:xfrm>
            <a:off x="7864475" y="5243512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5A0D0EA9-E6B6-4FF6-85BB-8531FC01F090}" type="datetime'''''''''''''''2''0''''''''''''''''''''0''''''''3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03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2" name="Rectangle 41"/>
          <p:cNvSpPr/>
          <p:nvPr>
            <p:custDataLst>
              <p:tags r:id="rId13"/>
            </p:custDataLst>
          </p:nvPr>
        </p:nvSpPr>
        <p:spPr bwMode="auto">
          <a:xfrm>
            <a:off x="7464425" y="5243512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51CD31FA-E0DA-4E3A-88B7-5483B2EE3C41}" type="datetime'2''''''''''''''''''''''''''''''''0''''''0''''2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02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 useBgFill="1">
        <p:nvSpPr>
          <p:cNvPr id="26" name="Rectangle 25"/>
          <p:cNvSpPr/>
          <p:nvPr>
            <p:custDataLst>
              <p:tags r:id="rId14"/>
            </p:custDataLst>
          </p:nvPr>
        </p:nvSpPr>
        <p:spPr bwMode="auto">
          <a:xfrm>
            <a:off x="8096250" y="3322637"/>
            <a:ext cx="630237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0640E1D7-EBDD-485B-B4F1-818F7E76E4FD}" type="datetime'''''''''''''M''''o''d''''e''''''''l ''''''7'''''">
              <a:rPr lang="en-US" sz="14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Model 7</a:t>
            </a:fld>
            <a:endParaRPr lang="en-US" sz="14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 useBgFill="1">
        <p:nvSpPr>
          <p:cNvPr id="27" name="Rectangle 26"/>
          <p:cNvSpPr/>
          <p:nvPr>
            <p:custDataLst>
              <p:tags r:id="rId15"/>
            </p:custDataLst>
          </p:nvPr>
        </p:nvSpPr>
        <p:spPr bwMode="auto">
          <a:xfrm>
            <a:off x="7696200" y="3865562"/>
            <a:ext cx="630237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A37A5996-F706-4C60-9909-5D16F0B5F20E}" type="datetime'''''M''''''''''''o''''''d''''''''''''e''l ''''''''''''''6'''''">
              <a:rPr lang="en-US" sz="14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Model 6</a:t>
            </a:fld>
            <a:endParaRPr lang="en-US" sz="14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 useBgFill="1">
        <p:nvSpPr>
          <p:cNvPr id="28" name="Rectangle 27"/>
          <p:cNvSpPr/>
          <p:nvPr>
            <p:custDataLst>
              <p:tags r:id="rId16"/>
            </p:custDataLst>
          </p:nvPr>
        </p:nvSpPr>
        <p:spPr bwMode="auto">
          <a:xfrm>
            <a:off x="6548437" y="3741737"/>
            <a:ext cx="630237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431CD858-9116-48F5-BE33-1E43B392ECDE}" type="datetime'''M''o''''''d''''''el'''''''''' ''''''5'''''''''''">
              <a:rPr lang="en-US" sz="14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Model 5</a:t>
            </a:fld>
            <a:endParaRPr lang="en-US" sz="14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 useBgFill="1">
        <p:nvSpPr>
          <p:cNvPr id="29" name="Rectangle 28"/>
          <p:cNvSpPr/>
          <p:nvPr>
            <p:custDataLst>
              <p:tags r:id="rId17"/>
            </p:custDataLst>
          </p:nvPr>
        </p:nvSpPr>
        <p:spPr bwMode="auto">
          <a:xfrm>
            <a:off x="6148387" y="4275137"/>
            <a:ext cx="630237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C61981DD-25A0-4BA8-A044-F9DCA9D0323B}" type="datetime'''M''od''''''''''''''''''e''''''''''''''l ''''''4'">
              <a:rPr lang="en-US" sz="14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Model 4</a:t>
            </a:fld>
            <a:endParaRPr lang="en-US" sz="14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 useBgFill="1">
        <p:nvSpPr>
          <p:cNvPr id="30" name="Rectangle 29"/>
          <p:cNvSpPr/>
          <p:nvPr>
            <p:custDataLst>
              <p:tags r:id="rId18"/>
            </p:custDataLst>
          </p:nvPr>
        </p:nvSpPr>
        <p:spPr bwMode="auto">
          <a:xfrm>
            <a:off x="6905625" y="4198937"/>
            <a:ext cx="630237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9715ACC4-0098-41DD-B55F-6A57C2D256D1}" type="datetime'''''''''''''Mod''''''''e''''''''''''l'''' ''''''''3'''''''">
              <a:rPr lang="en-US" sz="14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Model 3</a:t>
            </a:fld>
            <a:endParaRPr lang="en-US" sz="14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 useBgFill="1">
        <p:nvSpPr>
          <p:cNvPr id="31" name="Rectangle 30"/>
          <p:cNvSpPr/>
          <p:nvPr>
            <p:custDataLst>
              <p:tags r:id="rId19"/>
            </p:custDataLst>
          </p:nvPr>
        </p:nvSpPr>
        <p:spPr bwMode="auto">
          <a:xfrm>
            <a:off x="5737225" y="4614862"/>
            <a:ext cx="630237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291D920D-D57F-4CC6-8FF4-83D2E6973FAB}" type="datetime'''''''''M''''''''''''''od''e''''''l ''''2'">
              <a:rPr lang="en-US" sz="14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Model 2</a:t>
            </a:fld>
            <a:endParaRPr lang="en-US" sz="14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 useBgFill="1">
        <p:nvSpPr>
          <p:cNvPr id="32" name="Rectangle 31"/>
          <p:cNvSpPr/>
          <p:nvPr>
            <p:custDataLst>
              <p:tags r:id="rId20"/>
            </p:custDataLst>
          </p:nvPr>
        </p:nvSpPr>
        <p:spPr bwMode="auto">
          <a:xfrm>
            <a:off x="5346700" y="4333875"/>
            <a:ext cx="630237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5C89CADE-27E1-400C-8B31-7E56B15440B2}" type="datetime'''M''''o''d''''e''''''l 1'''''''''''''''''''''''''''">
              <a:rPr lang="en-US" sz="14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Model 1</a:t>
            </a:fld>
            <a:endParaRPr lang="en-US" sz="14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8" name="Rectangle 37"/>
          <p:cNvSpPr/>
          <p:nvPr>
            <p:custDataLst>
              <p:tags r:id="rId21"/>
            </p:custDataLst>
          </p:nvPr>
        </p:nvSpPr>
        <p:spPr bwMode="auto">
          <a:xfrm>
            <a:off x="6283325" y="5243512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A48BF1C4-C16B-49BC-9D55-6ECA9073104A}" type="datetime'''1''9''''''''''9''''''''''9''''''''''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999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Rectangle 36"/>
          <p:cNvSpPr/>
          <p:nvPr>
            <p:custDataLst>
              <p:tags r:id="rId22"/>
            </p:custDataLst>
          </p:nvPr>
        </p:nvSpPr>
        <p:spPr bwMode="auto">
          <a:xfrm>
            <a:off x="5883275" y="5243512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5C49CC19-F5F4-4999-A849-5FC0E61358A0}" type="datetime'''''''1''''''''''''''9''''9''''''''8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998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Rectangle 35"/>
          <p:cNvSpPr/>
          <p:nvPr>
            <p:custDataLst>
              <p:tags r:id="rId23"/>
            </p:custDataLst>
          </p:nvPr>
        </p:nvSpPr>
        <p:spPr bwMode="auto">
          <a:xfrm>
            <a:off x="5492750" y="5243512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22021803-4D2C-4A80-A3DA-CB2D7F6113BB}" type="datetime'''''''''''''''''''''''''''''''''''''1''''''9''9''''7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997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Rectangle 34"/>
          <p:cNvSpPr/>
          <p:nvPr>
            <p:custDataLst>
              <p:tags r:id="rId24"/>
            </p:custDataLst>
          </p:nvPr>
        </p:nvSpPr>
        <p:spPr bwMode="auto">
          <a:xfrm>
            <a:off x="5092700" y="5243512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DAD093E6-3796-4BB0-9514-12ADBA87D1A4}" type="datetime'''''''''''''''''''''1''''''''''''''9''''''''''''''''96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996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 useBgFill="1">
        <p:nvSpPr>
          <p:cNvPr id="25" name="Rectangle 24"/>
          <p:cNvSpPr/>
          <p:nvPr>
            <p:custDataLst>
              <p:tags r:id="rId25"/>
            </p:custDataLst>
          </p:nvPr>
        </p:nvSpPr>
        <p:spPr bwMode="auto">
          <a:xfrm>
            <a:off x="7729537" y="2808287"/>
            <a:ext cx="630237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2DE236FD-2982-4E2E-BB03-121E6AA4777C}" type="datetime'''Mo''''''''de''''''''''''''''''''l'''''''''' ''''''8'''''''">
              <a:rPr lang="en-US" sz="14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Model 8</a:t>
            </a:fld>
            <a:endParaRPr lang="en-US" sz="14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9" name="Rectangle 38"/>
          <p:cNvSpPr/>
          <p:nvPr>
            <p:custDataLst>
              <p:tags r:id="rId26"/>
            </p:custDataLst>
          </p:nvPr>
        </p:nvSpPr>
        <p:spPr bwMode="auto">
          <a:xfrm>
            <a:off x="6673850" y="5243512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78F0DF88-15B3-46ED-973B-D587FCB9FB90}" type="datetime'''''2''0''''''''''0''0''''''''''''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00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TextBox 33"/>
          <p:cNvSpPr txBox="1"/>
          <p:nvPr>
            <p:custDataLst>
              <p:tags r:id="rId27"/>
            </p:custDataLst>
          </p:nvPr>
        </p:nvSpPr>
        <p:spPr>
          <a:xfrm>
            <a:off x="4087358" y="1845201"/>
            <a:ext cx="4926012" cy="44319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Example of increasing application of </a:t>
            </a:r>
            <a:r>
              <a:rPr lang="en-US" sz="1600" b="1" dirty="0" smtClean="0"/>
              <a:t>Embedded Electronic Systems </a:t>
            </a:r>
            <a:r>
              <a:rPr lang="en-US" sz="1600" dirty="0" smtClean="0">
                <a:latin typeface="Arial "/>
              </a:rPr>
              <a:t>(e.g. control units)</a:t>
            </a:r>
          </a:p>
        </p:txBody>
      </p:sp>
      <p:grpSp>
        <p:nvGrpSpPr>
          <p:cNvPr id="2" name="Group 44"/>
          <p:cNvGrpSpPr/>
          <p:nvPr>
            <p:custDataLst>
              <p:tags r:id="rId28"/>
            </p:custDataLst>
          </p:nvPr>
        </p:nvGrpSpPr>
        <p:grpSpPr>
          <a:xfrm>
            <a:off x="230813" y="1608862"/>
            <a:ext cx="2150946" cy="744028"/>
            <a:chOff x="246125" y="5035589"/>
            <a:chExt cx="3588897" cy="1241425"/>
          </a:xfrm>
        </p:grpSpPr>
        <p:sp>
          <p:nvSpPr>
            <p:cNvPr id="46" name="Pentagon 45"/>
            <p:cNvSpPr/>
            <p:nvPr/>
          </p:nvSpPr>
          <p:spPr>
            <a:xfrm>
              <a:off x="1971378" y="5219164"/>
              <a:ext cx="1863644" cy="874274"/>
            </a:xfrm>
            <a:prstGeom prst="homePlate">
              <a:avLst>
                <a:gd name="adj" fmla="val 12773"/>
              </a:avLst>
            </a:prstGeom>
            <a:solidFill>
              <a:schemeClr val="accent4"/>
            </a:solidFill>
            <a:ln w="12700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3152" rIns="73152" bIns="73152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</a:pPr>
              <a:r>
                <a:rPr lang="en-US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Integration Service</a:t>
              </a:r>
            </a:p>
          </p:txBody>
        </p:sp>
        <p:pic>
          <p:nvPicPr>
            <p:cNvPr id="47" name="Picture 8"/>
            <p:cNvPicPr>
              <a:picLocks noChangeAspect="1" noChangeArrowheads="1"/>
            </p:cNvPicPr>
            <p:nvPr/>
          </p:nvPicPr>
          <p:blipFill>
            <a:blip r:embed="rId33" cstate="print"/>
            <a:srcRect/>
            <a:stretch>
              <a:fillRect/>
            </a:stretch>
          </p:blipFill>
          <p:spPr bwMode="auto">
            <a:xfrm>
              <a:off x="246125" y="5035589"/>
              <a:ext cx="1736725" cy="124142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</p:pic>
      </p:grpSp>
      <p:sp>
        <p:nvSpPr>
          <p:cNvPr id="48" name="Oval 47"/>
          <p:cNvSpPr/>
          <p:nvPr>
            <p:custDataLst>
              <p:tags r:id="rId29"/>
            </p:custDataLst>
          </p:nvPr>
        </p:nvSpPr>
        <p:spPr>
          <a:xfrm>
            <a:off x="178586" y="1486564"/>
            <a:ext cx="324000" cy="324000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09634" name="think-cell Slide" r:id="rId12" imgW="0" imgH="0" progId="">
              <p:embed/>
            </p:oleObj>
          </a:graphicData>
        </a:graphic>
      </p:graphicFrame>
      <p:sp>
        <p:nvSpPr>
          <p:cNvPr id="19" name="Pentagon 18"/>
          <p:cNvSpPr/>
          <p:nvPr>
            <p:custDataLst>
              <p:tags r:id="rId2"/>
            </p:custDataLst>
          </p:nvPr>
        </p:nvSpPr>
        <p:spPr>
          <a:xfrm>
            <a:off x="1281225" y="1712075"/>
            <a:ext cx="1116944" cy="523981"/>
          </a:xfrm>
          <a:prstGeom prst="homePlate">
            <a:avLst>
              <a:gd name="adj" fmla="val 12773"/>
            </a:avLst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w Car Services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New innovative car services for more security, comfort and energy efficiency will generate additional demand</a:t>
            </a:r>
            <a:endParaRPr lang="en-US" dirty="0" smtClean="0"/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car2car, Siemens</a:t>
            </a:r>
          </a:p>
        </p:txBody>
      </p:sp>
      <p:sp>
        <p:nvSpPr>
          <p:cNvPr id="11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4799" y="2607587"/>
            <a:ext cx="4229099" cy="193899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endParaRPr lang="en-US" sz="1400" dirty="0" smtClean="0"/>
          </a:p>
        </p:txBody>
      </p:sp>
      <p:sp>
        <p:nvSpPr>
          <p:cNvPr id="12" name="TextBox 11"/>
          <p:cNvSpPr txBox="1"/>
          <p:nvPr>
            <p:custDataLst>
              <p:tags r:id="rId6"/>
            </p:custDataLst>
          </p:nvPr>
        </p:nvSpPr>
        <p:spPr>
          <a:xfrm>
            <a:off x="248920" y="5559425"/>
            <a:ext cx="8648700" cy="652486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  <a:latin typeface="Arial"/>
                <a:cs typeface="Arial"/>
              </a:rPr>
              <a:t>New car services require a communication infrastructure and new standards , leading to an ES job growth for OEMs, suppliers and 3</a:t>
            </a:r>
            <a:r>
              <a:rPr lang="en-US" b="1" baseline="30000" dirty="0" smtClean="0">
                <a:solidFill>
                  <a:schemeClr val="bg1"/>
                </a:solidFill>
                <a:latin typeface="Arial"/>
                <a:cs typeface="Arial"/>
              </a:rPr>
              <a:t>rd</a:t>
            </a:r>
            <a:r>
              <a:rPr lang="en-US" b="1" dirty="0" smtClean="0">
                <a:solidFill>
                  <a:schemeClr val="bg1"/>
                </a:solidFill>
                <a:latin typeface="Arial"/>
                <a:cs typeface="Arial"/>
              </a:rPr>
              <a:t> parties</a:t>
            </a:r>
          </a:p>
        </p:txBody>
      </p:sp>
      <p:pic>
        <p:nvPicPr>
          <p:cNvPr id="257026" name="Picture 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/>
          <a:srcRect r="2248"/>
          <a:stretch>
            <a:fillRect/>
          </a:stretch>
        </p:blipFill>
        <p:spPr bwMode="auto">
          <a:xfrm>
            <a:off x="4932363" y="2412153"/>
            <a:ext cx="3960117" cy="2547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44507" y="2471753"/>
            <a:ext cx="4229099" cy="231294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Example: Car2x communication</a:t>
            </a: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In future car-to-car and car-to-infrastructure </a:t>
            </a:r>
            <a:r>
              <a:rPr lang="en-US" sz="1400" dirty="0" err="1" smtClean="0"/>
              <a:t>commincation</a:t>
            </a:r>
            <a:r>
              <a:rPr lang="en-US" sz="1400" dirty="0" smtClean="0"/>
              <a:t> is a leading trend that will lead to safer and more efficient road traffic</a:t>
            </a: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2025 is expected as the break-through year in which more than 50% of all new cars are able to communicate</a:t>
            </a: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This ability is allows the traffic to flow more fluently it will be particularly interesting for optimal energy management in electric cars</a:t>
            </a:r>
          </a:p>
        </p:txBody>
      </p:sp>
      <p:pic>
        <p:nvPicPr>
          <p:cNvPr id="13" name="Picture 5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74303" y="1592908"/>
            <a:ext cx="1011988" cy="7540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2" name="Oval 21"/>
          <p:cNvSpPr/>
          <p:nvPr>
            <p:custDataLst>
              <p:tags r:id="rId10"/>
            </p:custDataLst>
          </p:nvPr>
        </p:nvSpPr>
        <p:spPr>
          <a:xfrm>
            <a:off x="178586" y="1486564"/>
            <a:ext cx="324000" cy="324000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I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0658" name="think-cell Slide" r:id="rId49" imgW="0" imgH="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000000"/>
                </a:solidFill>
                <a:latin typeface="Arial"/>
                <a:sym typeface="Arial"/>
              </a:rPr>
              <a:t>0</a:t>
            </a:r>
            <a:endParaRPr lang="en-US" sz="1000" dirty="0" err="1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49" name="Freeform 48"/>
          <p:cNvSpPr/>
          <p:nvPr>
            <p:custDataLst>
              <p:tags r:id="rId3"/>
            </p:custDataLst>
          </p:nvPr>
        </p:nvSpPr>
        <p:spPr>
          <a:xfrm>
            <a:off x="914400" y="2624457"/>
            <a:ext cx="7202488" cy="2293938"/>
          </a:xfrm>
          <a:custGeom>
            <a:avLst/>
            <a:gdLst>
              <a:gd name="connsiteX0" fmla="*/ 0 w 7203057"/>
              <a:gd name="connsiteY0" fmla="*/ 2294626 h 2294626"/>
              <a:gd name="connsiteX1" fmla="*/ 3683479 w 7203057"/>
              <a:gd name="connsiteY1" fmla="*/ 2216988 h 2294626"/>
              <a:gd name="connsiteX2" fmla="*/ 7203057 w 7203057"/>
              <a:gd name="connsiteY2" fmla="*/ 2053086 h 2294626"/>
              <a:gd name="connsiteX3" fmla="*/ 7203057 w 7203057"/>
              <a:gd name="connsiteY3" fmla="*/ 0 h 2294626"/>
              <a:gd name="connsiteX4" fmla="*/ 3657600 w 7203057"/>
              <a:gd name="connsiteY4" fmla="*/ 1751162 h 2294626"/>
              <a:gd name="connsiteX5" fmla="*/ 1828800 w 7203057"/>
              <a:gd name="connsiteY5" fmla="*/ 2234241 h 2294626"/>
              <a:gd name="connsiteX6" fmla="*/ 0 w 7203057"/>
              <a:gd name="connsiteY6" fmla="*/ 2294626 h 2294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03057" h="2294626">
                <a:moveTo>
                  <a:pt x="0" y="2294626"/>
                </a:moveTo>
                <a:lnTo>
                  <a:pt x="3683479" y="2216988"/>
                </a:lnTo>
                <a:lnTo>
                  <a:pt x="7203057" y="2053086"/>
                </a:lnTo>
                <a:lnTo>
                  <a:pt x="7203057" y="0"/>
                </a:lnTo>
                <a:lnTo>
                  <a:pt x="3657600" y="1751162"/>
                </a:lnTo>
                <a:lnTo>
                  <a:pt x="1828800" y="2234241"/>
                </a:lnTo>
                <a:lnTo>
                  <a:pt x="0" y="2294626"/>
                </a:lnTo>
                <a:close/>
              </a:path>
            </a:pathLst>
          </a:custGeom>
          <a:solidFill>
            <a:schemeClr val="accent4"/>
          </a:solidFill>
          <a:ln w="28575" cap="rnd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  <a:defRPr/>
            </a:pPr>
            <a:endParaRPr lang="en-US" sz="1400" b="1" dirty="0" err="1">
              <a:solidFill>
                <a:srgbClr val="000000"/>
              </a:solidFill>
            </a:endParaRPr>
          </a:p>
        </p:txBody>
      </p:sp>
      <p:sp>
        <p:nvSpPr>
          <p:cNvPr id="41" name="Left-Right Arrow 40"/>
          <p:cNvSpPr/>
          <p:nvPr>
            <p:custDataLst>
              <p:tags r:id="rId4"/>
            </p:custDataLst>
          </p:nvPr>
        </p:nvSpPr>
        <p:spPr>
          <a:xfrm rot="5400000">
            <a:off x="4366419" y="4541364"/>
            <a:ext cx="431800" cy="169862"/>
          </a:xfrm>
          <a:prstGeom prst="leftRightArrow">
            <a:avLst>
              <a:gd name="adj1" fmla="val 100000"/>
              <a:gd name="adj2" fmla="val 50000"/>
            </a:avLst>
          </a:prstGeom>
          <a:solidFill>
            <a:srgbClr val="D8B5B2"/>
          </a:solidFill>
          <a:ln w="9525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  <a:defRPr/>
            </a:pPr>
            <a:endParaRPr lang="en-US" sz="1400" dirty="0" err="1">
              <a:solidFill>
                <a:srgbClr val="000000"/>
              </a:solidFill>
            </a:endParaRPr>
          </a:p>
        </p:txBody>
      </p:sp>
      <p:sp>
        <p:nvSpPr>
          <p:cNvPr id="52" name="Left-Right Arrow 51"/>
          <p:cNvSpPr/>
          <p:nvPr>
            <p:custDataLst>
              <p:tags r:id="rId5"/>
            </p:custDataLst>
          </p:nvPr>
        </p:nvSpPr>
        <p:spPr>
          <a:xfrm rot="5400000">
            <a:off x="7219950" y="3402332"/>
            <a:ext cx="1787525" cy="168275"/>
          </a:xfrm>
          <a:prstGeom prst="leftRightArrow">
            <a:avLst>
              <a:gd name="adj1" fmla="val 100000"/>
              <a:gd name="adj2" fmla="val 50000"/>
            </a:avLst>
          </a:prstGeom>
          <a:solidFill>
            <a:srgbClr val="D8B5B2"/>
          </a:solidFill>
          <a:ln w="9525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  <a:defRPr/>
            </a:pPr>
            <a:endParaRPr lang="en-US" sz="1400" dirty="0" err="1">
              <a:solidFill>
                <a:srgbClr val="000000"/>
              </a:solidFill>
            </a:endParaRPr>
          </a:p>
        </p:txBody>
      </p:sp>
      <p:pic>
        <p:nvPicPr>
          <p:cNvPr id="5128" name="Picture 29" descr="Fraunhofer ISI.jp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6161088" y="2711770"/>
            <a:ext cx="903287" cy="388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9" name="TextBox 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702425" y="2700657"/>
            <a:ext cx="103188" cy="12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US" sz="900">
                <a:solidFill>
                  <a:srgbClr val="000000"/>
                </a:solidFill>
              </a:rPr>
              <a:t>5)</a:t>
            </a:r>
          </a:p>
        </p:txBody>
      </p:sp>
      <p:sp>
        <p:nvSpPr>
          <p:cNvPr id="5130" name="Titl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244475" y="596900"/>
            <a:ext cx="8650288" cy="665163"/>
          </a:xfrm>
        </p:spPr>
        <p:txBody>
          <a:bodyPr/>
          <a:lstStyle/>
          <a:p>
            <a:pPr eaLnBrk="1" hangingPunct="1"/>
            <a:r>
              <a:rPr lang="en-US" dirty="0" smtClean="0"/>
              <a:t>For automotive OEMs, the electric vehicle market will </a:t>
            </a:r>
            <a:br>
              <a:rPr lang="en-US" dirty="0" smtClean="0"/>
            </a:br>
            <a:r>
              <a:rPr lang="en-US" dirty="0" smtClean="0"/>
              <a:t>dramatically grow until 2030</a:t>
            </a:r>
          </a:p>
        </p:txBody>
      </p:sp>
      <p:sp>
        <p:nvSpPr>
          <p:cNvPr id="5131" name="TextBox 1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44475" y="6145213"/>
            <a:ext cx="864870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ct val="85000"/>
              </a:lnSpc>
              <a:tabLst>
                <a:tab pos="571500" algn="l"/>
              </a:tabLst>
            </a:pPr>
            <a:r>
              <a:rPr lang="en-US" sz="1000">
                <a:solidFill>
                  <a:srgbClr val="000000"/>
                </a:solidFill>
              </a:rPr>
              <a:t>EV = electric vehicle; PHEV = plug-in hybrid electric vehicle</a:t>
            </a:r>
          </a:p>
          <a:p>
            <a:pPr>
              <a:lnSpc>
                <a:spcPct val="85000"/>
              </a:lnSpc>
              <a:tabLst>
                <a:tab pos="571500" algn="l"/>
              </a:tabLst>
            </a:pPr>
            <a:r>
              <a:rPr lang="en-US" sz="1000">
                <a:solidFill>
                  <a:srgbClr val="000000"/>
                </a:solidFill>
              </a:rPr>
              <a:t>1) </a:t>
            </a:r>
            <a:r>
              <a:rPr lang="en-US" sz="1000" b="1">
                <a:solidFill>
                  <a:srgbClr val="000000"/>
                </a:solidFill>
              </a:rPr>
              <a:t>Ca. 3.5 mil. EV and PHEV </a:t>
            </a:r>
            <a:r>
              <a:rPr lang="en-US" sz="1000">
                <a:solidFill>
                  <a:srgbClr val="000000"/>
                </a:solidFill>
              </a:rPr>
              <a:t>in 2020, Deutsche Bank</a:t>
            </a:r>
          </a:p>
          <a:p>
            <a:pPr>
              <a:lnSpc>
                <a:spcPct val="85000"/>
              </a:lnSpc>
              <a:tabLst>
                <a:tab pos="571500" algn="l"/>
              </a:tabLst>
            </a:pPr>
            <a:r>
              <a:rPr lang="en-US" sz="1000">
                <a:solidFill>
                  <a:srgbClr val="000000"/>
                </a:solidFill>
              </a:rPr>
              <a:t>2) </a:t>
            </a:r>
            <a:r>
              <a:rPr lang="en-US" sz="1000" b="1">
                <a:solidFill>
                  <a:srgbClr val="000000"/>
                </a:solidFill>
              </a:rPr>
              <a:t>1 mil. EVs </a:t>
            </a:r>
            <a:r>
              <a:rPr lang="en-US" sz="1000">
                <a:solidFill>
                  <a:srgbClr val="000000"/>
                </a:solidFill>
              </a:rPr>
              <a:t>not earlier than 2020, Wuppertaler Institut für Klima, Umwelt, Energie GmbH</a:t>
            </a:r>
          </a:p>
          <a:p>
            <a:pPr>
              <a:lnSpc>
                <a:spcPct val="85000"/>
              </a:lnSpc>
              <a:tabLst>
                <a:tab pos="571500" algn="l"/>
              </a:tabLst>
            </a:pPr>
            <a:r>
              <a:rPr lang="en-US" sz="1000">
                <a:solidFill>
                  <a:srgbClr val="000000"/>
                </a:solidFill>
              </a:rPr>
              <a:t>3) </a:t>
            </a:r>
            <a:r>
              <a:rPr lang="en-US" sz="1000" b="1">
                <a:solidFill>
                  <a:srgbClr val="000000"/>
                </a:solidFill>
              </a:rPr>
              <a:t>1 to 2 mil. EVs and PHEVs </a:t>
            </a:r>
            <a:r>
              <a:rPr lang="en-US" sz="1000">
                <a:solidFill>
                  <a:srgbClr val="000000"/>
                </a:solidFill>
              </a:rPr>
              <a:t>in 2020, Fraunhofer ISI	4) </a:t>
            </a:r>
            <a:r>
              <a:rPr lang="en-US" sz="1000" b="1">
                <a:solidFill>
                  <a:srgbClr val="000000"/>
                </a:solidFill>
              </a:rPr>
              <a:t>2 to 13 mil. EVs</a:t>
            </a:r>
            <a:r>
              <a:rPr lang="en-US" sz="1000">
                <a:solidFill>
                  <a:srgbClr val="000000"/>
                </a:solidFill>
              </a:rPr>
              <a:t> in 2030 (</a:t>
            </a:r>
            <a:r>
              <a:rPr lang="en-US" sz="1000" b="1">
                <a:solidFill>
                  <a:srgbClr val="000000"/>
                </a:solidFill>
              </a:rPr>
              <a:t>best guess: 10 mil.</a:t>
            </a:r>
            <a:r>
              <a:rPr lang="en-US" sz="1000">
                <a:solidFill>
                  <a:srgbClr val="000000"/>
                </a:solidFill>
              </a:rPr>
              <a:t>), Vattenfall</a:t>
            </a:r>
          </a:p>
          <a:p>
            <a:pPr>
              <a:lnSpc>
                <a:spcPct val="85000"/>
              </a:lnSpc>
              <a:tabLst>
                <a:tab pos="571500" algn="l"/>
              </a:tabLst>
            </a:pPr>
            <a:r>
              <a:rPr lang="en-US" sz="1000">
                <a:solidFill>
                  <a:srgbClr val="000000"/>
                </a:solidFill>
              </a:rPr>
              <a:t>5) </a:t>
            </a:r>
            <a:r>
              <a:rPr lang="en-US" sz="1000" b="1">
                <a:solidFill>
                  <a:srgbClr val="000000"/>
                </a:solidFill>
              </a:rPr>
              <a:t>8 to 13 mil. EVs and PHEVs </a:t>
            </a:r>
            <a:r>
              <a:rPr lang="en-US" sz="1000">
                <a:solidFill>
                  <a:srgbClr val="000000"/>
                </a:solidFill>
              </a:rPr>
              <a:t>in 2030, Fraunhofer ISI	6) Price for small car (Smart-class) today (Welt Online, article: march 11th 2008)</a:t>
            </a:r>
          </a:p>
        </p:txBody>
      </p:sp>
      <p:sp>
        <p:nvSpPr>
          <p:cNvPr id="5132" name="Rounded Rectangle 3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50825" y="5345113"/>
            <a:ext cx="8642350" cy="647700"/>
          </a:xfrm>
          <a:prstGeom prst="rect">
            <a:avLst/>
          </a:prstGeom>
          <a:solidFill>
            <a:schemeClr val="bg2"/>
          </a:solidFill>
          <a:ln w="12700" cap="rnd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marL="295275" indent="-115888">
              <a:lnSpc>
                <a:spcPct val="90000"/>
              </a:lnSpc>
              <a:spcBef>
                <a:spcPts val="600"/>
              </a:spcBef>
              <a:buClr>
                <a:srgbClr val="FFFFFF"/>
              </a:buClr>
              <a:buFont typeface="Arial" pitchFamily="34" charset="0"/>
              <a:buChar char="•"/>
            </a:pPr>
            <a:r>
              <a:rPr lang="en-US" sz="1400" b="1">
                <a:solidFill>
                  <a:srgbClr val="FFFFFF"/>
                </a:solidFill>
              </a:rPr>
              <a:t>Fleet of 1 to 3.7 mil. electric vehicles in 2020	</a:t>
            </a:r>
          </a:p>
          <a:p>
            <a:pPr marL="295275" indent="-115888">
              <a:lnSpc>
                <a:spcPct val="90000"/>
              </a:lnSpc>
              <a:spcBef>
                <a:spcPts val="600"/>
              </a:spcBef>
              <a:buClr>
                <a:srgbClr val="FFFFFF"/>
              </a:buClr>
              <a:buFont typeface="Arial" pitchFamily="34" charset="0"/>
              <a:buChar char="•"/>
            </a:pPr>
            <a:r>
              <a:rPr lang="en-US" sz="1400" b="1">
                <a:solidFill>
                  <a:srgbClr val="FFFFFF"/>
                </a:solidFill>
              </a:rPr>
              <a:t>€ 20,000 per small electric vehicle</a:t>
            </a:r>
            <a:r>
              <a:rPr lang="en-US" sz="1400" b="1" baseline="30000">
                <a:solidFill>
                  <a:srgbClr val="FFFFFF"/>
                </a:solidFill>
              </a:rPr>
              <a:t>6)</a:t>
            </a:r>
            <a:endParaRPr lang="en-US" sz="1400" b="1">
              <a:solidFill>
                <a:srgbClr val="FFFFFF"/>
              </a:solidFill>
            </a:endParaRPr>
          </a:p>
        </p:txBody>
      </p:sp>
      <p:sp>
        <p:nvSpPr>
          <p:cNvPr id="45" name="Rectangle 44"/>
          <p:cNvSpPr/>
          <p:nvPr>
            <p:custDataLst>
              <p:tags r:id="rId11"/>
            </p:custDataLst>
          </p:nvPr>
        </p:nvSpPr>
        <p:spPr>
          <a:xfrm>
            <a:off x="5338763" y="5446713"/>
            <a:ext cx="3036887" cy="444500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>
              <a:lnSpc>
                <a:spcPct val="90000"/>
              </a:lnSpc>
              <a:buClr>
                <a:srgbClr val="7D0900"/>
              </a:buClr>
              <a:defRPr/>
            </a:pPr>
            <a:r>
              <a:rPr lang="en-US" sz="1600" b="1" dirty="0">
                <a:solidFill>
                  <a:srgbClr val="FFFFFF"/>
                </a:solidFill>
                <a:cs typeface="Arial" charset="0"/>
              </a:rPr>
              <a:t>€ 20 to 74 bn. cumulated </a:t>
            </a:r>
            <a:br>
              <a:rPr lang="en-US" sz="1600" b="1" dirty="0">
                <a:solidFill>
                  <a:srgbClr val="FFFFFF"/>
                </a:solidFill>
                <a:cs typeface="Arial" charset="0"/>
              </a:rPr>
            </a:br>
            <a:r>
              <a:rPr lang="en-US" sz="1600" b="1" dirty="0">
                <a:solidFill>
                  <a:srgbClr val="FFFFFF"/>
                </a:solidFill>
                <a:cs typeface="Arial" charset="0"/>
              </a:rPr>
              <a:t>electric vehicle sales till 2020</a:t>
            </a:r>
          </a:p>
        </p:txBody>
      </p:sp>
      <p:sp>
        <p:nvSpPr>
          <p:cNvPr id="47" name="Right Arrow 46"/>
          <p:cNvSpPr/>
          <p:nvPr>
            <p:custDataLst>
              <p:tags r:id="rId12"/>
            </p:custDataLst>
          </p:nvPr>
        </p:nvSpPr>
        <p:spPr>
          <a:xfrm>
            <a:off x="4624388" y="5505450"/>
            <a:ext cx="504825" cy="328613"/>
          </a:xfrm>
          <a:prstGeom prst="rightArrow">
            <a:avLst/>
          </a:prstGeom>
          <a:solidFill>
            <a:schemeClr val="bg1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000000"/>
              </a:solidFill>
            </a:endParaRPr>
          </a:p>
        </p:txBody>
      </p:sp>
      <p:sp>
        <p:nvSpPr>
          <p:cNvPr id="5135" name="TextBox 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41300" y="3098936"/>
            <a:ext cx="638175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US" sz="1200" b="1">
                <a:solidFill>
                  <a:srgbClr val="000000"/>
                </a:solidFill>
              </a:rPr>
              <a:t>Number of EV</a:t>
            </a:r>
            <a:br>
              <a:rPr lang="en-US" sz="1200" b="1">
                <a:solidFill>
                  <a:srgbClr val="000000"/>
                </a:solidFill>
              </a:rPr>
            </a:br>
            <a:r>
              <a:rPr lang="en-US" sz="1200" b="1">
                <a:solidFill>
                  <a:srgbClr val="000000"/>
                </a:solidFill>
              </a:rPr>
              <a:t>and</a:t>
            </a:r>
            <a:br>
              <a:rPr lang="en-US" sz="1200" b="1">
                <a:solidFill>
                  <a:srgbClr val="000000"/>
                </a:solidFill>
              </a:rPr>
            </a:br>
            <a:r>
              <a:rPr lang="en-US" sz="1200" b="1">
                <a:solidFill>
                  <a:srgbClr val="000000"/>
                </a:solidFill>
              </a:rPr>
              <a:t>PHEV</a:t>
            </a:r>
          </a:p>
        </p:txBody>
      </p:sp>
      <p:sp>
        <p:nvSpPr>
          <p:cNvPr id="5136" name="TextBox 3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5630" y="2386784"/>
            <a:ext cx="70643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000000"/>
                </a:solidFill>
              </a:rPr>
              <a:t>Projection of fleet (installed base)</a:t>
            </a:r>
          </a:p>
          <a:p>
            <a:pPr>
              <a:lnSpc>
                <a:spcPct val="90000"/>
              </a:lnSpc>
            </a:pPr>
            <a:r>
              <a:rPr lang="en-US" dirty="0">
                <a:solidFill>
                  <a:srgbClr val="000000"/>
                </a:solidFill>
              </a:rPr>
              <a:t>(in mil. EV and PHEV)</a:t>
            </a:r>
          </a:p>
        </p:txBody>
      </p:sp>
      <p:pic>
        <p:nvPicPr>
          <p:cNvPr id="5137" name="Picture 29" descr="logo atekearney_rot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51" cstate="print"/>
          <a:srcRect/>
          <a:stretch>
            <a:fillRect/>
          </a:stretch>
        </p:blipFill>
        <p:spPr bwMode="auto">
          <a:xfrm>
            <a:off x="7234238" y="2549845"/>
            <a:ext cx="793750" cy="1063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pic>
        <p:nvPicPr>
          <p:cNvPr id="5138" name="Picture 33" descr="Vattenfall_Logo.jpg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52" cstate="print"/>
          <a:srcRect/>
          <a:stretch>
            <a:fillRect/>
          </a:stretch>
        </p:blipFill>
        <p:spPr bwMode="auto">
          <a:xfrm>
            <a:off x="7088188" y="3881757"/>
            <a:ext cx="722312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39" name="TextBox 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669213" y="3737295"/>
            <a:ext cx="103187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US" sz="900">
                <a:solidFill>
                  <a:srgbClr val="000000"/>
                </a:solidFill>
              </a:rPr>
              <a:t>4)</a:t>
            </a:r>
          </a:p>
        </p:txBody>
      </p:sp>
      <p:sp>
        <p:nvSpPr>
          <p:cNvPr id="5140" name="TextBox 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142288" y="4854895"/>
            <a:ext cx="479425" cy="166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US" sz="1200" b="1">
                <a:solidFill>
                  <a:srgbClr val="000000"/>
                </a:solidFill>
              </a:rPr>
              <a:t>Year</a:t>
            </a:r>
          </a:p>
        </p:txBody>
      </p:sp>
      <p:sp>
        <p:nvSpPr>
          <p:cNvPr id="84" name="Isosceles Triangle 83"/>
          <p:cNvSpPr/>
          <p:nvPr>
            <p:custDataLst>
              <p:tags r:id="rId19"/>
            </p:custDataLst>
          </p:nvPr>
        </p:nvSpPr>
        <p:spPr>
          <a:xfrm rot="10800000">
            <a:off x="2405063" y="5078413"/>
            <a:ext cx="4319587" cy="2159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sz="160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5143" name="TextBox 59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243888" y="4267520"/>
            <a:ext cx="7239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US" sz="1000" i="1">
                <a:solidFill>
                  <a:srgbClr val="000000"/>
                </a:solidFill>
              </a:rPr>
              <a:t>Limited drive</a:t>
            </a:r>
            <a:br>
              <a:rPr lang="en-US" sz="1000" i="1">
                <a:solidFill>
                  <a:srgbClr val="000000"/>
                </a:solidFill>
              </a:rPr>
            </a:br>
            <a:r>
              <a:rPr lang="en-US" sz="1000" i="1">
                <a:solidFill>
                  <a:srgbClr val="000000"/>
                </a:solidFill>
              </a:rPr>
              <a:t>for change </a:t>
            </a:r>
          </a:p>
        </p:txBody>
      </p:sp>
      <p:sp>
        <p:nvSpPr>
          <p:cNvPr id="5144" name="TextBox 60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243888" y="3618232"/>
            <a:ext cx="649287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US" sz="1000" i="1">
                <a:solidFill>
                  <a:srgbClr val="000000"/>
                </a:solidFill>
              </a:rPr>
              <a:t>Moderate</a:t>
            </a:r>
            <a:br>
              <a:rPr lang="en-US" sz="1000" i="1">
                <a:solidFill>
                  <a:srgbClr val="000000"/>
                </a:solidFill>
              </a:rPr>
            </a:br>
            <a:r>
              <a:rPr lang="en-US" sz="1000" i="1">
                <a:solidFill>
                  <a:srgbClr val="000000"/>
                </a:solidFill>
              </a:rPr>
              <a:t>drive for</a:t>
            </a:r>
            <a:br>
              <a:rPr lang="en-US" sz="1000" i="1">
                <a:solidFill>
                  <a:srgbClr val="000000"/>
                </a:solidFill>
              </a:rPr>
            </a:br>
            <a:r>
              <a:rPr lang="en-US" sz="1000" i="1">
                <a:solidFill>
                  <a:srgbClr val="000000"/>
                </a:solidFill>
              </a:rPr>
              <a:t>change </a:t>
            </a:r>
          </a:p>
        </p:txBody>
      </p:sp>
      <p:sp>
        <p:nvSpPr>
          <p:cNvPr id="5145" name="TextBox 6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243888" y="2314895"/>
            <a:ext cx="641350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US" sz="1000" i="1">
                <a:solidFill>
                  <a:srgbClr val="000000"/>
                </a:solidFill>
              </a:rPr>
              <a:t>Change</a:t>
            </a:r>
            <a:br>
              <a:rPr lang="en-US" sz="1000" i="1">
                <a:solidFill>
                  <a:srgbClr val="000000"/>
                </a:solidFill>
              </a:rPr>
            </a:br>
            <a:r>
              <a:rPr lang="en-US" sz="1000" i="1">
                <a:solidFill>
                  <a:srgbClr val="000000"/>
                </a:solidFill>
              </a:rPr>
              <a:t>enforce-</a:t>
            </a:r>
            <a:br>
              <a:rPr lang="en-US" sz="1000" i="1">
                <a:solidFill>
                  <a:srgbClr val="000000"/>
                </a:solidFill>
              </a:rPr>
            </a:br>
            <a:r>
              <a:rPr lang="en-US" sz="1000" i="1">
                <a:solidFill>
                  <a:srgbClr val="000000"/>
                </a:solidFill>
              </a:rPr>
              <a:t>ment</a:t>
            </a:r>
          </a:p>
        </p:txBody>
      </p:sp>
      <p:sp>
        <p:nvSpPr>
          <p:cNvPr id="5147" name="TextBox 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751763" y="6181725"/>
            <a:ext cx="6667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85000"/>
              </a:lnSpc>
              <a:spcBef>
                <a:spcPts val="1200"/>
              </a:spcBef>
            </a:pPr>
            <a:r>
              <a:rPr lang="en-US" sz="900">
                <a:solidFill>
                  <a:srgbClr val="000000"/>
                </a:solidFill>
              </a:rPr>
              <a:t>A.T. Kearney</a:t>
            </a:r>
            <a:br>
              <a:rPr lang="en-US" sz="900">
                <a:solidFill>
                  <a:srgbClr val="000000"/>
                </a:solidFill>
              </a:rPr>
            </a:br>
            <a:r>
              <a:rPr lang="en-US" sz="900">
                <a:solidFill>
                  <a:srgbClr val="000000"/>
                </a:solidFill>
              </a:rPr>
              <a:t>scenario</a:t>
            </a:r>
          </a:p>
        </p:txBody>
      </p:sp>
      <p:grpSp>
        <p:nvGrpSpPr>
          <p:cNvPr id="2" name="Group 10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7554913" y="6075363"/>
            <a:ext cx="150812" cy="468312"/>
            <a:chOff x="7555525" y="6050173"/>
            <a:chExt cx="150725" cy="467717"/>
          </a:xfrm>
        </p:grpSpPr>
        <p:sp>
          <p:nvSpPr>
            <p:cNvPr id="42" name="Left-Right Arrow 41"/>
            <p:cNvSpPr/>
            <p:nvPr>
              <p:custDataLst>
                <p:tags r:id="rId43"/>
              </p:custDataLst>
            </p:nvPr>
          </p:nvSpPr>
          <p:spPr>
            <a:xfrm rot="5400000">
              <a:off x="7454898" y="6206291"/>
              <a:ext cx="351977" cy="150725"/>
            </a:xfrm>
            <a:prstGeom prst="leftRightArrow">
              <a:avLst>
                <a:gd name="adj1" fmla="val 100000"/>
                <a:gd name="adj2" fmla="val 53333"/>
              </a:avLst>
            </a:prstGeom>
            <a:solidFill>
              <a:srgbClr val="D8B5B2"/>
            </a:solidFill>
            <a:ln w="9525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85000"/>
                </a:lnSpc>
                <a:spcBef>
                  <a:spcPts val="1200"/>
                </a:spcBef>
                <a:defRPr/>
              </a:pPr>
              <a:endParaRPr lang="en-US" sz="1400" dirty="0" err="1">
                <a:solidFill>
                  <a:srgbClr val="000000"/>
                </a:solidFill>
              </a:endParaRPr>
            </a:p>
          </p:txBody>
        </p:sp>
        <p:sp>
          <p:nvSpPr>
            <p:cNvPr id="75" name="Oval 74"/>
            <p:cNvSpPr/>
            <p:nvPr>
              <p:custDataLst>
                <p:tags r:id="rId44"/>
              </p:custDataLst>
            </p:nvPr>
          </p:nvSpPr>
          <p:spPr>
            <a:xfrm>
              <a:off x="7576150" y="6050173"/>
              <a:ext cx="109475" cy="110984"/>
            </a:xfrm>
            <a:prstGeom prst="ellipse">
              <a:avLst/>
            </a:prstGeom>
            <a:solidFill>
              <a:srgbClr val="7D0900"/>
            </a:solidFill>
            <a:ln w="9525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85000"/>
                </a:lnSpc>
                <a:spcBef>
                  <a:spcPts val="1200"/>
                </a:spcBef>
                <a:defRPr/>
              </a:pPr>
              <a:endParaRPr lang="en-US" sz="1400" dirty="0" err="1">
                <a:solidFill>
                  <a:srgbClr val="000000"/>
                </a:solidFill>
              </a:endParaRPr>
            </a:p>
          </p:txBody>
        </p:sp>
        <p:sp>
          <p:nvSpPr>
            <p:cNvPr id="76" name="Oval 75"/>
            <p:cNvSpPr/>
            <p:nvPr>
              <p:custDataLst>
                <p:tags r:id="rId45"/>
              </p:custDataLst>
            </p:nvPr>
          </p:nvSpPr>
          <p:spPr>
            <a:xfrm>
              <a:off x="7576150" y="6406906"/>
              <a:ext cx="109475" cy="110984"/>
            </a:xfrm>
            <a:prstGeom prst="ellipse">
              <a:avLst/>
            </a:prstGeom>
            <a:solidFill>
              <a:srgbClr val="7D0900"/>
            </a:solidFill>
            <a:ln w="9525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85000"/>
                </a:lnSpc>
                <a:spcBef>
                  <a:spcPts val="1200"/>
                </a:spcBef>
                <a:defRPr/>
              </a:pPr>
              <a:endParaRPr lang="en-US" sz="1400" dirty="0" err="1">
                <a:solidFill>
                  <a:srgbClr val="000000"/>
                </a:solidFill>
              </a:endParaRPr>
            </a:p>
          </p:txBody>
        </p:sp>
        <p:sp>
          <p:nvSpPr>
            <p:cNvPr id="46" name="Oval 45"/>
            <p:cNvSpPr/>
            <p:nvPr>
              <p:custDataLst>
                <p:tags r:id="rId46"/>
              </p:custDataLst>
            </p:nvPr>
          </p:nvSpPr>
          <p:spPr>
            <a:xfrm>
              <a:off x="7576150" y="6226161"/>
              <a:ext cx="109475" cy="110984"/>
            </a:xfrm>
            <a:prstGeom prst="ellipse">
              <a:avLst/>
            </a:prstGeom>
            <a:solidFill>
              <a:srgbClr val="7D0900"/>
            </a:solidFill>
            <a:ln w="9525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85000"/>
                </a:lnSpc>
                <a:spcBef>
                  <a:spcPts val="1200"/>
                </a:spcBef>
                <a:defRPr/>
              </a:pPr>
              <a:endParaRPr lang="en-US" sz="14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98" name="Straight Connector 97"/>
          <p:cNvSpPr/>
          <p:nvPr>
            <p:custDataLst>
              <p:tags r:id="rId25"/>
            </p:custDataLst>
          </p:nvPr>
        </p:nvSpPr>
        <p:spPr>
          <a:xfrm rot="10800000">
            <a:off x="6962775" y="2878457"/>
            <a:ext cx="941388" cy="534988"/>
          </a:xfrm>
          <a:prstGeom prst="line">
            <a:avLst/>
          </a:prstGeom>
          <a:ln w="95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6" name="Right Brace 95"/>
          <p:cNvSpPr/>
          <p:nvPr>
            <p:custDataLst>
              <p:tags r:id="rId26"/>
            </p:custDataLst>
          </p:nvPr>
        </p:nvSpPr>
        <p:spPr>
          <a:xfrm flipH="1">
            <a:off x="7831138" y="3246757"/>
            <a:ext cx="107950" cy="1409700"/>
          </a:xfrm>
          <a:prstGeom prst="rightBrace">
            <a:avLst/>
          </a:prstGeom>
          <a:noFill/>
          <a:ln w="95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97" name="Right Brace 96"/>
          <p:cNvSpPr/>
          <p:nvPr>
            <p:custDataLst>
              <p:tags r:id="rId27"/>
            </p:custDataLst>
          </p:nvPr>
        </p:nvSpPr>
        <p:spPr>
          <a:xfrm flipH="1">
            <a:off x="7910513" y="3273745"/>
            <a:ext cx="107950" cy="620712"/>
          </a:xfrm>
          <a:prstGeom prst="rightBrace">
            <a:avLst>
              <a:gd name="adj1" fmla="val 8333"/>
              <a:gd name="adj2" fmla="val 21983"/>
            </a:avLst>
          </a:prstGeom>
          <a:noFill/>
          <a:ln w="95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5152" name="Picture 31" descr="Wuppertaler Institut.jpg"/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2295525" y="4232595"/>
            <a:ext cx="1309688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53" name="TextBox 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3608388" y="4188145"/>
            <a:ext cx="103187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US" sz="900">
                <a:solidFill>
                  <a:srgbClr val="000000"/>
                </a:solidFill>
              </a:rPr>
              <a:t>2)</a:t>
            </a:r>
          </a:p>
        </p:txBody>
      </p:sp>
      <p:sp>
        <p:nvSpPr>
          <p:cNvPr id="66" name="Straight Connector 65"/>
          <p:cNvSpPr/>
          <p:nvPr>
            <p:custDataLst>
              <p:tags r:id="rId30"/>
            </p:custDataLst>
          </p:nvPr>
        </p:nvSpPr>
        <p:spPr>
          <a:xfrm rot="10800000">
            <a:off x="4195763" y="3702370"/>
            <a:ext cx="249237" cy="757237"/>
          </a:xfrm>
          <a:prstGeom prst="line">
            <a:avLst/>
          </a:prstGeom>
          <a:ln w="95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155" name="Picture 29" descr="Fraunhofer ISI.jpg"/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3260725" y="3634107"/>
            <a:ext cx="901700" cy="38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56" name="Picture 29" descr="logo atekearney_rot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51" cstate="print"/>
          <a:srcRect/>
          <a:stretch>
            <a:fillRect/>
          </a:stretch>
        </p:blipFill>
        <p:spPr bwMode="auto">
          <a:xfrm>
            <a:off x="4362450" y="3857945"/>
            <a:ext cx="793750" cy="1063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99" name="Right Brace 98"/>
          <p:cNvSpPr/>
          <p:nvPr>
            <p:custDataLst>
              <p:tags r:id="rId33"/>
            </p:custDataLst>
          </p:nvPr>
        </p:nvSpPr>
        <p:spPr>
          <a:xfrm flipH="1">
            <a:off x="4311650" y="4650107"/>
            <a:ext cx="74613" cy="161925"/>
          </a:xfrm>
          <a:prstGeom prst="rightBrace">
            <a:avLst/>
          </a:prstGeom>
          <a:noFill/>
          <a:ln w="95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5158" name="Picture 27" descr="db_logo.jpg"/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54" cstate="print"/>
          <a:srcRect/>
          <a:stretch>
            <a:fillRect/>
          </a:stretch>
        </p:blipFill>
        <p:spPr bwMode="auto">
          <a:xfrm>
            <a:off x="3986213" y="3424557"/>
            <a:ext cx="239712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59" name="TextBox 1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4251325" y="3356295"/>
            <a:ext cx="1031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en-US" sz="900">
                <a:solidFill>
                  <a:srgbClr val="000000"/>
                </a:solidFill>
              </a:rPr>
              <a:t>1)</a:t>
            </a:r>
          </a:p>
        </p:txBody>
      </p:sp>
      <p:sp>
        <p:nvSpPr>
          <p:cNvPr id="100" name="Straight Connector 99"/>
          <p:cNvSpPr/>
          <p:nvPr>
            <p:custDataLst>
              <p:tags r:id="rId36"/>
            </p:custDataLst>
          </p:nvPr>
        </p:nvSpPr>
        <p:spPr>
          <a:xfrm rot="10800000">
            <a:off x="3986213" y="4054795"/>
            <a:ext cx="334962" cy="666750"/>
          </a:xfrm>
          <a:prstGeom prst="line">
            <a:avLst/>
          </a:prstGeom>
          <a:ln w="95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1" name="Freeform 100"/>
          <p:cNvSpPr/>
          <p:nvPr>
            <p:custDataLst>
              <p:tags r:id="rId37"/>
            </p:custDataLst>
          </p:nvPr>
        </p:nvSpPr>
        <p:spPr>
          <a:xfrm>
            <a:off x="3128963" y="4502470"/>
            <a:ext cx="1295400" cy="304800"/>
          </a:xfrm>
          <a:custGeom>
            <a:avLst/>
            <a:gdLst>
              <a:gd name="connsiteX0" fmla="*/ 0 w 1295400"/>
              <a:gd name="connsiteY0" fmla="*/ 0 h 304800"/>
              <a:gd name="connsiteX1" fmla="*/ 438150 w 1295400"/>
              <a:gd name="connsiteY1" fmla="*/ 304800 h 304800"/>
              <a:gd name="connsiteX2" fmla="*/ 1295400 w 1295400"/>
              <a:gd name="connsiteY2" fmla="*/ 3048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5400" h="304800">
                <a:moveTo>
                  <a:pt x="0" y="0"/>
                </a:moveTo>
                <a:lnTo>
                  <a:pt x="438150" y="304800"/>
                </a:lnTo>
                <a:lnTo>
                  <a:pt x="1295400" y="304800"/>
                </a:lnTo>
              </a:path>
            </a:pathLst>
          </a:custGeom>
          <a:ln w="95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162" name="TextBox 12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6524625" y="1544638"/>
            <a:ext cx="2382838" cy="51117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72009" tIns="72009" rIns="72009" bIns="72009">
            <a:spAutoFit/>
          </a:bodyPr>
          <a:lstStyle/>
          <a:p>
            <a:pPr algn="r">
              <a:lnSpc>
                <a:spcPct val="85000"/>
              </a:lnSpc>
              <a:tabLst>
                <a:tab pos="803275" algn="l"/>
              </a:tabLst>
            </a:pPr>
            <a:r>
              <a:rPr lang="en-US" sz="1400" b="1"/>
              <a:t>A.T. Kearney study</a:t>
            </a:r>
            <a:br>
              <a:rPr lang="en-US" sz="1400" b="1"/>
            </a:br>
            <a:r>
              <a:rPr lang="en-US" sz="1400" b="1"/>
              <a:t>"Powertrain of the Future"</a:t>
            </a:r>
          </a:p>
        </p:txBody>
      </p:sp>
      <p:graphicFrame>
        <p:nvGraphicFramePr>
          <p:cNvPr id="5123" name="Object 49"/>
          <p:cNvGraphicFramePr>
            <a:graphicFrameLocks noChangeAspect="1"/>
          </p:cNvGraphicFramePr>
          <p:nvPr/>
        </p:nvGraphicFramePr>
        <p:xfrm>
          <a:off x="560387" y="2208212"/>
          <a:ext cx="7896208" cy="3219585"/>
        </p:xfrm>
        <a:graphic>
          <a:graphicData uri="http://schemas.openxmlformats.org/presentationml/2006/ole">
            <p:oleObj spid="_x0000_s710659" name="Chart" r:id="rId55" imgW="7896208" imgH="3219585" progId="MSGraph.Chart.8">
              <p:embed followColorScheme="full"/>
            </p:oleObj>
          </a:graphicData>
        </a:graphic>
      </p:graphicFrame>
      <p:sp>
        <p:nvSpPr>
          <p:cNvPr id="50" name="Pentagon 49"/>
          <p:cNvSpPr/>
          <p:nvPr>
            <p:custDataLst>
              <p:tags r:id="rId39"/>
            </p:custDataLst>
          </p:nvPr>
        </p:nvSpPr>
        <p:spPr>
          <a:xfrm>
            <a:off x="1276155" y="1691031"/>
            <a:ext cx="1116944" cy="523982"/>
          </a:xfrm>
          <a:prstGeom prst="homePlate">
            <a:avLst>
              <a:gd name="adj" fmla="val 12773"/>
            </a:avLst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ustainab</a:t>
            </a: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</a:t>
            </a:r>
            <a:b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&amp; Mobility</a:t>
            </a:r>
          </a:p>
        </p:txBody>
      </p:sp>
      <p:pic>
        <p:nvPicPr>
          <p:cNvPr id="54" name="Picture 6"/>
          <p:cNvPicPr>
            <a:picLocks noChangeAspect="1" noChangeArrowheads="1"/>
          </p:cNvPicPr>
          <p:nvPr>
            <p:custDataLst>
              <p:tags r:id="rId40"/>
            </p:custDataLst>
          </p:nvPr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233595" y="1569319"/>
            <a:ext cx="1067690" cy="7397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53" name="Oval 52"/>
          <p:cNvSpPr/>
          <p:nvPr>
            <p:custDataLst>
              <p:tags r:id="rId41"/>
            </p:custDataLst>
          </p:nvPr>
        </p:nvSpPr>
        <p:spPr>
          <a:xfrm>
            <a:off x="178586" y="1486564"/>
            <a:ext cx="324000" cy="324000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II</a:t>
            </a:r>
          </a:p>
        </p:txBody>
      </p:sp>
      <p:pic>
        <p:nvPicPr>
          <p:cNvPr id="56" name="Picture 285" descr="germanyf"/>
          <p:cNvPicPr>
            <a:picLocks noChangeAspect="1" noChangeArrowheads="1"/>
          </p:cNvPicPr>
          <p:nvPr>
            <p:custDataLst>
              <p:tags r:id="rId42"/>
            </p:custDataLst>
          </p:nvPr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8358188" y="541338"/>
            <a:ext cx="527050" cy="342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1682" name="think-cell Slide" r:id="rId14" imgW="0" imgH="0" progId="">
              <p:embed/>
            </p:oleObj>
          </a:graphicData>
        </a:graphic>
      </p:graphicFrame>
      <p:grpSp>
        <p:nvGrpSpPr>
          <p:cNvPr id="2" name="Group 20"/>
          <p:cNvGrpSpPr/>
          <p:nvPr>
            <p:custDataLst>
              <p:tags r:id="rId2"/>
            </p:custDataLst>
          </p:nvPr>
        </p:nvGrpSpPr>
        <p:grpSpPr>
          <a:xfrm>
            <a:off x="244970" y="1589066"/>
            <a:ext cx="2148129" cy="747137"/>
            <a:chOff x="250826" y="2110735"/>
            <a:chExt cx="3584196" cy="1246613"/>
          </a:xfrm>
        </p:grpSpPr>
        <p:sp>
          <p:nvSpPr>
            <p:cNvPr id="22" name="Pentagon 21"/>
            <p:cNvSpPr/>
            <p:nvPr/>
          </p:nvSpPr>
          <p:spPr>
            <a:xfrm>
              <a:off x="1971378" y="2280866"/>
              <a:ext cx="1863644" cy="874274"/>
            </a:xfrm>
            <a:prstGeom prst="homePlate">
              <a:avLst>
                <a:gd name="adj" fmla="val 12773"/>
              </a:avLst>
            </a:prstGeom>
            <a:solidFill>
              <a:schemeClr val="accent4"/>
            </a:solidFill>
            <a:ln w="12700" cap="rnd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3152" rIns="73152" bIns="73152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</a:pPr>
              <a:r>
                <a:rPr lang="en-US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New Consumer Services</a:t>
              </a:r>
            </a:p>
          </p:txBody>
        </p:sp>
        <p:pic>
          <p:nvPicPr>
            <p:cNvPr id="23" name="Picture 8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250826" y="2110735"/>
              <a:ext cx="1728100" cy="1246613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</p:pic>
      </p:grpSp>
      <p:sp>
        <p:nvSpPr>
          <p:cNvPr id="6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In addition to existing services further growth can be generated by consumer oriented service offerings</a:t>
            </a:r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car2go, Daimler</a:t>
            </a:r>
          </a:p>
        </p:txBody>
      </p:sp>
      <p:sp>
        <p:nvSpPr>
          <p:cNvPr id="11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4507" y="4170640"/>
            <a:ext cx="4229099" cy="193899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smtClean="0"/>
          </a:p>
        </p:txBody>
      </p:sp>
      <p:sp>
        <p:nvSpPr>
          <p:cNvPr id="12" name="TextBox 11"/>
          <p:cNvSpPr txBox="1"/>
          <p:nvPr>
            <p:custDataLst>
              <p:tags r:id="rId6"/>
            </p:custDataLst>
          </p:nvPr>
        </p:nvSpPr>
        <p:spPr>
          <a:xfrm>
            <a:off x="248920" y="5559425"/>
            <a:ext cx="8648700" cy="652486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  <a:latin typeface="Arial"/>
                <a:cs typeface="Arial"/>
              </a:rPr>
              <a:t>New consumer oriented services require an additional effort of collaboration leading to an ES job growth for OEMs, suppliers and 3</a:t>
            </a:r>
            <a:r>
              <a:rPr lang="en-US" b="1" baseline="30000" dirty="0" smtClean="0">
                <a:solidFill>
                  <a:schemeClr val="bg1"/>
                </a:solidFill>
                <a:latin typeface="Arial"/>
                <a:cs typeface="Arial"/>
              </a:rPr>
              <a:t>rd</a:t>
            </a:r>
            <a:r>
              <a:rPr lang="en-US" b="1" dirty="0" smtClean="0">
                <a:solidFill>
                  <a:schemeClr val="bg1"/>
                </a:solidFill>
                <a:latin typeface="Arial"/>
                <a:cs typeface="Arial"/>
              </a:rPr>
              <a:t> parties</a:t>
            </a:r>
          </a:p>
        </p:txBody>
      </p:sp>
      <p:sp>
        <p:nvSpPr>
          <p:cNvPr id="16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4507" y="2585893"/>
            <a:ext cx="4229099" cy="281769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Example: City Mobility Concepts</a:t>
            </a:r>
          </a:p>
          <a:p>
            <a:pPr marL="180975" indent="-180975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Collaboration of companies of various industries enable new product offerings and innovative services</a:t>
            </a:r>
          </a:p>
          <a:p>
            <a:pPr marL="180975" indent="-180975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Publicly available cars can be used by citizens</a:t>
            </a:r>
          </a:p>
          <a:p>
            <a:pPr marL="180975" indent="-180975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Registration, car spotting, reservation and payment via mobile phone, internet, etc.</a:t>
            </a:r>
          </a:p>
          <a:p>
            <a:pPr marL="180975" indent="-180975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/>
              <a:t>Pay-per-minute/use model for providing mobility services</a:t>
            </a:r>
            <a:br>
              <a:rPr lang="en-US" sz="1400" dirty="0" smtClean="0"/>
            </a:br>
            <a:endParaRPr lang="en-US" sz="1400" dirty="0" smtClean="0"/>
          </a:p>
          <a:p>
            <a:pPr marL="180975" indent="-180975"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dirty="0" smtClean="0"/>
              <a:t>To offer new consumer oriented services systems integration for existing vehicles, devices and infrastructure is required</a:t>
            </a:r>
          </a:p>
        </p:txBody>
      </p:sp>
      <p:sp>
        <p:nvSpPr>
          <p:cNvPr id="17" name="Isosceles Triangle 16"/>
          <p:cNvSpPr/>
          <p:nvPr>
            <p:custDataLst>
              <p:tags r:id="rId8"/>
            </p:custDataLst>
          </p:nvPr>
        </p:nvSpPr>
        <p:spPr>
          <a:xfrm rot="10800000">
            <a:off x="1115615" y="4506684"/>
            <a:ext cx="2505075" cy="251425"/>
          </a:xfrm>
          <a:prstGeom prst="triangle">
            <a:avLst/>
          </a:prstGeom>
          <a:solidFill>
            <a:schemeClr val="accent1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6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69314" name="Picture 2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6" cstate="print"/>
          <a:srcRect l="2233" t="22751" r="2086" b="4532"/>
          <a:stretch>
            <a:fillRect/>
          </a:stretch>
        </p:blipFill>
        <p:spPr bwMode="auto">
          <a:xfrm>
            <a:off x="4927600" y="2097088"/>
            <a:ext cx="3977984" cy="226745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Rectangle 17"/>
          <p:cNvSpPr/>
          <p:nvPr>
            <p:custDataLst>
              <p:tags r:id="rId10"/>
            </p:custDataLst>
          </p:nvPr>
        </p:nvSpPr>
        <p:spPr>
          <a:xfrm>
            <a:off x="4959499" y="2419830"/>
            <a:ext cx="865594" cy="217082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9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se example</a:t>
            </a:r>
          </a:p>
        </p:txBody>
      </p:sp>
      <p:sp>
        <p:nvSpPr>
          <p:cNvPr id="20" name="Oval 19"/>
          <p:cNvSpPr/>
          <p:nvPr>
            <p:custDataLst>
              <p:tags r:id="rId11"/>
            </p:custDataLst>
          </p:nvPr>
        </p:nvSpPr>
        <p:spPr>
          <a:xfrm>
            <a:off x="178586" y="1486564"/>
            <a:ext cx="324000" cy="324000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V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2706" name="think-cell Slide" r:id="rId18" imgW="0" imgH="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buClr>
                <a:schemeClr val="bg2"/>
              </a:buClr>
            </a:pPr>
            <a:r>
              <a:rPr lang="en-US" sz="1200" b="1" i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US" sz="1200" b="1" i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Embedded services may not only be driven by the automotive industry but inherited from other industries</a:t>
            </a:r>
            <a:endParaRPr lang="en-US" dirty="0"/>
          </a:p>
        </p:txBody>
      </p:sp>
      <p:sp>
        <p:nvSpPr>
          <p:cNvPr id="33" name="TextBox 32"/>
          <p:cNvSpPr txBox="1"/>
          <p:nvPr>
            <p:custDataLst>
              <p:tags r:id="rId4"/>
            </p:custDataLst>
          </p:nvPr>
        </p:nvSpPr>
        <p:spPr>
          <a:xfrm>
            <a:off x="244475" y="1615694"/>
            <a:ext cx="7064375" cy="249299"/>
          </a:xfrm>
          <a:prstGeom prst="rect">
            <a:avLst/>
          </a:prstGeom>
          <a:noFill/>
          <a:ln w="12700" cap="rnd">
            <a:noFill/>
          </a:ln>
          <a:effectLst/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latin typeface="Arial"/>
                <a:cs typeface="Arial"/>
              </a:rPr>
              <a:t>Drivers of </a:t>
            </a:r>
            <a:r>
              <a:rPr lang="en-US" b="1" dirty="0" smtClean="0"/>
              <a:t>Embedded Electronic Systems </a:t>
            </a:r>
            <a:endParaRPr lang="en-US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207512" y="2097023"/>
            <a:ext cx="2678678" cy="503173"/>
          </a:xfrm>
          <a:prstGeom prst="rect">
            <a:avLst/>
          </a:prstGeom>
          <a:solidFill>
            <a:schemeClr val="folHlink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ment</a:t>
            </a:r>
            <a:endParaRPr lang="en-US" sz="1600" b="1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207512" y="2601976"/>
            <a:ext cx="2678678" cy="318287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9" tIns="72009" rIns="72009" bIns="72009" rtlCol="0" anchor="t" anchorCtr="0">
            <a:noAutofit/>
          </a:bodyPr>
          <a:lstStyle/>
          <a:p>
            <a:pPr marL="179070" indent="-17907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Tx/>
              <a:buChar char="•"/>
            </a:pPr>
            <a:r>
              <a:rPr lang="en-US" sz="1400" dirty="0" smtClean="0">
                <a:solidFill>
                  <a:schemeClr val="tx1"/>
                </a:solidFill>
                <a:cs typeface="Arial" pitchFamily="34" charset="0"/>
              </a:rPr>
              <a:t>As embedded systems also play a major role in various other industries such as Telco/ Media and Utilities those industries also have strong innovation potential for new customer services</a:t>
            </a:r>
          </a:p>
          <a:p>
            <a:pPr marL="179070" indent="-17907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Tx/>
              <a:buChar char="•"/>
            </a:pPr>
            <a:r>
              <a:rPr lang="en-US" sz="1400" dirty="0" smtClean="0">
                <a:solidFill>
                  <a:schemeClr val="tx1"/>
                </a:solidFill>
                <a:cs typeface="Arial" pitchFamily="34" charset="0"/>
              </a:rPr>
              <a:t>Services developed in other industries might also be applied in the automotive industry, e.g. smart metering</a:t>
            </a:r>
          </a:p>
          <a:p>
            <a:pPr marL="179070" indent="-17907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Tx/>
              <a:buChar char="•"/>
            </a:pPr>
            <a:r>
              <a:rPr lang="en-US" sz="1400" dirty="0" smtClean="0">
                <a:solidFill>
                  <a:schemeClr val="tx1"/>
                </a:solidFill>
                <a:cs typeface="Arial" pitchFamily="34" charset="0"/>
              </a:rPr>
              <a:t>The successful application of new services thereof requires innovative ideas across different industries</a:t>
            </a:r>
          </a:p>
        </p:txBody>
      </p:sp>
      <p:sp>
        <p:nvSpPr>
          <p:cNvPr id="31" name="Rectangle 3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03288" y="2114550"/>
            <a:ext cx="2501900" cy="1817688"/>
          </a:xfrm>
          <a:prstGeom prst="rect">
            <a:avLst/>
          </a:prstGeom>
          <a:solidFill>
            <a:schemeClr val="accent4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defRPr/>
            </a:pPr>
            <a:endParaRPr lang="en-US" dirty="0"/>
          </a:p>
        </p:txBody>
      </p:sp>
      <p:sp>
        <p:nvSpPr>
          <p:cNvPr id="32" name="Rectangle 3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405188" y="3932238"/>
            <a:ext cx="2501900" cy="1819275"/>
          </a:xfrm>
          <a:prstGeom prst="rect">
            <a:avLst/>
          </a:prstGeom>
          <a:solidFill>
            <a:schemeClr val="accent4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defRPr/>
            </a:pPr>
            <a:endParaRPr lang="en-US" dirty="0"/>
          </a:p>
        </p:txBody>
      </p:sp>
      <p:sp>
        <p:nvSpPr>
          <p:cNvPr id="35" name="Rectangle 3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903288" y="3932238"/>
            <a:ext cx="2501900" cy="1819275"/>
          </a:xfrm>
          <a:prstGeom prst="rect">
            <a:avLst/>
          </a:prstGeom>
          <a:solidFill>
            <a:schemeClr val="accent4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defRPr/>
            </a:pPr>
            <a:endParaRPr lang="en-US" dirty="0"/>
          </a:p>
        </p:txBody>
      </p:sp>
      <p:sp>
        <p:nvSpPr>
          <p:cNvPr id="36" name="Rectangle 3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405188" y="2114550"/>
            <a:ext cx="2501900" cy="1817688"/>
          </a:xfrm>
          <a:prstGeom prst="rect">
            <a:avLst/>
          </a:prstGeom>
          <a:solidFill>
            <a:schemeClr val="accent4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72000" tIns="72000" rIns="72000" bIns="72000" anchor="t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  <a:defRPr/>
            </a:pPr>
            <a:r>
              <a:rPr lang="en-US" sz="1600" b="1" i="1" dirty="0" smtClean="0">
                <a:solidFill>
                  <a:schemeClr val="accent1"/>
                </a:solidFill>
              </a:rPr>
              <a:t>Growers</a:t>
            </a:r>
            <a:endParaRPr lang="en-US" sz="1600" b="1" i="1" dirty="0">
              <a:solidFill>
                <a:schemeClr val="accent1"/>
              </a:solidFill>
            </a:endParaRPr>
          </a:p>
        </p:txBody>
      </p:sp>
      <p:sp>
        <p:nvSpPr>
          <p:cNvPr id="37" name="Text Box 4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58750" y="2122488"/>
            <a:ext cx="690563" cy="2079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</a:pPr>
            <a:r>
              <a:rPr lang="en-US" sz="1400" i="1" dirty="0" smtClean="0"/>
              <a:t>CAGR: 5%</a:t>
            </a:r>
            <a:endParaRPr lang="en-US" sz="1400" i="1" dirty="0"/>
          </a:p>
        </p:txBody>
      </p:sp>
      <p:sp>
        <p:nvSpPr>
          <p:cNvPr id="38" name="Text Box 42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58750" y="5548313"/>
            <a:ext cx="690563" cy="2079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</a:pPr>
            <a:r>
              <a:rPr lang="en-US" sz="1400" i="1" dirty="0" smtClean="0"/>
              <a:t>CAGR:</a:t>
            </a:r>
            <a:br>
              <a:rPr lang="en-US" sz="1400" i="1" dirty="0" smtClean="0"/>
            </a:br>
            <a:r>
              <a:rPr lang="en-US" sz="1400" i="1" dirty="0" smtClean="0"/>
              <a:t>0%</a:t>
            </a:r>
            <a:endParaRPr lang="en-US" sz="1400" i="1" dirty="0"/>
          </a:p>
        </p:txBody>
      </p:sp>
      <p:sp>
        <p:nvSpPr>
          <p:cNvPr id="39" name="Text Box 4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9075" y="3735388"/>
            <a:ext cx="630238" cy="3873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en-US" sz="1400" b="1" dirty="0" smtClean="0"/>
              <a:t>Growth</a:t>
            </a:r>
          </a:p>
          <a:p>
            <a:pPr algn="r">
              <a:lnSpc>
                <a:spcPct val="90000"/>
              </a:lnSpc>
              <a:buClr>
                <a:schemeClr val="bg2"/>
              </a:buClr>
            </a:pPr>
            <a:r>
              <a:rPr lang="en-US" sz="1400" b="1" dirty="0" smtClean="0"/>
              <a:t>(until 2025)</a:t>
            </a:r>
            <a:endParaRPr lang="en-US" sz="1400" dirty="0"/>
          </a:p>
        </p:txBody>
      </p:sp>
      <p:sp>
        <p:nvSpPr>
          <p:cNvPr id="40" name="Text Box 4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236788" y="5784850"/>
            <a:ext cx="2335212" cy="4159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400" b="1" dirty="0" smtClean="0"/>
              <a:t>Importance of embedded systems</a:t>
            </a:r>
            <a:endParaRPr lang="en-US" sz="1400" dirty="0"/>
          </a:p>
        </p:txBody>
      </p:sp>
      <p:sp>
        <p:nvSpPr>
          <p:cNvPr id="41" name="Text Box 42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00113" y="5784850"/>
            <a:ext cx="805857" cy="19286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</a:pPr>
            <a:r>
              <a:rPr lang="en-US" sz="1400" i="1" dirty="0" smtClean="0"/>
              <a:t>moderate</a:t>
            </a:r>
            <a:endParaRPr lang="en-US" sz="1400" i="1" dirty="0"/>
          </a:p>
        </p:txBody>
      </p:sp>
      <p:sp>
        <p:nvSpPr>
          <p:cNvPr id="42" name="Text Box 42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356225" y="5784850"/>
            <a:ext cx="550863" cy="1936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</a:pPr>
            <a:r>
              <a:rPr lang="en-US" sz="1400" i="1" dirty="0" smtClean="0"/>
              <a:t>high</a:t>
            </a:r>
            <a:endParaRPr lang="en-US" sz="1400" i="1" dirty="0"/>
          </a:p>
        </p:txBody>
      </p:sp>
      <p:sp>
        <p:nvSpPr>
          <p:cNvPr id="55" name="Oval 54"/>
          <p:cNvSpPr/>
          <p:nvPr/>
        </p:nvSpPr>
        <p:spPr>
          <a:xfrm>
            <a:off x="3302762" y="3251575"/>
            <a:ext cx="1147262" cy="1156652"/>
          </a:xfrm>
          <a:prstGeom prst="ellipse">
            <a:avLst/>
          </a:prstGeom>
          <a:solidFill>
            <a:schemeClr val="bg2"/>
          </a:solidFill>
          <a:ln w="12700" cap="rnd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3152" tIns="73152" rIns="73152" bIns="73152" rtlCol="0" anchor="ctr">
            <a:noAutofit/>
          </a:bodyPr>
          <a:lstStyle/>
          <a:p>
            <a:pPr algn="ctr">
              <a:spcBef>
                <a:spcPts val="0"/>
              </a:spcBef>
              <a:buClr>
                <a:schemeClr val="bg2"/>
              </a:buClr>
            </a:pPr>
            <a:r>
              <a:rPr lang="en-US" sz="105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w Car </a:t>
            </a:r>
            <a:br>
              <a:rPr lang="en-US" sz="105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05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rvices.</a:t>
            </a:r>
          </a:p>
        </p:txBody>
      </p:sp>
      <p:sp>
        <p:nvSpPr>
          <p:cNvPr id="58" name="Oval 57"/>
          <p:cNvSpPr/>
          <p:nvPr/>
        </p:nvSpPr>
        <p:spPr>
          <a:xfrm>
            <a:off x="3046261" y="2907705"/>
            <a:ext cx="557838" cy="557838"/>
          </a:xfrm>
          <a:prstGeom prst="ellipse">
            <a:avLst/>
          </a:prstGeom>
          <a:solidFill>
            <a:schemeClr val="bg2"/>
          </a:solidFill>
          <a:ln w="12700" cap="rnd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3152" tIns="73152" rIns="73152" bIns="73152" rtlCol="0" anchor="ctr">
            <a:noAutofit/>
          </a:bodyPr>
          <a:lstStyle/>
          <a:p>
            <a:pPr algn="ctr">
              <a:spcBef>
                <a:spcPts val="0"/>
              </a:spcBef>
              <a:buClr>
                <a:schemeClr val="bg2"/>
              </a:buClr>
            </a:pPr>
            <a:r>
              <a:rPr lang="en-US" sz="105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ew </a:t>
            </a:r>
            <a:br>
              <a:rPr lang="en-US" sz="105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05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sumer </a:t>
            </a:r>
            <a:br>
              <a:rPr lang="en-US" sz="105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05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rvices</a:t>
            </a:r>
          </a:p>
        </p:txBody>
      </p:sp>
      <p:sp>
        <p:nvSpPr>
          <p:cNvPr id="60" name="Oval 59"/>
          <p:cNvSpPr/>
          <p:nvPr/>
        </p:nvSpPr>
        <p:spPr>
          <a:xfrm>
            <a:off x="243188" y="6143644"/>
            <a:ext cx="352352" cy="352352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3152" tIns="73152" rIns="73152" bIns="73152" rtlCol="0" anchor="ctr">
            <a:noAutofit/>
          </a:bodyPr>
          <a:lstStyle/>
          <a:p>
            <a:pPr>
              <a:spcBef>
                <a:spcPts val="0"/>
              </a:spcBef>
              <a:buClr>
                <a:schemeClr val="bg2"/>
              </a:buClr>
            </a:pPr>
            <a: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         Gross profit 2009, Germany</a:t>
            </a:r>
          </a:p>
        </p:txBody>
      </p:sp>
      <p:cxnSp>
        <p:nvCxnSpPr>
          <p:cNvPr id="61" name="Straight Connector 60"/>
          <p:cNvCxnSpPr>
            <a:stCxn id="60" idx="3"/>
            <a:endCxn id="60" idx="7"/>
          </p:cNvCxnSpPr>
          <p:nvPr/>
        </p:nvCxnSpPr>
        <p:spPr>
          <a:xfrm rot="5400000" flipH="1" flipV="1">
            <a:off x="294789" y="6195245"/>
            <a:ext cx="249150" cy="249150"/>
          </a:xfrm>
          <a:prstGeom prst="line">
            <a:avLst/>
          </a:prstGeom>
          <a:ln w="12700" cap="rnd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43"/>
          <p:cNvSpPr/>
          <p:nvPr/>
        </p:nvSpPr>
        <p:spPr>
          <a:xfrm>
            <a:off x="4271554" y="3753125"/>
            <a:ext cx="819060" cy="766624"/>
          </a:xfrm>
          <a:prstGeom prst="ellipse">
            <a:avLst/>
          </a:prstGeom>
          <a:solidFill>
            <a:schemeClr val="bg2"/>
          </a:solidFill>
          <a:ln w="12700" cap="rnd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3152" tIns="73152" rIns="73152" bIns="73152" rtlCol="0" anchor="ctr">
            <a:noAutofit/>
          </a:bodyPr>
          <a:lstStyle/>
          <a:p>
            <a:pPr algn="ctr">
              <a:spcBef>
                <a:spcPts val="0"/>
              </a:spcBef>
              <a:buClr>
                <a:schemeClr val="bg2"/>
              </a:buClr>
            </a:pPr>
            <a:r>
              <a:rPr lang="en-US" sz="105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tegration </a:t>
            </a:r>
            <a:br>
              <a:rPr lang="en-US" sz="105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05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rvice</a:t>
            </a:r>
          </a:p>
        </p:txBody>
      </p:sp>
      <p:sp>
        <p:nvSpPr>
          <p:cNvPr id="45" name="Oval 44"/>
          <p:cNvSpPr/>
          <p:nvPr/>
        </p:nvSpPr>
        <p:spPr>
          <a:xfrm>
            <a:off x="4211638" y="3149353"/>
            <a:ext cx="642942" cy="642942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3152" tIns="73152" rIns="73152" bIns="73152" rtlCol="0" anchor="ctr">
            <a:noAutofit/>
          </a:bodyPr>
          <a:lstStyle/>
          <a:p>
            <a:pPr algn="ctr">
              <a:spcBef>
                <a:spcPts val="0"/>
              </a:spcBef>
              <a:buClr>
                <a:schemeClr val="bg2"/>
              </a:buClr>
            </a:pPr>
            <a: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lecom,</a:t>
            </a:r>
            <a:b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edia</a:t>
            </a:r>
          </a:p>
        </p:txBody>
      </p:sp>
      <p:sp>
        <p:nvSpPr>
          <p:cNvPr id="46" name="Oval 45"/>
          <p:cNvSpPr/>
          <p:nvPr/>
        </p:nvSpPr>
        <p:spPr>
          <a:xfrm>
            <a:off x="4675590" y="2500306"/>
            <a:ext cx="1231498" cy="1231498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3152" tIns="73152" rIns="73152" bIns="73152" rtlCol="0" anchor="ctr">
            <a:noAutofit/>
          </a:bodyPr>
          <a:lstStyle/>
          <a:p>
            <a:pPr algn="ctr">
              <a:spcBef>
                <a:spcPts val="0"/>
              </a:spcBef>
              <a:buClr>
                <a:schemeClr val="bg2"/>
              </a:buClr>
            </a:pPr>
            <a: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fessional</a:t>
            </a:r>
            <a:b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rvices</a:t>
            </a:r>
          </a:p>
        </p:txBody>
      </p:sp>
      <p:sp>
        <p:nvSpPr>
          <p:cNvPr id="47" name="Oval 46"/>
          <p:cNvSpPr/>
          <p:nvPr/>
        </p:nvSpPr>
        <p:spPr>
          <a:xfrm>
            <a:off x="3508742" y="4676502"/>
            <a:ext cx="619121" cy="544739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3152" tIns="73152" rIns="73152" bIns="73152" rtlCol="0" anchor="ctr">
            <a:noAutofit/>
          </a:bodyPr>
          <a:lstStyle/>
          <a:p>
            <a:pPr algn="ctr">
              <a:spcBef>
                <a:spcPts val="0"/>
              </a:spcBef>
              <a:buClr>
                <a:schemeClr val="bg2"/>
              </a:buClr>
            </a:pPr>
            <a: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tail,</a:t>
            </a:r>
            <a:b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holesale</a:t>
            </a:r>
          </a:p>
        </p:txBody>
      </p:sp>
      <p:sp>
        <p:nvSpPr>
          <p:cNvPr id="49" name="Oval 48"/>
          <p:cNvSpPr/>
          <p:nvPr/>
        </p:nvSpPr>
        <p:spPr>
          <a:xfrm>
            <a:off x="3000364" y="2114550"/>
            <a:ext cx="835882" cy="835882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3152" tIns="73152" rIns="73152" bIns="73152" rtlCol="0" anchor="ctr">
            <a:noAutofit/>
          </a:bodyPr>
          <a:lstStyle/>
          <a:p>
            <a:pPr algn="ctr">
              <a:spcBef>
                <a:spcPts val="0"/>
              </a:spcBef>
              <a:buClr>
                <a:schemeClr val="bg2"/>
              </a:buClr>
            </a:pPr>
            <a: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ansport,</a:t>
            </a:r>
            <a:b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05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tility</a:t>
            </a:r>
          </a:p>
        </p:txBody>
      </p:sp>
      <p:sp>
        <p:nvSpPr>
          <p:cNvPr id="34" name="Rectangle 33"/>
          <p:cNvSpPr/>
          <p:nvPr>
            <p:custDataLst>
              <p:tags r:id="rId15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car2go, Daimler</a:t>
            </a:r>
          </a:p>
        </p:txBody>
      </p:sp>
      <p:sp>
        <p:nvSpPr>
          <p:cNvPr id="51" name="Oval 50"/>
          <p:cNvSpPr/>
          <p:nvPr/>
        </p:nvSpPr>
        <p:spPr>
          <a:xfrm>
            <a:off x="4399540" y="6115422"/>
            <a:ext cx="344920" cy="316755"/>
          </a:xfrm>
          <a:prstGeom prst="ellipse">
            <a:avLst/>
          </a:prstGeom>
          <a:solidFill>
            <a:schemeClr val="bg2"/>
          </a:solidFill>
          <a:ln w="12700" cap="rnd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3152" tIns="73152" rIns="73152" bIns="73152" rtlCol="0" anchor="ctr">
            <a:noAutofit/>
          </a:bodyPr>
          <a:lstStyle/>
          <a:p>
            <a:pPr algn="ctr">
              <a:spcBef>
                <a:spcPts val="0"/>
              </a:spcBef>
              <a:buClr>
                <a:schemeClr val="bg2"/>
              </a:buClr>
            </a:pPr>
            <a:endParaRPr lang="en-US" sz="1050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813395" y="6187429"/>
            <a:ext cx="1052508" cy="1938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dirty="0" smtClean="0">
                <a:latin typeface="Arial "/>
              </a:rPr>
              <a:t>Automotive</a:t>
            </a:r>
          </a:p>
        </p:txBody>
      </p:sp>
      <p:sp>
        <p:nvSpPr>
          <p:cNvPr id="56" name="Striped Right Arrow 55"/>
          <p:cNvSpPr/>
          <p:nvPr/>
        </p:nvSpPr>
        <p:spPr>
          <a:xfrm rot="4500000">
            <a:off x="3473382" y="2834097"/>
            <a:ext cx="503068" cy="277268"/>
          </a:xfrm>
          <a:prstGeom prst="stripedRightArrow">
            <a:avLst>
              <a:gd name="adj1" fmla="val 67551"/>
              <a:gd name="adj2" fmla="val 50000"/>
            </a:avLst>
          </a:prstGeom>
          <a:solidFill>
            <a:schemeClr val="bg1">
              <a:lumMod val="50000"/>
            </a:schemeClr>
          </a:solidFill>
          <a:ln w="12700" cap="rnd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Ins="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put</a:t>
            </a:r>
          </a:p>
        </p:txBody>
      </p:sp>
      <p:sp>
        <p:nvSpPr>
          <p:cNvPr id="57" name="Striped Right Arrow 56"/>
          <p:cNvSpPr/>
          <p:nvPr/>
        </p:nvSpPr>
        <p:spPr>
          <a:xfrm rot="19800000" flipH="1">
            <a:off x="4933414" y="3584598"/>
            <a:ext cx="503068" cy="277268"/>
          </a:xfrm>
          <a:prstGeom prst="stripedRightArrow">
            <a:avLst>
              <a:gd name="adj1" fmla="val 67551"/>
              <a:gd name="adj2" fmla="val 50000"/>
            </a:avLst>
          </a:prstGeom>
          <a:solidFill>
            <a:schemeClr val="bg1">
              <a:lumMod val="50000"/>
            </a:schemeClr>
          </a:solidFill>
          <a:ln w="12700" cap="rnd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Ins="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put</a:t>
            </a:r>
          </a:p>
        </p:txBody>
      </p:sp>
      <p:sp>
        <p:nvSpPr>
          <p:cNvPr id="43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846228" y="1541463"/>
            <a:ext cx="1065997" cy="363176"/>
          </a:xfrm>
          <a:prstGeom prst="rect">
            <a:avLst/>
          </a:prstGeom>
          <a:noFill/>
          <a:ln w="12700" cap="rnd">
            <a:solidFill>
              <a:schemeClr val="tx1"/>
            </a:solidFill>
            <a:miter lim="800000"/>
            <a:headEnd/>
            <a:tailEnd/>
          </a:ln>
        </p:spPr>
        <p:txBody>
          <a:bodyPr wrap="none" lIns="76200" tIns="76200" rIns="76200" bIns="76200">
            <a:spAutoFit/>
          </a:bodyPr>
          <a:lstStyle/>
          <a:p>
            <a:pPr algn="r">
              <a:lnSpc>
                <a:spcPct val="85000"/>
              </a:lnSpc>
              <a:buClr>
                <a:schemeClr val="bg2"/>
              </a:buClr>
            </a:pPr>
            <a:r>
              <a:rPr lang="en-US" sz="1600" b="1" dirty="0" smtClean="0"/>
              <a:t>Selection</a:t>
            </a:r>
            <a:endParaRPr lang="en-US" sz="16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58786" name="think-cell Slide" r:id="rId48" imgW="0" imgH="0" progId="">
              <p:embed/>
            </p:oleObj>
          </a:graphicData>
        </a:graphic>
      </p:graphicFrame>
      <p:sp>
        <p:nvSpPr>
          <p:cNvPr id="48" name="Rectangle 4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7D0900"/>
              </a:buClr>
              <a:defRPr/>
            </a:pPr>
            <a:r>
              <a:rPr lang="en-US" sz="800" b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</a:t>
            </a:r>
            <a:endParaRPr lang="en-US" sz="800" b="1" dirty="0" err="1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8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4475" y="6597650"/>
            <a:ext cx="6842125" cy="1444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  <a:tabLst>
                <a:tab pos="687388" algn="l"/>
                <a:tab pos="2116138" algn="l"/>
              </a:tabLst>
            </a:pPr>
            <a:endParaRPr lang="en-US" sz="1000" dirty="0">
              <a:solidFill>
                <a:srgbClr val="000000"/>
              </a:solidFill>
            </a:endParaRPr>
          </a:p>
          <a:p>
            <a:pPr eaLnBrk="0" hangingPunct="0">
              <a:lnSpc>
                <a:spcPct val="85000"/>
              </a:lnSpc>
              <a:tabLst>
                <a:tab pos="687388" algn="l"/>
                <a:tab pos="2116138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FAST-TUM; </a:t>
            </a:r>
            <a:r>
              <a:rPr lang="en-US" sz="1000" dirty="0">
                <a:solidFill>
                  <a:srgbClr val="000000"/>
                </a:solidFill>
              </a:rPr>
              <a:t>A.T. Kearney Embedded Systems Study 2010</a:t>
            </a:r>
          </a:p>
        </p:txBody>
      </p:sp>
      <p:sp>
        <p:nvSpPr>
          <p:cNvPr id="3082" name="Title 18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4507" y="596741"/>
            <a:ext cx="8650224" cy="332399"/>
          </a:xfrm>
        </p:spPr>
        <p:txBody>
          <a:bodyPr/>
          <a:lstStyle/>
          <a:p>
            <a:r>
              <a:rPr lang="en-US" dirty="0" smtClean="0"/>
              <a:t>The growth potential across all sectors is above 10%</a:t>
            </a:r>
          </a:p>
        </p:txBody>
      </p:sp>
      <p:graphicFrame>
        <p:nvGraphicFramePr>
          <p:cNvPr id="12" name="Object 11"/>
          <p:cNvGraphicFramePr>
            <a:graphicFrameLocks noChangeAspect="1"/>
          </p:cNvGraphicFramePr>
          <p:nvPr/>
        </p:nvGraphicFramePr>
        <p:xfrm>
          <a:off x="379412" y="3049587"/>
          <a:ext cx="3791070" cy="1552485"/>
        </p:xfrm>
        <a:graphic>
          <a:graphicData uri="http://schemas.openxmlformats.org/presentationml/2006/ole">
            <p:oleObj spid="_x0000_s758787" name="Chart" r:id="rId49" imgW="3790849" imgH="1552643" progId="MSGraph.Chart.8">
              <p:embed followColorScheme="full"/>
            </p:oleObj>
          </a:graphicData>
        </a:graphic>
      </p:graphicFrame>
      <p:sp>
        <p:nvSpPr>
          <p:cNvPr id="75" name="Rectangle 74"/>
          <p:cNvSpPr/>
          <p:nvPr>
            <p:custDataLst>
              <p:tags r:id="rId5"/>
            </p:custDataLst>
          </p:nvPr>
        </p:nvSpPr>
        <p:spPr bwMode="auto">
          <a:xfrm>
            <a:off x="257175" y="3117850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BC202802-936F-400E-AC51-73B9C39F4DF9}" type="datetime'''''''''''''''''6''''0''''''''''''''''''''''''''''''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6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1" name="Rectangle 160"/>
          <p:cNvSpPr/>
          <p:nvPr>
            <p:custDataLst>
              <p:tags r:id="rId6"/>
            </p:custDataLst>
          </p:nvPr>
        </p:nvSpPr>
        <p:spPr bwMode="auto">
          <a:xfrm>
            <a:off x="257175" y="3336925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60ED7A90-8198-4D9E-9618-8E03EC872AB1}" type="datetime'''''''''''''''''''5''''''0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5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4" name="Rectangle 73"/>
          <p:cNvSpPr/>
          <p:nvPr>
            <p:custDataLst>
              <p:tags r:id="rId7"/>
            </p:custDataLst>
          </p:nvPr>
        </p:nvSpPr>
        <p:spPr bwMode="auto">
          <a:xfrm>
            <a:off x="257175" y="3546475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66D3E019-7EDC-422F-9FFE-1527B22C1E9F}" type="datetime'''''''''''''''''''''''''''''''''''''''4''0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4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0" name="Rectangle 159"/>
          <p:cNvSpPr/>
          <p:nvPr>
            <p:custDataLst>
              <p:tags r:id="rId8"/>
            </p:custDataLst>
          </p:nvPr>
        </p:nvSpPr>
        <p:spPr bwMode="auto">
          <a:xfrm>
            <a:off x="257175" y="3765550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1CFCB66C-CA8D-4FCE-9899-BA1CFE35AA00}" type="datetime'3''''''''''''0''''''''''''''''''''''''''''''''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3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3" name="Rectangle 72"/>
          <p:cNvSpPr/>
          <p:nvPr>
            <p:custDataLst>
              <p:tags r:id="rId9"/>
            </p:custDataLst>
          </p:nvPr>
        </p:nvSpPr>
        <p:spPr bwMode="auto">
          <a:xfrm>
            <a:off x="257175" y="3984625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C5753576-6ACC-48DE-A4FC-712AC750054F}" type="datetime'2''''''''''''''''''''''0''''''''''''''''''''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9" name="Rectangle 158"/>
          <p:cNvSpPr/>
          <p:nvPr>
            <p:custDataLst>
              <p:tags r:id="rId10"/>
            </p:custDataLst>
          </p:nvPr>
        </p:nvSpPr>
        <p:spPr bwMode="auto">
          <a:xfrm>
            <a:off x="257175" y="4194175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597280DA-90D9-4D4D-B893-B3B3552F7BB7}" type="datetime'''''''1''''''''''''''''''''''''''''''''''''''''''0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2" name="Rectangle 71"/>
          <p:cNvSpPr/>
          <p:nvPr>
            <p:custDataLst>
              <p:tags r:id="rId11"/>
            </p:custDataLst>
          </p:nvPr>
        </p:nvSpPr>
        <p:spPr bwMode="auto">
          <a:xfrm>
            <a:off x="314325" y="4413250"/>
            <a:ext cx="14763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E423382D-B48B-4BF0-9373-B31934BB8852}" type="datetime'''''''''''''''''''''''''''''''''''0''''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2" name="Rectangle 51"/>
          <p:cNvSpPr/>
          <p:nvPr>
            <p:custDataLst>
              <p:tags r:id="rId12"/>
            </p:custDataLst>
          </p:nvPr>
        </p:nvSpPr>
        <p:spPr bwMode="auto">
          <a:xfrm>
            <a:off x="3517900" y="4570412"/>
            <a:ext cx="561975" cy="21907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3D662D45-56AC-4D90-B7C9-7993C1FE793A}" type="datetime'He''''al''th ''''and'' &#10;M''e''d''i''''''''c''a''l'''">
              <a:rPr lang="de-DE" sz="8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Health and 
Medical</a:t>
            </a:fld>
            <a:endParaRPr lang="de-DE" sz="8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1" name="Rectangle 50"/>
          <p:cNvSpPr/>
          <p:nvPr>
            <p:custDataLst>
              <p:tags r:id="rId13"/>
            </p:custDataLst>
          </p:nvPr>
        </p:nvSpPr>
        <p:spPr bwMode="auto">
          <a:xfrm>
            <a:off x="2925762" y="4570412"/>
            <a:ext cx="563562" cy="21907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C0BD9C18-3458-4AE3-890D-CE94ED443D2B}" type="datetime'Consu''''''''''me''''''r''&#10;E''l''ec''''''''t''r''''o''nics'">
              <a:rPr lang="de-DE" sz="8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Consumer
Electronics</a:t>
            </a:fld>
            <a:endParaRPr lang="de-DE" sz="8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9" name="Rectangle 48"/>
          <p:cNvSpPr/>
          <p:nvPr>
            <p:custDataLst>
              <p:tags r:id="rId14"/>
            </p:custDataLst>
          </p:nvPr>
        </p:nvSpPr>
        <p:spPr bwMode="auto">
          <a:xfrm>
            <a:off x="2403475" y="4570412"/>
            <a:ext cx="42703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412ED93A-906F-47A7-9761-19660E7EE41D}" type="datetime'''T''''e''''''''l''''''''''e''''c''''''''''''''''o''''''m'''''">
              <a:rPr lang="de-DE" sz="8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Telecom</a:t>
            </a:fld>
            <a:endParaRPr lang="de-DE" sz="8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Rectangle 35"/>
          <p:cNvSpPr/>
          <p:nvPr>
            <p:custDataLst>
              <p:tags r:id="rId15"/>
            </p:custDataLst>
          </p:nvPr>
        </p:nvSpPr>
        <p:spPr bwMode="auto">
          <a:xfrm>
            <a:off x="1733550" y="4570412"/>
            <a:ext cx="576262" cy="21907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04B95CB3-6909-4C93-B8C3-F1101B10DEBC}" type="datetime'I''''''''''n''du''st''ri''''''al''''&#10;''A''uto''''m''at''i''on'">
              <a:rPr lang="de-DE" sz="8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Industrial
Automation</a:t>
            </a:fld>
            <a:endParaRPr lang="de-DE" sz="8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Rectangle 34"/>
          <p:cNvSpPr/>
          <p:nvPr>
            <p:custDataLst>
              <p:tags r:id="rId16"/>
            </p:custDataLst>
          </p:nvPr>
        </p:nvSpPr>
        <p:spPr bwMode="auto">
          <a:xfrm>
            <a:off x="1158875" y="4570412"/>
            <a:ext cx="534987" cy="21907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68C09ACB-7E70-4916-95D9-7B42CD41F0DB}" type="datetime'Av''i''''''o''n''ics''''/''''''&#10;''Aer''''osp''''a''c''''e'">
              <a:rPr lang="de-DE" sz="8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Avionics/
Aerospace</a:t>
            </a:fld>
            <a:endParaRPr lang="de-DE" sz="8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Rectangle 12"/>
          <p:cNvSpPr/>
          <p:nvPr>
            <p:custDataLst>
              <p:tags r:id="rId17"/>
            </p:custDataLst>
          </p:nvPr>
        </p:nvSpPr>
        <p:spPr bwMode="auto">
          <a:xfrm>
            <a:off x="550862" y="4570412"/>
            <a:ext cx="571500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DE86206A-D579-4640-9076-F29A3481CB59}" type="datetime'A''ut''''''''''''''''''''om''''''ot''''i''v''''''''''e'">
              <a:rPr lang="de-DE" sz="8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Automotive</a:t>
            </a:fld>
            <a:endParaRPr lang="de-DE" sz="8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0" name="TextBox 18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52735" y="1837100"/>
            <a:ext cx="3959225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 dirty="0" smtClean="0">
                <a:solidFill>
                  <a:srgbClr val="000000"/>
                </a:solidFill>
              </a:rPr>
              <a:t>Share of EES in the cost of the final product or service</a:t>
            </a:r>
            <a:endParaRPr lang="en-US" sz="1600" b="1" dirty="0">
              <a:solidFill>
                <a:srgbClr val="000000"/>
              </a:solidFill>
            </a:endParaRPr>
          </a:p>
        </p:txBody>
      </p:sp>
      <p:graphicFrame>
        <p:nvGraphicFramePr>
          <p:cNvPr id="82" name="Object 81"/>
          <p:cNvGraphicFramePr>
            <a:graphicFrameLocks noChangeAspect="1"/>
          </p:cNvGraphicFramePr>
          <p:nvPr/>
        </p:nvGraphicFramePr>
        <p:xfrm>
          <a:off x="4762500" y="2967037"/>
          <a:ext cx="2143041" cy="2219257"/>
        </p:xfrm>
        <a:graphic>
          <a:graphicData uri="http://schemas.openxmlformats.org/presentationml/2006/ole">
            <p:oleObj spid="_x0000_s758788" name="Chart" r:id="rId50" imgW="2143041" imgH="2219257" progId="MSGraph.Chart.8">
              <p:embed followColorScheme="full"/>
            </p:oleObj>
          </a:graphicData>
        </a:graphic>
      </p:graphicFrame>
      <p:sp>
        <p:nvSpPr>
          <p:cNvPr id="143" name="Rectangle 142"/>
          <p:cNvSpPr/>
          <p:nvPr>
            <p:custDataLst>
              <p:tags r:id="rId19"/>
            </p:custDataLst>
          </p:nvPr>
        </p:nvSpPr>
        <p:spPr bwMode="auto">
          <a:xfrm>
            <a:off x="4783137" y="2927350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D55A38F2-0D9D-4A1D-9F36-91E42F276D57}" type="datetime'''''''4''0''''''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4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0" name="Rectangle 149"/>
          <p:cNvSpPr/>
          <p:nvPr>
            <p:custDataLst>
              <p:tags r:id="rId20"/>
            </p:custDataLst>
          </p:nvPr>
        </p:nvSpPr>
        <p:spPr bwMode="auto">
          <a:xfrm>
            <a:off x="5259387" y="2927350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C7068EAA-06EA-4556-9C19-0F2544C74F0A}" type="datetime'''''''''''''''''''''''''''''''''''''''''3''0''''''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3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8" name="Rectangle 147"/>
          <p:cNvSpPr/>
          <p:nvPr>
            <p:custDataLst>
              <p:tags r:id="rId21"/>
            </p:custDataLst>
          </p:nvPr>
        </p:nvSpPr>
        <p:spPr bwMode="auto">
          <a:xfrm>
            <a:off x="5735637" y="2927350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EC7E9734-FD12-43BE-A5A6-1C044191FF27}" type="datetime'''''''''''''2''''''0''''''''''''''''''''''''''''''''''''''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6" name="Rectangle 145"/>
          <p:cNvSpPr/>
          <p:nvPr>
            <p:custDataLst>
              <p:tags r:id="rId22"/>
            </p:custDataLst>
          </p:nvPr>
        </p:nvSpPr>
        <p:spPr bwMode="auto">
          <a:xfrm>
            <a:off x="6202362" y="2927350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4AA1B44E-2343-416F-AFAD-7B093832ECB4}" type="datetime'''''1''''''''''''''0''''''''''''''''''''''''''''''''''''''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4" name="Rectangle 143"/>
          <p:cNvSpPr/>
          <p:nvPr>
            <p:custDataLst>
              <p:tags r:id="rId23"/>
            </p:custDataLst>
          </p:nvPr>
        </p:nvSpPr>
        <p:spPr bwMode="auto">
          <a:xfrm>
            <a:off x="6707187" y="2927350"/>
            <a:ext cx="14763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22929F9E-2285-4362-A8D8-2C5FE02D340D}" type="datetime'''''''''''''''''''''''''''''''''''''''''''''0''''''''''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103" name="Object 102"/>
          <p:cNvGraphicFramePr>
            <a:graphicFrameLocks noChangeAspect="1"/>
          </p:cNvGraphicFramePr>
          <p:nvPr/>
        </p:nvGraphicFramePr>
        <p:xfrm>
          <a:off x="6661150" y="2967037"/>
          <a:ext cx="1876543" cy="2219257"/>
        </p:xfrm>
        <a:graphic>
          <a:graphicData uri="http://schemas.openxmlformats.org/presentationml/2006/ole">
            <p:oleObj spid="_x0000_s758789" name="Chart" r:id="rId51" imgW="1876543" imgH="2219257" progId="MSGraph.Chart.8">
              <p:embed followColorScheme="full"/>
            </p:oleObj>
          </a:graphicData>
        </a:graphic>
      </p:graphicFrame>
      <p:sp>
        <p:nvSpPr>
          <p:cNvPr id="158" name="Rectangle 157"/>
          <p:cNvSpPr/>
          <p:nvPr>
            <p:custDataLst>
              <p:tags r:id="rId24"/>
            </p:custDataLst>
          </p:nvPr>
        </p:nvSpPr>
        <p:spPr bwMode="auto">
          <a:xfrm>
            <a:off x="8310562" y="2927350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1D065C79-0FA9-48C8-8C91-20666D277541}" type="datetime'''''''''3''''''''''0''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3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6" name="Rectangle 155"/>
          <p:cNvSpPr/>
          <p:nvPr>
            <p:custDataLst>
              <p:tags r:id="rId25"/>
            </p:custDataLst>
          </p:nvPr>
        </p:nvSpPr>
        <p:spPr bwMode="auto">
          <a:xfrm>
            <a:off x="7767637" y="2927350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8A19FF9A-1D7E-4EE7-AF45-BEEE2D7C2CA4}" type="datetime'''''''''''''''''''''''''''''''''2''''''''''''0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4" name="Rectangle 153"/>
          <p:cNvSpPr/>
          <p:nvPr>
            <p:custDataLst>
              <p:tags r:id="rId26"/>
            </p:custDataLst>
          </p:nvPr>
        </p:nvSpPr>
        <p:spPr bwMode="auto">
          <a:xfrm>
            <a:off x="7224712" y="2927350"/>
            <a:ext cx="204787" cy="10953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34B9C46F-251D-464F-94D6-95D6299FD502}" type="datetime'''''''''''''1''''''''''''0'''''''"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0</a:t>
            </a:fld>
            <a:r>
              <a:rPr lang="de-DE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de-DE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3" name="TextBox 162"/>
          <p:cNvSpPr txBox="1"/>
          <p:nvPr>
            <p:custDataLst>
              <p:tags r:id="rId27"/>
            </p:custDataLst>
          </p:nvPr>
        </p:nvSpPr>
        <p:spPr>
          <a:xfrm>
            <a:off x="253077" y="5775707"/>
            <a:ext cx="8648700" cy="707886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A high share of the final products’ price is represented by the costs of Embedded Systems’ development and implementation.</a:t>
            </a:r>
          </a:p>
        </p:txBody>
      </p:sp>
      <p:sp>
        <p:nvSpPr>
          <p:cNvPr id="164" name="TextBox 18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573215" y="1837100"/>
            <a:ext cx="3959225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 dirty="0" smtClean="0">
                <a:solidFill>
                  <a:srgbClr val="000000"/>
                </a:solidFill>
              </a:rPr>
              <a:t>European share in the electronic market and market growth of electronic compared with growth of ES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167" name="Rectangle 166"/>
          <p:cNvSpPr/>
          <p:nvPr>
            <p:custDataLst>
              <p:tags r:id="rId29"/>
            </p:custDataLst>
          </p:nvPr>
        </p:nvSpPr>
        <p:spPr bwMode="auto">
          <a:xfrm>
            <a:off x="4910137" y="5354637"/>
            <a:ext cx="179387" cy="133350"/>
          </a:xfrm>
          <a:prstGeom prst="rect">
            <a:avLst/>
          </a:prstGeom>
          <a:solidFill>
            <a:srgbClr val="7D0900"/>
          </a:solidFill>
          <a:ln w="9525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8" name="Rectangle 167"/>
          <p:cNvSpPr/>
          <p:nvPr>
            <p:custDataLst>
              <p:tags r:id="rId30"/>
            </p:custDataLst>
          </p:nvPr>
        </p:nvSpPr>
        <p:spPr bwMode="auto">
          <a:xfrm>
            <a:off x="5861050" y="5354637"/>
            <a:ext cx="179387" cy="133350"/>
          </a:xfrm>
          <a:prstGeom prst="rect">
            <a:avLst/>
          </a:prstGeom>
          <a:solidFill>
            <a:schemeClr val="accent2"/>
          </a:solidFill>
          <a:ln w="9525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6" name="Rectangle 165"/>
          <p:cNvSpPr/>
          <p:nvPr>
            <p:custDataLst>
              <p:tags r:id="rId31"/>
            </p:custDataLst>
          </p:nvPr>
        </p:nvSpPr>
        <p:spPr bwMode="auto">
          <a:xfrm>
            <a:off x="6091237" y="5351462"/>
            <a:ext cx="998537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Electronic Growth</a:t>
            </a:r>
          </a:p>
        </p:txBody>
      </p:sp>
      <p:sp>
        <p:nvSpPr>
          <p:cNvPr id="165" name="Rectangle 164"/>
          <p:cNvSpPr/>
          <p:nvPr>
            <p:custDataLst>
              <p:tags r:id="rId32"/>
            </p:custDataLst>
          </p:nvPr>
        </p:nvSpPr>
        <p:spPr bwMode="auto">
          <a:xfrm>
            <a:off x="5140325" y="5351462"/>
            <a:ext cx="61912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ES-Growth</a:t>
            </a:r>
          </a:p>
        </p:txBody>
      </p:sp>
      <p:sp>
        <p:nvSpPr>
          <p:cNvPr id="172" name="Rectangle 171"/>
          <p:cNvSpPr/>
          <p:nvPr>
            <p:custDataLst>
              <p:tags r:id="rId33"/>
            </p:custDataLst>
          </p:nvPr>
        </p:nvSpPr>
        <p:spPr bwMode="auto">
          <a:xfrm>
            <a:off x="7159625" y="5354637"/>
            <a:ext cx="179387" cy="133350"/>
          </a:xfrm>
          <a:prstGeom prst="rect">
            <a:avLst/>
          </a:prstGeom>
          <a:solidFill>
            <a:schemeClr val="folHlink"/>
          </a:solidFill>
          <a:ln w="9525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1" name="Rectangle 170"/>
          <p:cNvSpPr/>
          <p:nvPr>
            <p:custDataLst>
              <p:tags r:id="rId34"/>
            </p:custDataLst>
          </p:nvPr>
        </p:nvSpPr>
        <p:spPr bwMode="auto">
          <a:xfrm>
            <a:off x="7389812" y="5351461"/>
            <a:ext cx="1044575" cy="27305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EU Share </a:t>
            </a:r>
            <a:r>
              <a:rPr lang="de-DE" sz="1000" dirty="0" err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of</a:t>
            </a:r>
            <a:r>
              <a:rPr lang="de-DE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 ES &amp; </a:t>
            </a:r>
            <a:br>
              <a:rPr lang="de-DE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r>
              <a:rPr lang="de-DE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Electronics Market</a:t>
            </a:r>
          </a:p>
        </p:txBody>
      </p:sp>
      <p:sp>
        <p:nvSpPr>
          <p:cNvPr id="173" name="TextBox 18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7994650" y="3222950"/>
            <a:ext cx="1354138" cy="11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b="1" dirty="0" smtClean="0">
                <a:solidFill>
                  <a:srgbClr val="000000"/>
                </a:solidFill>
              </a:rPr>
              <a:t>Automotive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174" name="TextBox 18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7994650" y="3477397"/>
            <a:ext cx="1354138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b="1" dirty="0" smtClean="0">
                <a:solidFill>
                  <a:srgbClr val="000000"/>
                </a:solidFill>
              </a:rPr>
              <a:t>Avionics/</a:t>
            </a:r>
            <a:br>
              <a:rPr lang="en-US" sz="800" b="1" dirty="0" smtClean="0">
                <a:solidFill>
                  <a:srgbClr val="000000"/>
                </a:solidFill>
              </a:rPr>
            </a:br>
            <a:r>
              <a:rPr lang="en-US" sz="800" b="1" dirty="0" smtClean="0">
                <a:solidFill>
                  <a:srgbClr val="000000"/>
                </a:solidFill>
              </a:rPr>
              <a:t>Aerospace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175" name="TextBox 18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7994650" y="3842643"/>
            <a:ext cx="1354138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b="1" dirty="0" smtClean="0">
                <a:solidFill>
                  <a:srgbClr val="000000"/>
                </a:solidFill>
              </a:rPr>
              <a:t>Industrial</a:t>
            </a:r>
            <a:br>
              <a:rPr lang="en-US" sz="800" b="1" dirty="0" smtClean="0">
                <a:solidFill>
                  <a:srgbClr val="000000"/>
                </a:solidFill>
              </a:rPr>
            </a:br>
            <a:r>
              <a:rPr lang="en-US" sz="800" b="1" dirty="0" smtClean="0">
                <a:solidFill>
                  <a:srgbClr val="000000"/>
                </a:solidFill>
              </a:rPr>
              <a:t>Automation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176" name="TextBox 18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7994650" y="4207889"/>
            <a:ext cx="1354138" cy="11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b="1" dirty="0" smtClean="0">
                <a:solidFill>
                  <a:srgbClr val="000000"/>
                </a:solidFill>
              </a:rPr>
              <a:t>Telecom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177" name="TextBox 18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7994650" y="4462336"/>
            <a:ext cx="1354138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b="1" dirty="0" smtClean="0">
                <a:solidFill>
                  <a:srgbClr val="000000"/>
                </a:solidFill>
              </a:rPr>
              <a:t>Consume</a:t>
            </a:r>
            <a:br>
              <a:rPr lang="en-US" sz="800" b="1" dirty="0" smtClean="0">
                <a:solidFill>
                  <a:srgbClr val="000000"/>
                </a:solidFill>
              </a:rPr>
            </a:br>
            <a:r>
              <a:rPr lang="en-US" sz="800" b="1" dirty="0" smtClean="0">
                <a:solidFill>
                  <a:srgbClr val="000000"/>
                </a:solidFill>
              </a:rPr>
              <a:t>Electronic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178" name="TextBox 18"/>
          <p:cNvSpPr txBox="1"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7994650" y="4827581"/>
            <a:ext cx="1354138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b="1" dirty="0" smtClean="0">
                <a:solidFill>
                  <a:srgbClr val="000000"/>
                </a:solidFill>
              </a:rPr>
              <a:t>Health and</a:t>
            </a:r>
            <a:br>
              <a:rPr lang="en-US" sz="800" b="1" dirty="0" smtClean="0">
                <a:solidFill>
                  <a:srgbClr val="000000"/>
                </a:solidFill>
              </a:rPr>
            </a:br>
            <a:r>
              <a:rPr lang="en-US" sz="800" b="1" dirty="0" smtClean="0">
                <a:solidFill>
                  <a:srgbClr val="000000"/>
                </a:solidFill>
              </a:rPr>
              <a:t>Medical</a:t>
            </a:r>
            <a:endParaRPr lang="en-US" sz="800" b="1" dirty="0">
              <a:solidFill>
                <a:srgbClr val="000000"/>
              </a:solidFill>
            </a:endParaRPr>
          </a:p>
        </p:txBody>
      </p:sp>
      <p:pic>
        <p:nvPicPr>
          <p:cNvPr id="47" name="Picture 4" descr="http://www.aa1car.com/library/novanta2.jpg"/>
          <p:cNvPicPr>
            <a:picLocks noChangeAspect="1" noChangeArrowheads="1"/>
          </p:cNvPicPr>
          <p:nvPr>
            <p:custDataLst>
              <p:tags r:id="rId41"/>
            </p:custDataLst>
          </p:nvPr>
        </p:nvPicPr>
        <p:blipFill>
          <a:blip r:embed="rId52" cstate="print"/>
          <a:srcRect/>
          <a:stretch>
            <a:fillRect/>
          </a:stretch>
        </p:blipFill>
        <p:spPr bwMode="auto">
          <a:xfrm>
            <a:off x="575556" y="4938712"/>
            <a:ext cx="540000" cy="3244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64584" name="Picture 8"/>
          <p:cNvPicPr>
            <a:picLocks noChangeAspect="1" noChangeArrowheads="1"/>
          </p:cNvPicPr>
          <p:nvPr>
            <p:custDataLst>
              <p:tags r:id="rId42"/>
            </p:custDataLst>
          </p:nvPr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1907704" y="4938712"/>
            <a:ext cx="480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4586" name="Picture 10"/>
          <p:cNvPicPr>
            <a:picLocks noChangeAspect="1" noChangeArrowheads="1"/>
          </p:cNvPicPr>
          <p:nvPr>
            <p:custDataLst>
              <p:tags r:id="rId43"/>
            </p:custDataLst>
          </p:nvPr>
        </p:nvPicPr>
        <p:blipFill>
          <a:blip r:embed="rId54" cstate="print"/>
          <a:srcRect/>
          <a:stretch>
            <a:fillRect/>
          </a:stretch>
        </p:blipFill>
        <p:spPr bwMode="auto">
          <a:xfrm>
            <a:off x="3095836" y="4938712"/>
            <a:ext cx="360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4587" name="Picture 11"/>
          <p:cNvPicPr>
            <a:picLocks noChangeAspect="1" noChangeArrowheads="1"/>
          </p:cNvPicPr>
          <p:nvPr>
            <p:custDataLst>
              <p:tags r:id="rId44"/>
            </p:custDataLst>
          </p:nvPr>
        </p:nvPicPr>
        <p:blipFill>
          <a:blip r:embed="rId55" cstate="print"/>
          <a:srcRect/>
          <a:stretch>
            <a:fillRect/>
          </a:stretch>
        </p:blipFill>
        <p:spPr bwMode="auto">
          <a:xfrm>
            <a:off x="3733112" y="4938712"/>
            <a:ext cx="22682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4588" name="Picture 12"/>
          <p:cNvPicPr>
            <a:picLocks noChangeAspect="1" noChangeArrowheads="1"/>
          </p:cNvPicPr>
          <p:nvPr>
            <p:custDataLst>
              <p:tags r:id="rId45"/>
            </p:custDataLst>
          </p:nvPr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2519772" y="4938712"/>
            <a:ext cx="40865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4589" name="Picture 13"/>
          <p:cNvPicPr>
            <a:picLocks noChangeAspect="1" noChangeArrowheads="1"/>
          </p:cNvPicPr>
          <p:nvPr>
            <p:custDataLst>
              <p:tags r:id="rId46"/>
            </p:custDataLst>
          </p:nvPr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1151620" y="4938712"/>
            <a:ext cx="69231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86515" name="Rectangle 1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3730" name="think-cell Slide" r:id="rId56" imgW="0" imgH="0" progId="">
              <p:embed/>
            </p:oleObj>
          </a:graphicData>
        </a:graphic>
      </p:graphicFrame>
      <p:sp>
        <p:nvSpPr>
          <p:cNvPr id="72" name="Rectangle 71"/>
          <p:cNvSpPr/>
          <p:nvPr>
            <p:custDataLst>
              <p:tags r:id="rId2"/>
            </p:custDataLst>
          </p:nvPr>
        </p:nvSpPr>
        <p:spPr>
          <a:xfrm>
            <a:off x="4919662" y="2632619"/>
            <a:ext cx="3973513" cy="3102356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t">
            <a:noAutofit/>
          </a:bodyPr>
          <a:lstStyle/>
          <a:p>
            <a:pPr marL="268288" lvl="0" indent="-268288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Current applications:</a:t>
            </a:r>
          </a:p>
          <a:p>
            <a:pPr marL="1970088" lvl="0" indent="-176213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Modular architecture</a:t>
            </a:r>
          </a:p>
          <a:p>
            <a:pPr marL="1970088" lvl="0" indent="-176213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Distinction between technical and content provider</a:t>
            </a:r>
          </a:p>
          <a:p>
            <a:pPr marL="1970088" lvl="0" indent="-176213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Customer-oriented functions</a:t>
            </a:r>
          </a:p>
          <a:p>
            <a:pPr marL="1970088" indent="-176213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Upgradable services</a:t>
            </a:r>
          </a:p>
          <a:p>
            <a:pPr marL="1970088" indent="-176213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Joint development and partnership models</a:t>
            </a:r>
          </a:p>
          <a:p>
            <a:pPr marL="1970088" lvl="0" indent="-176213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Strong collaboration between suppliers</a:t>
            </a:r>
          </a:p>
          <a:p>
            <a:pPr marL="1970088" lvl="0" indent="-176213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/>
            </a:pPr>
            <a:endParaRPr lang="en-US" sz="140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1970088" lvl="0" indent="-176213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/>
            </a:pPr>
            <a:endParaRPr lang="en-US" sz="140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1970088" lvl="0" indent="-176213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•"/>
              <a:defRPr/>
            </a:pPr>
            <a:endParaRPr lang="en-US" sz="140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268288" lvl="0" indent="-268288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Tx/>
              <a:buChar char="•"/>
              <a:defRPr/>
            </a:pPr>
            <a:endParaRPr lang="en-US" sz="140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sp>
        <p:nvSpPr>
          <p:cNvPr id="70" name="Rectangle 69"/>
          <p:cNvSpPr/>
          <p:nvPr>
            <p:custDataLst>
              <p:tags r:id="rId3"/>
            </p:custDataLst>
          </p:nvPr>
        </p:nvSpPr>
        <p:spPr>
          <a:xfrm>
            <a:off x="244475" y="2636913"/>
            <a:ext cx="3973513" cy="3090406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3152" tIns="73152" rIns="73152" bIns="73152" rtlCol="0" anchor="t">
            <a:noAutofit/>
          </a:bodyPr>
          <a:lstStyle/>
          <a:p>
            <a:pPr marL="268288" lvl="0" indent="-268288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Current applications:</a:t>
            </a:r>
          </a:p>
          <a:p>
            <a:pPr marL="268288" lvl="0" indent="-268288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Tx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Many stand-alone</a:t>
            </a:r>
            <a:b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solutions</a:t>
            </a:r>
          </a:p>
          <a:p>
            <a:pPr marL="268288" indent="-268288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Tx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Strong focus on</a:t>
            </a:r>
            <a:b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technical solutions, less</a:t>
            </a:r>
            <a:b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customer oriented</a:t>
            </a:r>
          </a:p>
          <a:p>
            <a:pPr marL="268288" lvl="0" indent="-268288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Tx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No flexibility </a:t>
            </a:r>
            <a:b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and possibility to</a:t>
            </a:r>
            <a:b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increase functionality</a:t>
            </a:r>
          </a:p>
          <a:p>
            <a:pPr marL="268288" lvl="0" indent="-268288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Tx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One application serves one</a:t>
            </a:r>
            <a:b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function</a:t>
            </a:r>
          </a:p>
          <a:p>
            <a:pPr marL="268288" lvl="0" indent="-268288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Tx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No/ few collaboration</a:t>
            </a:r>
            <a:b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between suppliers</a:t>
            </a:r>
          </a:p>
          <a:p>
            <a:pPr marL="268288" lvl="0" indent="-268288" defTabSz="966788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Tx/>
              <a:buChar char="•"/>
              <a:defRPr/>
            </a:pPr>
            <a:endParaRPr lang="en-US" sz="140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sp>
        <p:nvSpPr>
          <p:cNvPr id="1386503" name="Rectangle 7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New services require strong cross-company collaboration, which will lead to more customer-centric business models</a:t>
            </a:r>
            <a:endParaRPr lang="en-US" dirty="0"/>
          </a:p>
        </p:txBody>
      </p:sp>
      <p:sp>
        <p:nvSpPr>
          <p:cNvPr id="17" name="AutoShape 3"/>
          <p:cNvSpPr>
            <a:spLocks noChangeArrowheads="1"/>
          </p:cNvSpPr>
          <p:nvPr/>
        </p:nvSpPr>
        <p:spPr bwMode="auto">
          <a:xfrm rot="5400000">
            <a:off x="2797622" y="3888643"/>
            <a:ext cx="3582987" cy="32226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 anchor="ctr"/>
          <a:lstStyle/>
          <a:p>
            <a:pPr eaLnBrk="0" hangingPunct="0"/>
            <a:endParaRPr lang="en-US" b="1" dirty="0"/>
          </a:p>
        </p:txBody>
      </p:sp>
      <p:sp>
        <p:nvSpPr>
          <p:cNvPr id="27" name="Rectangle 26"/>
          <p:cNvSpPr/>
          <p:nvPr>
            <p:custDataLst>
              <p:tags r:id="rId5"/>
            </p:custDataLst>
          </p:nvPr>
        </p:nvSpPr>
        <p:spPr bwMode="auto">
          <a:xfrm>
            <a:off x="4383343" y="3536577"/>
            <a:ext cx="1667834" cy="423227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/>
            </a:r>
            <a:b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</a:b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/>
            </a:r>
            <a:b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</a:br>
            <a:endParaRPr lang="en-US" sz="1400" b="1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28" name="Straight Arrow Connector 27"/>
          <p:cNvCxnSpPr>
            <a:endCxn id="30" idx="0"/>
          </p:cNvCxnSpPr>
          <p:nvPr>
            <p:custDataLst>
              <p:tags r:id="rId6"/>
            </p:custDataLst>
          </p:nvPr>
        </p:nvCxnSpPr>
        <p:spPr bwMode="auto">
          <a:xfrm rot="16200000" flipH="1">
            <a:off x="5359613" y="3945433"/>
            <a:ext cx="892810" cy="29400"/>
          </a:xfrm>
          <a:prstGeom prst="straightConnector1">
            <a:avLst/>
          </a:prstGeom>
          <a:ln w="12700" cap="rnd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7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 rot="5400000">
            <a:off x="5562535" y="3102766"/>
            <a:ext cx="516366" cy="1705348"/>
            <a:chOff x="2625629" y="2097088"/>
            <a:chExt cx="587927" cy="1099596"/>
          </a:xfrm>
        </p:grpSpPr>
        <p:sp>
          <p:nvSpPr>
            <p:cNvPr id="37" name="Rectangle 36"/>
            <p:cNvSpPr/>
            <p:nvPr>
              <p:custDataLst>
                <p:tags r:id="rId51"/>
              </p:custDataLst>
            </p:nvPr>
          </p:nvSpPr>
          <p:spPr>
            <a:xfrm>
              <a:off x="2625629" y="2097088"/>
              <a:ext cx="431683" cy="922209"/>
            </a:xfrm>
            <a:prstGeom prst="rect">
              <a:avLst/>
            </a:prstGeom>
            <a:solidFill>
              <a:schemeClr val="bg2"/>
            </a:solidFill>
            <a:ln w="12700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endParaRPr lang="en-US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38" name="Rectangle 37"/>
            <p:cNvSpPr/>
            <p:nvPr>
              <p:custDataLst>
                <p:tags r:id="rId52"/>
              </p:custDataLst>
            </p:nvPr>
          </p:nvSpPr>
          <p:spPr>
            <a:xfrm>
              <a:off x="2714547" y="2185781"/>
              <a:ext cx="431683" cy="922209"/>
            </a:xfrm>
            <a:prstGeom prst="rect">
              <a:avLst/>
            </a:prstGeom>
            <a:solidFill>
              <a:schemeClr val="bg2"/>
            </a:solidFill>
            <a:ln w="12700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endParaRPr lang="en-US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39" name="Rectangle 38"/>
            <p:cNvSpPr/>
            <p:nvPr>
              <p:custDataLst>
                <p:tags r:id="rId53"/>
              </p:custDataLst>
            </p:nvPr>
          </p:nvSpPr>
          <p:spPr>
            <a:xfrm>
              <a:off x="2782182" y="2274850"/>
              <a:ext cx="431374" cy="921834"/>
            </a:xfrm>
            <a:prstGeom prst="rect">
              <a:avLst/>
            </a:prstGeom>
            <a:solidFill>
              <a:schemeClr val="bg2"/>
            </a:solidFill>
            <a:ln w="12700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anchor="ctr"/>
            <a:lstStyle/>
            <a:p>
              <a:pPr algn="ctr">
                <a:lnSpc>
                  <a:spcPct val="85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r>
                <a:rPr lang="en-US" sz="1000" dirty="0" smtClean="0">
                  <a:solidFill>
                    <a:schemeClr val="bg1"/>
                  </a:solidFill>
                  <a:cs typeface="Arial" pitchFamily="34" charset="0"/>
                </a:rPr>
                <a:t>Multi channel delivery (web, mobile, …)</a:t>
              </a:r>
              <a:endParaRPr lang="en-US" sz="10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sp>
        <p:nvSpPr>
          <p:cNvPr id="30" name="Rectangle 29"/>
          <p:cNvSpPr/>
          <p:nvPr>
            <p:custDataLst>
              <p:tags r:id="rId8"/>
            </p:custDataLst>
          </p:nvPr>
        </p:nvSpPr>
        <p:spPr bwMode="auto">
          <a:xfrm>
            <a:off x="4986801" y="4406538"/>
            <a:ext cx="1667834" cy="659955"/>
          </a:xfrm>
          <a:prstGeom prst="rect">
            <a:avLst/>
          </a:prstGeom>
          <a:solidFill>
            <a:schemeClr val="bg2"/>
          </a:solidFill>
          <a:ln w="127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bg1"/>
                </a:solidFill>
                <a:cs typeface="Arial" pitchFamily="34" charset="0"/>
              </a:rPr>
              <a:t>Service broker</a:t>
            </a:r>
            <a:endParaRPr lang="en-US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32" name="Straight Arrow Connector 31"/>
          <p:cNvCxnSpPr>
            <a:stCxn id="30" idx="2"/>
            <a:endCxn id="33" idx="0"/>
          </p:cNvCxnSpPr>
          <p:nvPr>
            <p:custDataLst>
              <p:tags r:id="rId9"/>
            </p:custDataLst>
          </p:nvPr>
        </p:nvCxnSpPr>
        <p:spPr bwMode="auto">
          <a:xfrm rot="16200000" flipH="1">
            <a:off x="5721363" y="5165847"/>
            <a:ext cx="198711" cy="1"/>
          </a:xfrm>
          <a:prstGeom prst="straightConnector1">
            <a:avLst/>
          </a:prstGeom>
          <a:ln w="12700" cap="rnd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>
            <p:custDataLst>
              <p:tags r:id="rId10"/>
            </p:custDataLst>
          </p:nvPr>
        </p:nvSpPr>
        <p:spPr bwMode="auto">
          <a:xfrm>
            <a:off x="4986802" y="5265204"/>
            <a:ext cx="1667833" cy="423227"/>
          </a:xfrm>
          <a:prstGeom prst="rect">
            <a:avLst/>
          </a:prstGeom>
          <a:solidFill>
            <a:schemeClr val="bg2">
              <a:alpha val="50000"/>
            </a:schemeClr>
          </a:solidFill>
          <a:ln w="127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bg1"/>
                </a:solidFill>
                <a:cs typeface="Arial" pitchFamily="34" charset="0"/>
              </a:rPr>
              <a:t>Service provider</a:t>
            </a:r>
            <a:endParaRPr lang="en-US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3" name="Group 58"/>
          <p:cNvGrpSpPr/>
          <p:nvPr>
            <p:custDataLst>
              <p:tags r:id="rId11"/>
            </p:custDataLst>
          </p:nvPr>
        </p:nvGrpSpPr>
        <p:grpSpPr>
          <a:xfrm>
            <a:off x="2976803" y="3176972"/>
            <a:ext cx="953275" cy="239244"/>
            <a:chOff x="2673600" y="3767980"/>
            <a:chExt cx="953275" cy="404324"/>
          </a:xfrm>
        </p:grpSpPr>
        <p:cxnSp>
          <p:nvCxnSpPr>
            <p:cNvPr id="41" name="Straight Arrow Connector 40"/>
            <p:cNvCxnSpPr/>
            <p:nvPr>
              <p:custDataLst>
                <p:tags r:id="rId48"/>
              </p:custDataLst>
            </p:nvPr>
          </p:nvCxnSpPr>
          <p:spPr>
            <a:xfrm rot="16200000" flipH="1">
              <a:off x="2936967" y="3971283"/>
              <a:ext cx="396472" cy="5569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/>
            <p:nvPr>
              <p:custDataLst>
                <p:tags r:id="rId49"/>
              </p:custDataLst>
            </p:nvPr>
          </p:nvCxnSpPr>
          <p:spPr>
            <a:xfrm rot="16200000" flipH="1">
              <a:off x="3425298" y="3962875"/>
              <a:ext cx="396472" cy="6682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>
              <p:custDataLst>
                <p:tags r:id="rId50"/>
              </p:custDataLst>
            </p:nvPr>
          </p:nvCxnSpPr>
          <p:spPr>
            <a:xfrm rot="16200000" flipH="1">
              <a:off x="2478705" y="3962875"/>
              <a:ext cx="396472" cy="6682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15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2902967" y="3351301"/>
            <a:ext cx="1199390" cy="723609"/>
            <a:chOff x="1006294" y="3907612"/>
            <a:chExt cx="1710501" cy="2318374"/>
          </a:xfrm>
        </p:grpSpPr>
        <p:sp>
          <p:nvSpPr>
            <p:cNvPr id="61" name="Rectangle 60"/>
            <p:cNvSpPr/>
            <p:nvPr>
              <p:custDataLst>
                <p:tags r:id="rId45"/>
              </p:custDataLst>
            </p:nvPr>
          </p:nvSpPr>
          <p:spPr>
            <a:xfrm rot="16200000">
              <a:off x="1341265" y="4846039"/>
              <a:ext cx="2309538" cy="441522"/>
            </a:xfrm>
            <a:prstGeom prst="rect">
              <a:avLst/>
            </a:prstGeom>
            <a:solidFill>
              <a:schemeClr val="bg2">
                <a:alpha val="50000"/>
              </a:schemeClr>
            </a:solidFill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endParaRPr lang="en-US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2" name="Rectangle 61"/>
            <p:cNvSpPr/>
            <p:nvPr>
              <p:custDataLst>
                <p:tags r:id="rId46"/>
              </p:custDataLst>
            </p:nvPr>
          </p:nvSpPr>
          <p:spPr>
            <a:xfrm rot="16200000">
              <a:off x="699628" y="4850457"/>
              <a:ext cx="2309537" cy="441522"/>
            </a:xfrm>
            <a:prstGeom prst="rect">
              <a:avLst/>
            </a:prstGeom>
            <a:solidFill>
              <a:schemeClr val="bg2">
                <a:alpha val="50000"/>
              </a:schemeClr>
            </a:solidFill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endParaRPr lang="en-US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>
              <p:custDataLst>
                <p:tags r:id="rId47"/>
              </p:custDataLst>
            </p:nvPr>
          </p:nvSpPr>
          <p:spPr>
            <a:xfrm rot="16200000">
              <a:off x="72286" y="4841620"/>
              <a:ext cx="2309538" cy="441522"/>
            </a:xfrm>
            <a:prstGeom prst="rect">
              <a:avLst/>
            </a:prstGeom>
            <a:solidFill>
              <a:schemeClr val="bg2">
                <a:alpha val="50000"/>
              </a:schemeClr>
            </a:solidFill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r>
                <a:rPr lang="en-US" sz="1200" b="1" smtClean="0">
                  <a:solidFill>
                    <a:schemeClr val="bg1"/>
                  </a:solidFill>
                  <a:cs typeface="Arial" pitchFamily="34" charset="0"/>
                </a:rPr>
                <a:t> </a:t>
              </a:r>
              <a:endParaRPr lang="en-US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grpSp>
        <p:nvGrpSpPr>
          <p:cNvPr id="5" name="Group 15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2844696" y="3386601"/>
            <a:ext cx="1199390" cy="723610"/>
            <a:chOff x="1006294" y="3907612"/>
            <a:chExt cx="1710501" cy="2318376"/>
          </a:xfrm>
        </p:grpSpPr>
        <p:sp>
          <p:nvSpPr>
            <p:cNvPr id="52" name="Rectangle 51"/>
            <p:cNvSpPr/>
            <p:nvPr>
              <p:custDataLst>
                <p:tags r:id="rId42"/>
              </p:custDataLst>
            </p:nvPr>
          </p:nvSpPr>
          <p:spPr>
            <a:xfrm rot="16200000">
              <a:off x="1341265" y="4846039"/>
              <a:ext cx="2309538" cy="441522"/>
            </a:xfrm>
            <a:prstGeom prst="rect">
              <a:avLst/>
            </a:prstGeom>
            <a:solidFill>
              <a:schemeClr val="bg2">
                <a:alpha val="50000"/>
              </a:schemeClr>
            </a:solidFill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r>
                <a:rPr lang="en-US" sz="1200" b="1" smtClean="0">
                  <a:solidFill>
                    <a:schemeClr val="bg1"/>
                  </a:solidFill>
                  <a:cs typeface="Arial" pitchFamily="34" charset="0"/>
                </a:rPr>
                <a:t>Infra.</a:t>
              </a:r>
              <a:endParaRPr lang="en-US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>
              <p:custDataLst>
                <p:tags r:id="rId43"/>
              </p:custDataLst>
            </p:nvPr>
          </p:nvSpPr>
          <p:spPr>
            <a:xfrm rot="16200000">
              <a:off x="699628" y="4850458"/>
              <a:ext cx="2309538" cy="441522"/>
            </a:xfrm>
            <a:prstGeom prst="rect">
              <a:avLst/>
            </a:prstGeom>
            <a:solidFill>
              <a:schemeClr val="bg2">
                <a:alpha val="50000"/>
              </a:schemeClr>
            </a:solidFill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r>
                <a:rPr lang="en-US" sz="1200" b="1" smtClean="0">
                  <a:solidFill>
                    <a:schemeClr val="bg1"/>
                  </a:solidFill>
                  <a:cs typeface="Arial" pitchFamily="34" charset="0"/>
                </a:rPr>
                <a:t>Appl.</a:t>
              </a:r>
              <a:endParaRPr lang="en-US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4" name="Rectangle 53"/>
            <p:cNvSpPr/>
            <p:nvPr>
              <p:custDataLst>
                <p:tags r:id="rId44"/>
              </p:custDataLst>
            </p:nvPr>
          </p:nvSpPr>
          <p:spPr>
            <a:xfrm rot="16200000">
              <a:off x="72286" y="4841620"/>
              <a:ext cx="2309538" cy="441522"/>
            </a:xfrm>
            <a:prstGeom prst="rect">
              <a:avLst/>
            </a:prstGeom>
            <a:solidFill>
              <a:schemeClr val="bg2">
                <a:alpha val="50000"/>
              </a:schemeClr>
            </a:solidFill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r>
                <a:rPr lang="en-US" sz="1200" b="1" smtClean="0">
                  <a:solidFill>
                    <a:schemeClr val="bg1"/>
                  </a:solidFill>
                  <a:cs typeface="Arial" pitchFamily="34" charset="0"/>
                </a:rPr>
                <a:t> Service</a:t>
              </a:r>
              <a:endParaRPr lang="en-US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grpSp>
        <p:nvGrpSpPr>
          <p:cNvPr id="6" name="Group 63"/>
          <p:cNvGrpSpPr/>
          <p:nvPr>
            <p:custDataLst>
              <p:tags r:id="rId14"/>
            </p:custDataLst>
          </p:nvPr>
        </p:nvGrpSpPr>
        <p:grpSpPr>
          <a:xfrm>
            <a:off x="2994733" y="4105800"/>
            <a:ext cx="953275" cy="171288"/>
            <a:chOff x="2673600" y="3767980"/>
            <a:chExt cx="953275" cy="404324"/>
          </a:xfrm>
        </p:grpSpPr>
        <p:cxnSp>
          <p:nvCxnSpPr>
            <p:cNvPr id="65" name="Straight Arrow Connector 64"/>
            <p:cNvCxnSpPr/>
            <p:nvPr>
              <p:custDataLst>
                <p:tags r:id="rId39"/>
              </p:custDataLst>
            </p:nvPr>
          </p:nvCxnSpPr>
          <p:spPr>
            <a:xfrm rot="16200000" flipH="1">
              <a:off x="2936967" y="3971283"/>
              <a:ext cx="396472" cy="5569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/>
            <p:cNvCxnSpPr/>
            <p:nvPr>
              <p:custDataLst>
                <p:tags r:id="rId40"/>
              </p:custDataLst>
            </p:nvPr>
          </p:nvCxnSpPr>
          <p:spPr>
            <a:xfrm rot="16200000" flipH="1">
              <a:off x="3425298" y="3962875"/>
              <a:ext cx="396472" cy="6682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/>
            <p:cNvCxnSpPr/>
            <p:nvPr>
              <p:custDataLst>
                <p:tags r:id="rId41"/>
              </p:custDataLst>
            </p:nvPr>
          </p:nvCxnSpPr>
          <p:spPr>
            <a:xfrm rot="16200000" flipH="1">
              <a:off x="2478705" y="3962875"/>
              <a:ext cx="396472" cy="6682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15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2849178" y="4265912"/>
            <a:ext cx="1199390" cy="723610"/>
            <a:chOff x="1006294" y="3907612"/>
            <a:chExt cx="1710501" cy="2318376"/>
          </a:xfrm>
          <a:solidFill>
            <a:schemeClr val="bg2"/>
          </a:solidFill>
        </p:grpSpPr>
        <p:sp>
          <p:nvSpPr>
            <p:cNvPr id="81" name="Rectangle 80"/>
            <p:cNvSpPr/>
            <p:nvPr>
              <p:custDataLst>
                <p:tags r:id="rId36"/>
              </p:custDataLst>
            </p:nvPr>
          </p:nvSpPr>
          <p:spPr>
            <a:xfrm rot="16200000">
              <a:off x="1341265" y="4846039"/>
              <a:ext cx="2309538" cy="441522"/>
            </a:xfrm>
            <a:prstGeom prst="rect">
              <a:avLst/>
            </a:prstGeom>
            <a:grpFill/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r>
                <a:rPr lang="en-US" sz="1200" b="1" smtClean="0">
                  <a:solidFill>
                    <a:schemeClr val="bg1"/>
                  </a:solidFill>
                  <a:cs typeface="Arial" pitchFamily="34" charset="0"/>
                </a:rPr>
                <a:t>Infra.</a:t>
              </a:r>
              <a:endParaRPr lang="en-US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82" name="Rectangle 81"/>
            <p:cNvSpPr/>
            <p:nvPr>
              <p:custDataLst>
                <p:tags r:id="rId37"/>
              </p:custDataLst>
            </p:nvPr>
          </p:nvSpPr>
          <p:spPr>
            <a:xfrm rot="16200000">
              <a:off x="699628" y="4850458"/>
              <a:ext cx="2309538" cy="441522"/>
            </a:xfrm>
            <a:prstGeom prst="rect">
              <a:avLst/>
            </a:prstGeom>
            <a:grpFill/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r>
                <a:rPr lang="en-US" sz="1200" b="1" smtClean="0">
                  <a:solidFill>
                    <a:schemeClr val="bg1"/>
                  </a:solidFill>
                  <a:cs typeface="Arial" pitchFamily="34" charset="0"/>
                </a:rPr>
                <a:t>Appl.</a:t>
              </a:r>
              <a:endParaRPr lang="en-US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83" name="Rectangle 82"/>
            <p:cNvSpPr/>
            <p:nvPr>
              <p:custDataLst>
                <p:tags r:id="rId38"/>
              </p:custDataLst>
            </p:nvPr>
          </p:nvSpPr>
          <p:spPr>
            <a:xfrm rot="16200000">
              <a:off x="72286" y="4841620"/>
              <a:ext cx="2309538" cy="441522"/>
            </a:xfrm>
            <a:prstGeom prst="rect">
              <a:avLst/>
            </a:prstGeom>
            <a:grpFill/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r>
                <a:rPr lang="en-US" sz="1200" b="1" smtClean="0">
                  <a:solidFill>
                    <a:schemeClr val="bg1"/>
                  </a:solidFill>
                  <a:cs typeface="Arial" pitchFamily="34" charset="0"/>
                </a:rPr>
                <a:t> Service</a:t>
              </a:r>
              <a:endParaRPr lang="en-US" sz="1200" b="1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sp>
        <p:nvSpPr>
          <p:cNvPr id="84" name="Rectangle 83"/>
          <p:cNvSpPr/>
          <p:nvPr>
            <p:custDataLst>
              <p:tags r:id="rId16"/>
            </p:custDataLst>
          </p:nvPr>
        </p:nvSpPr>
        <p:spPr>
          <a:xfrm>
            <a:off x="2750568" y="2672917"/>
            <a:ext cx="1425388" cy="152622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Rectangle 84"/>
          <p:cNvSpPr/>
          <p:nvPr>
            <p:custDataLst>
              <p:tags r:id="rId17"/>
            </p:custDataLst>
          </p:nvPr>
        </p:nvSpPr>
        <p:spPr>
          <a:xfrm>
            <a:off x="5009412" y="2936811"/>
            <a:ext cx="1622612" cy="708213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8" name="Group 15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2853661" y="5144449"/>
            <a:ext cx="1199390" cy="463637"/>
            <a:chOff x="1006294" y="3907612"/>
            <a:chExt cx="1710501" cy="2318376"/>
          </a:xfrm>
          <a:solidFill>
            <a:schemeClr val="bg2"/>
          </a:solidFill>
        </p:grpSpPr>
        <p:sp>
          <p:nvSpPr>
            <p:cNvPr id="89" name="Rectangle 88"/>
            <p:cNvSpPr/>
            <p:nvPr>
              <p:custDataLst>
                <p:tags r:id="rId33"/>
              </p:custDataLst>
            </p:nvPr>
          </p:nvSpPr>
          <p:spPr>
            <a:xfrm rot="16200000">
              <a:off x="1341265" y="4846039"/>
              <a:ext cx="2309538" cy="441522"/>
            </a:xfrm>
            <a:prstGeom prst="rect">
              <a:avLst/>
            </a:prstGeom>
            <a:solidFill>
              <a:schemeClr val="bg2">
                <a:alpha val="50000"/>
              </a:schemeClr>
            </a:solidFill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endParaRPr lang="en-US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90" name="Rectangle 89"/>
            <p:cNvSpPr/>
            <p:nvPr>
              <p:custDataLst>
                <p:tags r:id="rId34"/>
              </p:custDataLst>
            </p:nvPr>
          </p:nvSpPr>
          <p:spPr>
            <a:xfrm rot="16200000">
              <a:off x="699628" y="4850458"/>
              <a:ext cx="2309538" cy="441522"/>
            </a:xfrm>
            <a:prstGeom prst="rect">
              <a:avLst/>
            </a:prstGeom>
            <a:solidFill>
              <a:schemeClr val="bg2">
                <a:alpha val="50000"/>
              </a:schemeClr>
            </a:solidFill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endParaRPr lang="en-US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91" name="Rectangle 90"/>
            <p:cNvSpPr/>
            <p:nvPr>
              <p:custDataLst>
                <p:tags r:id="rId35"/>
              </p:custDataLst>
            </p:nvPr>
          </p:nvSpPr>
          <p:spPr>
            <a:xfrm rot="16200000">
              <a:off x="72286" y="4841620"/>
              <a:ext cx="2309538" cy="441522"/>
            </a:xfrm>
            <a:prstGeom prst="rect">
              <a:avLst/>
            </a:prstGeom>
            <a:solidFill>
              <a:schemeClr val="bg2">
                <a:alpha val="50000"/>
              </a:schemeClr>
            </a:solidFill>
            <a:ln w="12700" cap="rnd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anchor="ctr"/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  <a:defRPr/>
              </a:pPr>
              <a:r>
                <a:rPr lang="en-US" sz="1400" b="1" smtClean="0">
                  <a:solidFill>
                    <a:schemeClr val="bg1"/>
                  </a:solidFill>
                  <a:cs typeface="Arial" pitchFamily="34" charset="0"/>
                </a:rPr>
                <a:t> </a:t>
              </a:r>
              <a:endParaRPr lang="en-US" sz="1400" b="1">
                <a:solidFill>
                  <a:schemeClr val="bg1"/>
                </a:solidFill>
                <a:cs typeface="Arial" pitchFamily="34" charset="0"/>
              </a:endParaRPr>
            </a:p>
          </p:txBody>
        </p:sp>
      </p:grpSp>
      <p:sp>
        <p:nvSpPr>
          <p:cNvPr id="92" name="Rectangle 91"/>
          <p:cNvSpPr/>
          <p:nvPr>
            <p:custDataLst>
              <p:tags r:id="rId19"/>
            </p:custDataLst>
          </p:nvPr>
        </p:nvSpPr>
        <p:spPr bwMode="auto">
          <a:xfrm>
            <a:off x="2750568" y="5096147"/>
            <a:ext cx="1411941" cy="579175"/>
          </a:xfrm>
          <a:prstGeom prst="rect">
            <a:avLst/>
          </a:prstGeom>
          <a:noFill/>
          <a:ln w="127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en-US" sz="1400" b="1" dirty="0" smtClean="0">
                <a:solidFill>
                  <a:schemeClr val="tx1"/>
                </a:solidFill>
                <a:cs typeface="Arial" pitchFamily="34" charset="0"/>
              </a:rPr>
              <a:t>Service provider</a:t>
            </a: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9" name="Group 92"/>
          <p:cNvGrpSpPr/>
          <p:nvPr>
            <p:custDataLst>
              <p:tags r:id="rId20"/>
            </p:custDataLst>
          </p:nvPr>
        </p:nvGrpSpPr>
        <p:grpSpPr>
          <a:xfrm>
            <a:off x="3012663" y="4984338"/>
            <a:ext cx="953275" cy="171288"/>
            <a:chOff x="2673600" y="3767980"/>
            <a:chExt cx="953275" cy="404324"/>
          </a:xfrm>
        </p:grpSpPr>
        <p:cxnSp>
          <p:nvCxnSpPr>
            <p:cNvPr id="94" name="Straight Arrow Connector 93"/>
            <p:cNvCxnSpPr/>
            <p:nvPr>
              <p:custDataLst>
                <p:tags r:id="rId30"/>
              </p:custDataLst>
            </p:nvPr>
          </p:nvCxnSpPr>
          <p:spPr>
            <a:xfrm rot="16200000" flipH="1">
              <a:off x="2936967" y="3971283"/>
              <a:ext cx="396472" cy="5569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Arrow Connector 94"/>
            <p:cNvCxnSpPr/>
            <p:nvPr>
              <p:custDataLst>
                <p:tags r:id="rId31"/>
              </p:custDataLst>
            </p:nvPr>
          </p:nvCxnSpPr>
          <p:spPr>
            <a:xfrm rot="16200000" flipH="1">
              <a:off x="3425298" y="3962875"/>
              <a:ext cx="396472" cy="6682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95"/>
            <p:cNvCxnSpPr/>
            <p:nvPr>
              <p:custDataLst>
                <p:tags r:id="rId32"/>
              </p:custDataLst>
            </p:nvPr>
          </p:nvCxnSpPr>
          <p:spPr>
            <a:xfrm rot="16200000" flipH="1">
              <a:off x="2478705" y="3962875"/>
              <a:ext cx="396472" cy="6682"/>
            </a:xfrm>
            <a:prstGeom prst="straightConnector1">
              <a:avLst/>
            </a:prstGeom>
            <a:ln w="12700" cap="rnd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Picture 4" descr="BMW traffic management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2828538" y="2780928"/>
            <a:ext cx="327154" cy="280728"/>
          </a:xfrm>
          <a:prstGeom prst="rect">
            <a:avLst/>
          </a:prstGeom>
          <a:noFill/>
        </p:spPr>
      </p:pic>
      <p:pic>
        <p:nvPicPr>
          <p:cNvPr id="60" name="Picture 4" descr="BMW traffic management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5263566" y="2958695"/>
            <a:ext cx="1096549" cy="641447"/>
          </a:xfrm>
          <a:prstGeom prst="rect">
            <a:avLst/>
          </a:prstGeom>
          <a:noFill/>
        </p:spPr>
      </p:pic>
      <p:pic>
        <p:nvPicPr>
          <p:cNvPr id="64" name="Picture 4" descr="BMW traffic management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3281194" y="2783200"/>
            <a:ext cx="327154" cy="280728"/>
          </a:xfrm>
          <a:prstGeom prst="rect">
            <a:avLst/>
          </a:prstGeom>
          <a:noFill/>
        </p:spPr>
      </p:pic>
      <p:pic>
        <p:nvPicPr>
          <p:cNvPr id="68" name="Picture 4" descr="BMW traffic management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3747498" y="2799120"/>
            <a:ext cx="327154" cy="280728"/>
          </a:xfrm>
          <a:prstGeom prst="rect">
            <a:avLst/>
          </a:prstGeom>
          <a:noFill/>
        </p:spPr>
      </p:pic>
      <p:sp>
        <p:nvSpPr>
          <p:cNvPr id="57" name="TextBox 56"/>
          <p:cNvSpPr txBox="1"/>
          <p:nvPr>
            <p:custDataLst>
              <p:tags r:id="rId25"/>
            </p:custDataLst>
          </p:nvPr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latin typeface="Arial"/>
                <a:cs typeface="Arial"/>
              </a:rPr>
              <a:t>Success factors: Future business models</a:t>
            </a:r>
          </a:p>
        </p:txBody>
      </p:sp>
      <p:sp>
        <p:nvSpPr>
          <p:cNvPr id="69" name="Rectangle 68"/>
          <p:cNvSpPr/>
          <p:nvPr>
            <p:custDataLst>
              <p:tags r:id="rId26"/>
            </p:custDataLst>
          </p:nvPr>
        </p:nvSpPr>
        <p:spPr>
          <a:xfrm>
            <a:off x="244475" y="2097088"/>
            <a:ext cx="3973513" cy="5355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ctual:</a:t>
            </a:r>
            <a:b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ingle technical solutions</a:t>
            </a:r>
          </a:p>
        </p:txBody>
      </p:sp>
      <p:sp>
        <p:nvSpPr>
          <p:cNvPr id="71" name="Rectangle 70"/>
          <p:cNvSpPr/>
          <p:nvPr>
            <p:custDataLst>
              <p:tags r:id="rId27"/>
            </p:custDataLst>
          </p:nvPr>
        </p:nvSpPr>
        <p:spPr>
          <a:xfrm>
            <a:off x="4919662" y="2097088"/>
            <a:ext cx="3973513" cy="53553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uture:</a:t>
            </a:r>
            <a:b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ustomer oriented solutions</a:t>
            </a:r>
          </a:p>
        </p:txBody>
      </p:sp>
      <p:sp>
        <p:nvSpPr>
          <p:cNvPr id="76" name="Rectangle 75"/>
          <p:cNvSpPr/>
          <p:nvPr/>
        </p:nvSpPr>
        <p:spPr>
          <a:xfrm>
            <a:off x="5340244" y="6021287"/>
            <a:ext cx="3132348" cy="521555"/>
          </a:xfrm>
          <a:prstGeom prst="rect">
            <a:avLst/>
          </a:prstGeom>
          <a:solidFill>
            <a:schemeClr val="bg2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ustomer-oriented services provided by collaborative suppliers</a:t>
            </a:r>
          </a:p>
        </p:txBody>
      </p:sp>
      <p:sp>
        <p:nvSpPr>
          <p:cNvPr id="77" name="Rectangle 76"/>
          <p:cNvSpPr/>
          <p:nvPr/>
        </p:nvSpPr>
        <p:spPr>
          <a:xfrm>
            <a:off x="665057" y="6021287"/>
            <a:ext cx="3132348" cy="521555"/>
          </a:xfrm>
          <a:prstGeom prst="rect">
            <a:avLst/>
          </a:prstGeom>
          <a:solidFill>
            <a:schemeClr val="bg2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ingle technical solutions integrated by OEMs</a:t>
            </a:r>
          </a:p>
        </p:txBody>
      </p:sp>
      <p:sp>
        <p:nvSpPr>
          <p:cNvPr id="78" name="AutoShape 3"/>
          <p:cNvSpPr>
            <a:spLocks noChangeArrowheads="1"/>
          </p:cNvSpPr>
          <p:nvPr/>
        </p:nvSpPr>
        <p:spPr bwMode="auto">
          <a:xfrm rot="10800000">
            <a:off x="1120629" y="5778138"/>
            <a:ext cx="2221204" cy="2028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 anchor="ctr"/>
          <a:lstStyle/>
          <a:p>
            <a:pPr eaLnBrk="0" hangingPunct="0"/>
            <a:endParaRPr lang="en-US" b="1" dirty="0"/>
          </a:p>
        </p:txBody>
      </p:sp>
      <p:sp>
        <p:nvSpPr>
          <p:cNvPr id="79" name="AutoShape 3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 rot="10800000">
            <a:off x="5795817" y="5778138"/>
            <a:ext cx="2221204" cy="20287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 anchor="ctr"/>
          <a:lstStyle/>
          <a:p>
            <a:pPr eaLnBrk="0" hangingPunct="0"/>
            <a:endParaRPr lang="en-US" b="1" dirty="0"/>
          </a:p>
        </p:txBody>
      </p:sp>
      <p:sp>
        <p:nvSpPr>
          <p:cNvPr id="73" name="Rectangle 72"/>
          <p:cNvSpPr/>
          <p:nvPr>
            <p:custDataLst>
              <p:tags r:id="rId29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5778" name="think-cell Slide" r:id="rId6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German industry has a good starting position to play a major role in embedded systems</a:t>
            </a:r>
            <a:endParaRPr lang="en-US" dirty="0"/>
          </a:p>
        </p:txBody>
      </p:sp>
      <p:sp>
        <p:nvSpPr>
          <p:cNvPr id="3" name="TextBox 2"/>
          <p:cNvSpPr txBox="1"/>
          <p:nvPr>
            <p:custDataLst>
              <p:tags r:id="rId3"/>
            </p:custDataLst>
          </p:nvPr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latin typeface="Arial"/>
                <a:cs typeface="Arial"/>
              </a:rPr>
              <a:t>Value proposition for Germany</a:t>
            </a:r>
          </a:p>
        </p:txBody>
      </p:sp>
      <p:sp>
        <p:nvSpPr>
          <p:cNvPr id="22" name="Rectangle 21"/>
          <p:cNvSpPr/>
          <p:nvPr>
            <p:custDataLst>
              <p:tags r:id="rId4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44507" y="2097088"/>
            <a:ext cx="1087133" cy="100787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rong economic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331640" y="2097088"/>
            <a:ext cx="2886348" cy="1007876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rong economic growth in almost all industries</a:t>
            </a:r>
          </a:p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rong demand for automotive vehicle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50825" y="3429000"/>
            <a:ext cx="1087133" cy="100787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eading automotive OEM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337958" y="3429000"/>
            <a:ext cx="2886348" cy="1007876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ootprint of technology leading automotive OEMs (e.g. VW) with strong focus on innovation</a:t>
            </a:r>
            <a:b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endPara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50825" y="4797152"/>
            <a:ext cx="1087133" cy="100787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novative supplier busines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337958" y="4797152"/>
            <a:ext cx="2886348" cy="1007876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rong technology driven suppliers with strong R&amp;D capabilitie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919694" y="2780928"/>
            <a:ext cx="1087133" cy="100787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rong know-how in I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006827" y="2780928"/>
            <a:ext cx="2886348" cy="1007876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arge portfolio of innovative IT companies across Germany</a:t>
            </a:r>
          </a:p>
        </p:txBody>
      </p:sp>
      <p:sp>
        <p:nvSpPr>
          <p:cNvPr id="36" name="Rectangle 35"/>
          <p:cNvSpPr/>
          <p:nvPr/>
        </p:nvSpPr>
        <p:spPr>
          <a:xfrm>
            <a:off x="4927600" y="4149316"/>
            <a:ext cx="1087133" cy="100787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ell trained resource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014733" y="4149316"/>
            <a:ext cx="2886348" cy="1007876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rong network of universities and well-trained IT and automotive professionals</a:t>
            </a:r>
          </a:p>
        </p:txBody>
      </p:sp>
      <p:pic>
        <p:nvPicPr>
          <p:cNvPr id="40" name="Picture 1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930302" y="4033128"/>
            <a:ext cx="3714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" name="Picture 1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332720" y="4033128"/>
            <a:ext cx="3714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2" name="Picture 1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35138" y="4033128"/>
            <a:ext cx="37147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" name="Picture 17" descr="http://www.italia-oldtimer.com/images/mercedes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527883" y="4047500"/>
            <a:ext cx="473961" cy="34273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Cross-industry collaboration may tackle this issues and  drive innovation to successfully place new service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latin typeface="Arial"/>
                <a:cs typeface="Arial"/>
              </a:rPr>
              <a:t>Success factors: Cross-industry collaboration</a:t>
            </a:r>
            <a:br>
              <a:rPr lang="en-US" b="1" dirty="0" smtClean="0">
                <a:latin typeface="Arial"/>
                <a:cs typeface="Arial"/>
              </a:rPr>
            </a:br>
            <a:r>
              <a:rPr lang="en-US" sz="1600" dirty="0" smtClean="0">
                <a:latin typeface="Arial"/>
                <a:cs typeface="Arial"/>
              </a:rPr>
              <a:t>(Example: e-Mobility)</a:t>
            </a:r>
            <a:endParaRPr lang="en-US" dirty="0" smtClean="0">
              <a:latin typeface="Arial"/>
              <a:cs typeface="Arial"/>
            </a:endParaRPr>
          </a:p>
        </p:txBody>
      </p:sp>
      <p:pic>
        <p:nvPicPr>
          <p:cNvPr id="241668" name="Picture 4" descr="http://www.inova-online.de/inova/neu/logos/daimler-211.gif"/>
          <p:cNvPicPr>
            <a:picLocks noChangeAspect="1" noChangeArrowheads="1"/>
          </p:cNvPicPr>
          <p:nvPr/>
        </p:nvPicPr>
        <p:blipFill>
          <a:blip r:embed="rId4" cstate="print"/>
          <a:srcRect l="9341" t="34100" r="8438" b="37664"/>
          <a:stretch>
            <a:fillRect/>
          </a:stretch>
        </p:blipFill>
        <p:spPr bwMode="auto">
          <a:xfrm>
            <a:off x="6303981" y="3887116"/>
            <a:ext cx="2590750" cy="533809"/>
          </a:xfrm>
          <a:prstGeom prst="rect">
            <a:avLst/>
          </a:prstGeom>
          <a:noFill/>
        </p:spPr>
      </p:pic>
      <p:sp>
        <p:nvSpPr>
          <p:cNvPr id="10" name="Right Arrow 9"/>
          <p:cNvSpPr/>
          <p:nvPr/>
        </p:nvSpPr>
        <p:spPr>
          <a:xfrm>
            <a:off x="2843808" y="3727175"/>
            <a:ext cx="1080000" cy="9684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ch-</a:t>
            </a:r>
            <a:r>
              <a:rPr lang="en-US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ology</a:t>
            </a:r>
            <a:endParaRPr lang="en-US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 rot="10800000" flipV="1">
            <a:off x="5220192" y="3727176"/>
            <a:ext cx="1080000" cy="968400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ehicles</a:t>
            </a:r>
          </a:p>
        </p:txBody>
      </p:sp>
      <p:sp>
        <p:nvSpPr>
          <p:cNvPr id="12" name="Right Arrow 11"/>
          <p:cNvSpPr/>
          <p:nvPr/>
        </p:nvSpPr>
        <p:spPr>
          <a:xfrm rot="5400000">
            <a:off x="4140907" y="2763930"/>
            <a:ext cx="862183" cy="968186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frastr</a:t>
            </a: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400" b="1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20700" y="4505169"/>
            <a:ext cx="2372475" cy="100642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Technology driven </a:t>
            </a:r>
            <a:r>
              <a:rPr lang="en-US" sz="1400" dirty="0" err="1" smtClean="0">
                <a:latin typeface="Arial "/>
              </a:rPr>
              <a:t>eFleet</a:t>
            </a:r>
            <a:endParaRPr lang="en-US" sz="1400" dirty="0" smtClean="0">
              <a:latin typeface="Arial "/>
            </a:endParaRPr>
          </a:p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Leasing partner to customers</a:t>
            </a:r>
          </a:p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Technical service partne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31540" y="4505169"/>
            <a:ext cx="2372475" cy="139422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Strong expertise in network communication</a:t>
            </a:r>
          </a:p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Expert for software solutions for measurement services</a:t>
            </a:r>
          </a:p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endParaRPr lang="en-US" sz="1400" dirty="0" smtClean="0">
              <a:latin typeface="Arial 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11893" y="2155822"/>
            <a:ext cx="2372475" cy="120032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Broad power supply infrastructure</a:t>
            </a:r>
          </a:p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Large customer base</a:t>
            </a:r>
          </a:p>
          <a:p>
            <a:pPr marL="182563" indent="-18256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Experience in smart metering</a:t>
            </a:r>
          </a:p>
        </p:txBody>
      </p:sp>
      <p:sp>
        <p:nvSpPr>
          <p:cNvPr id="16" name="Oval 15"/>
          <p:cNvSpPr/>
          <p:nvPr/>
        </p:nvSpPr>
        <p:spPr>
          <a:xfrm>
            <a:off x="3878131" y="3681028"/>
            <a:ext cx="1387736" cy="984931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3152" rIns="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asing of </a:t>
            </a:r>
            <a:r>
              <a:rPr lang="en-US" sz="16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Vehicles</a:t>
            </a:r>
            <a:endParaRPr lang="en-US" sz="16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Isosceles Triangle 16"/>
          <p:cNvSpPr/>
          <p:nvPr/>
        </p:nvSpPr>
        <p:spPr>
          <a:xfrm rot="10800000">
            <a:off x="3752849" y="4725144"/>
            <a:ext cx="1638300" cy="221976"/>
          </a:xfrm>
          <a:prstGeom prst="triangle">
            <a:avLst/>
          </a:prstGeom>
          <a:solidFill>
            <a:schemeClr val="accent1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6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819398" y="4977172"/>
            <a:ext cx="3505202" cy="79238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mbedded software realizes metering, billing and telemetric services</a:t>
            </a:r>
          </a:p>
        </p:txBody>
      </p:sp>
      <p:pic>
        <p:nvPicPr>
          <p:cNvPr id="241673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73436" y="2081439"/>
            <a:ext cx="1382468" cy="677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1677" name="Picture 13" descr="Datei:Rohde &amp; Schwarz Logo.sv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1032" y="3802871"/>
            <a:ext cx="2475060" cy="702298"/>
          </a:xfrm>
          <a:prstGeom prst="rect">
            <a:avLst/>
          </a:prstGeom>
          <a:noFill/>
        </p:spPr>
      </p:pic>
      <p:sp>
        <p:nvSpPr>
          <p:cNvPr id="26" name="Rectangle 25"/>
          <p:cNvSpPr/>
          <p:nvPr>
            <p:custDataLst>
              <p:tags r:id="rId1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>
            <p:custDataLst>
              <p:tags r:id="rId2"/>
            </p:custDataLst>
          </p:nvPr>
        </p:nvSpPr>
        <p:spPr>
          <a:xfrm>
            <a:off x="248920" y="5872858"/>
            <a:ext cx="8648700" cy="652486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  <a:cs typeface="Arial"/>
              </a:rPr>
              <a:t>Through cross-industry collaboration new business fields and thereof new jobs will be developed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11" imgW="0" imgH="0" progId="">
              <p:embed/>
            </p:oleObj>
          </a:graphicData>
        </a:graphic>
      </p:graphicFrame>
      <p:sp>
        <p:nvSpPr>
          <p:cNvPr id="42" name="Rectangle 41"/>
          <p:cNvSpPr/>
          <p:nvPr>
            <p:custDataLst>
              <p:tags r:id="rId2"/>
            </p:custDataLst>
          </p:nvPr>
        </p:nvSpPr>
        <p:spPr>
          <a:xfrm>
            <a:off x="3275856" y="2096616"/>
            <a:ext cx="2563297" cy="417242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 "/>
              </a:rPr>
              <a:t>How will future ES</a:t>
            </a:r>
            <a:br>
              <a:rPr lang="en-US" sz="1400" b="1" dirty="0" smtClean="0">
                <a:solidFill>
                  <a:schemeClr val="tx1"/>
                </a:solidFill>
                <a:latin typeface="Arial "/>
              </a:rPr>
            </a:br>
            <a:r>
              <a:rPr lang="en-US" sz="1400" b="1" dirty="0" smtClean="0">
                <a:solidFill>
                  <a:schemeClr val="tx1"/>
                </a:solidFill>
                <a:latin typeface="Arial "/>
              </a:rPr>
              <a:t>change business models??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To make the growth of embedded systems a German success story, key questions need to be addressed</a:t>
            </a:r>
            <a:endParaRPr lang="en-US" dirty="0"/>
          </a:p>
        </p:txBody>
      </p:sp>
      <p:sp>
        <p:nvSpPr>
          <p:cNvPr id="7" name="TextBox 6"/>
          <p:cNvSpPr txBox="1"/>
          <p:nvPr>
            <p:custDataLst>
              <p:tags r:id="rId4"/>
            </p:custDataLst>
          </p:nvPr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b="1" dirty="0" smtClean="0">
                <a:latin typeface="Arial"/>
                <a:cs typeface="Arial"/>
              </a:rPr>
              <a:t>Key questions for success of embedded systems</a:t>
            </a:r>
          </a:p>
        </p:txBody>
      </p:sp>
      <p:sp>
        <p:nvSpPr>
          <p:cNvPr id="40" name="Rectangle 39"/>
          <p:cNvSpPr/>
          <p:nvPr>
            <p:custDataLst>
              <p:tags r:id="rId5"/>
            </p:custDataLst>
          </p:nvPr>
        </p:nvSpPr>
        <p:spPr>
          <a:xfrm>
            <a:off x="6262197" y="2096616"/>
            <a:ext cx="2563297" cy="417242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ow can Germany</a:t>
            </a:r>
            <a:b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ecome the major player for embedded systems?</a:t>
            </a:r>
          </a:p>
        </p:txBody>
      </p:sp>
      <p:grpSp>
        <p:nvGrpSpPr>
          <p:cNvPr id="38" name="Group 37"/>
          <p:cNvGrpSpPr/>
          <p:nvPr>
            <p:custDataLst>
              <p:tags r:id="rId6"/>
            </p:custDataLst>
          </p:nvPr>
        </p:nvGrpSpPr>
        <p:grpSpPr>
          <a:xfrm>
            <a:off x="7030649" y="2960949"/>
            <a:ext cx="1038762" cy="1389110"/>
            <a:chOff x="1012958" y="2960949"/>
            <a:chExt cx="1038762" cy="1389110"/>
          </a:xfrm>
        </p:grpSpPr>
        <p:grpSp>
          <p:nvGrpSpPr>
            <p:cNvPr id="8" name="Group 527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1012958" y="2960949"/>
              <a:ext cx="1038762" cy="1389110"/>
              <a:chOff x="450" y="665"/>
              <a:chExt cx="2499" cy="3380"/>
            </a:xfrm>
            <a:solidFill>
              <a:schemeClr val="accent4"/>
            </a:solidFill>
          </p:grpSpPr>
          <p:sp>
            <p:nvSpPr>
              <p:cNvPr id="9" name="Freeform 528"/>
              <p:cNvSpPr>
                <a:spLocks/>
              </p:cNvSpPr>
              <p:nvPr/>
            </p:nvSpPr>
            <p:spPr bwMode="auto">
              <a:xfrm>
                <a:off x="714" y="1167"/>
                <a:ext cx="1290" cy="1136"/>
              </a:xfrm>
              <a:custGeom>
                <a:avLst/>
                <a:gdLst>
                  <a:gd name="T0" fmla="*/ 18 w 6997"/>
                  <a:gd name="T1" fmla="*/ 6 h 6159"/>
                  <a:gd name="T2" fmla="*/ 16 w 6997"/>
                  <a:gd name="T3" fmla="*/ 7 h 6159"/>
                  <a:gd name="T4" fmla="*/ 15 w 6997"/>
                  <a:gd name="T5" fmla="*/ 4 h 6159"/>
                  <a:gd name="T6" fmla="*/ 15 w 6997"/>
                  <a:gd name="T7" fmla="*/ 6 h 6159"/>
                  <a:gd name="T8" fmla="*/ 14 w 6997"/>
                  <a:gd name="T9" fmla="*/ 7 h 6159"/>
                  <a:gd name="T10" fmla="*/ 13 w 6997"/>
                  <a:gd name="T11" fmla="*/ 6 h 6159"/>
                  <a:gd name="T12" fmla="*/ 12 w 6997"/>
                  <a:gd name="T13" fmla="*/ 3 h 6159"/>
                  <a:gd name="T14" fmla="*/ 8 w 6997"/>
                  <a:gd name="T15" fmla="*/ 3 h 6159"/>
                  <a:gd name="T16" fmla="*/ 4 w 6997"/>
                  <a:gd name="T17" fmla="*/ 4 h 6159"/>
                  <a:gd name="T18" fmla="*/ 3 w 6997"/>
                  <a:gd name="T19" fmla="*/ 6 h 6159"/>
                  <a:gd name="T20" fmla="*/ 5 w 6997"/>
                  <a:gd name="T21" fmla="*/ 9 h 6159"/>
                  <a:gd name="T22" fmla="*/ 5 w 6997"/>
                  <a:gd name="T23" fmla="*/ 13 h 6159"/>
                  <a:gd name="T24" fmla="*/ 3 w 6997"/>
                  <a:gd name="T25" fmla="*/ 18 h 6159"/>
                  <a:gd name="T26" fmla="*/ 1 w 6997"/>
                  <a:gd name="T27" fmla="*/ 18 h 6159"/>
                  <a:gd name="T28" fmla="*/ 0 w 6997"/>
                  <a:gd name="T29" fmla="*/ 20 h 6159"/>
                  <a:gd name="T30" fmla="*/ 3 w 6997"/>
                  <a:gd name="T31" fmla="*/ 21 h 6159"/>
                  <a:gd name="T32" fmla="*/ 3 w 6997"/>
                  <a:gd name="T33" fmla="*/ 24 h 6159"/>
                  <a:gd name="T34" fmla="*/ 7 w 6997"/>
                  <a:gd name="T35" fmla="*/ 23 h 6159"/>
                  <a:gd name="T36" fmla="*/ 8 w 6997"/>
                  <a:gd name="T37" fmla="*/ 21 h 6159"/>
                  <a:gd name="T38" fmla="*/ 11 w 6997"/>
                  <a:gd name="T39" fmla="*/ 22 h 6159"/>
                  <a:gd name="T40" fmla="*/ 11 w 6997"/>
                  <a:gd name="T41" fmla="*/ 24 h 6159"/>
                  <a:gd name="T42" fmla="*/ 11 w 6997"/>
                  <a:gd name="T43" fmla="*/ 26 h 6159"/>
                  <a:gd name="T44" fmla="*/ 11 w 6997"/>
                  <a:gd name="T45" fmla="*/ 27 h 6159"/>
                  <a:gd name="T46" fmla="*/ 14 w 6997"/>
                  <a:gd name="T47" fmla="*/ 26 h 6159"/>
                  <a:gd name="T48" fmla="*/ 16 w 6997"/>
                  <a:gd name="T49" fmla="*/ 25 h 6159"/>
                  <a:gd name="T50" fmla="*/ 15 w 6997"/>
                  <a:gd name="T51" fmla="*/ 23 h 6159"/>
                  <a:gd name="T52" fmla="*/ 16 w 6997"/>
                  <a:gd name="T53" fmla="*/ 21 h 6159"/>
                  <a:gd name="T54" fmla="*/ 18 w 6997"/>
                  <a:gd name="T55" fmla="*/ 21 h 6159"/>
                  <a:gd name="T56" fmla="*/ 20 w 6997"/>
                  <a:gd name="T57" fmla="*/ 22 h 6159"/>
                  <a:gd name="T58" fmla="*/ 22 w 6997"/>
                  <a:gd name="T59" fmla="*/ 21 h 6159"/>
                  <a:gd name="T60" fmla="*/ 21 w 6997"/>
                  <a:gd name="T61" fmla="*/ 24 h 6159"/>
                  <a:gd name="T62" fmla="*/ 21 w 6997"/>
                  <a:gd name="T63" fmla="*/ 25 h 6159"/>
                  <a:gd name="T64" fmla="*/ 22 w 6997"/>
                  <a:gd name="T65" fmla="*/ 26 h 6159"/>
                  <a:gd name="T66" fmla="*/ 23 w 6997"/>
                  <a:gd name="T67" fmla="*/ 29 h 6159"/>
                  <a:gd name="T68" fmla="*/ 25 w 6997"/>
                  <a:gd name="T69" fmla="*/ 30 h 6159"/>
                  <a:gd name="T70" fmla="*/ 25 w 6997"/>
                  <a:gd name="T71" fmla="*/ 34 h 6159"/>
                  <a:gd name="T72" fmla="*/ 26 w 6997"/>
                  <a:gd name="T73" fmla="*/ 35 h 6159"/>
                  <a:gd name="T74" fmla="*/ 25 w 6997"/>
                  <a:gd name="T75" fmla="*/ 38 h 6159"/>
                  <a:gd name="T76" fmla="*/ 27 w 6997"/>
                  <a:gd name="T77" fmla="*/ 37 h 6159"/>
                  <a:gd name="T78" fmla="*/ 29 w 6997"/>
                  <a:gd name="T79" fmla="*/ 37 h 6159"/>
                  <a:gd name="T80" fmla="*/ 31 w 6997"/>
                  <a:gd name="T81" fmla="*/ 36 h 6159"/>
                  <a:gd name="T82" fmla="*/ 33 w 6997"/>
                  <a:gd name="T83" fmla="*/ 34 h 6159"/>
                  <a:gd name="T84" fmla="*/ 36 w 6997"/>
                  <a:gd name="T85" fmla="*/ 34 h 6159"/>
                  <a:gd name="T86" fmla="*/ 35 w 6997"/>
                  <a:gd name="T87" fmla="*/ 30 h 6159"/>
                  <a:gd name="T88" fmla="*/ 38 w 6997"/>
                  <a:gd name="T89" fmla="*/ 27 h 6159"/>
                  <a:gd name="T90" fmla="*/ 39 w 6997"/>
                  <a:gd name="T91" fmla="*/ 26 h 6159"/>
                  <a:gd name="T92" fmla="*/ 39 w 6997"/>
                  <a:gd name="T93" fmla="*/ 24 h 6159"/>
                  <a:gd name="T94" fmla="*/ 38 w 6997"/>
                  <a:gd name="T95" fmla="*/ 22 h 6159"/>
                  <a:gd name="T96" fmla="*/ 39 w 6997"/>
                  <a:gd name="T97" fmla="*/ 19 h 6159"/>
                  <a:gd name="T98" fmla="*/ 36 w 6997"/>
                  <a:gd name="T99" fmla="*/ 16 h 6159"/>
                  <a:gd name="T100" fmla="*/ 40 w 6997"/>
                  <a:gd name="T101" fmla="*/ 15 h 6159"/>
                  <a:gd name="T102" fmla="*/ 43 w 6997"/>
                  <a:gd name="T103" fmla="*/ 14 h 6159"/>
                  <a:gd name="T104" fmla="*/ 43 w 6997"/>
                  <a:gd name="T105" fmla="*/ 12 h 6159"/>
                  <a:gd name="T106" fmla="*/ 41 w 6997"/>
                  <a:gd name="T107" fmla="*/ 11 h 6159"/>
                  <a:gd name="T108" fmla="*/ 39 w 6997"/>
                  <a:gd name="T109" fmla="*/ 11 h 6159"/>
                  <a:gd name="T110" fmla="*/ 36 w 6997"/>
                  <a:gd name="T111" fmla="*/ 9 h 6159"/>
                  <a:gd name="T112" fmla="*/ 34 w 6997"/>
                  <a:gd name="T113" fmla="*/ 8 h 6159"/>
                  <a:gd name="T114" fmla="*/ 30 w 6997"/>
                  <a:gd name="T115" fmla="*/ 7 h 6159"/>
                  <a:gd name="T116" fmla="*/ 28 w 6997"/>
                  <a:gd name="T117" fmla="*/ 7 h 6159"/>
                  <a:gd name="T118" fmla="*/ 25 w 6997"/>
                  <a:gd name="T119" fmla="*/ 3 h 6159"/>
                  <a:gd name="T120" fmla="*/ 22 w 6997"/>
                  <a:gd name="T121" fmla="*/ 0 h 6159"/>
                  <a:gd name="T122" fmla="*/ 18 w 6997"/>
                  <a:gd name="T123" fmla="*/ 0 h 6159"/>
                  <a:gd name="T124" fmla="*/ 17 w 6997"/>
                  <a:gd name="T125" fmla="*/ 4 h 615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997"/>
                  <a:gd name="T190" fmla="*/ 0 h 6159"/>
                  <a:gd name="T191" fmla="*/ 6997 w 6997"/>
                  <a:gd name="T192" fmla="*/ 6159 h 615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997" h="6159">
                    <a:moveTo>
                      <a:pt x="2674" y="629"/>
                    </a:moveTo>
                    <a:lnTo>
                      <a:pt x="2683" y="637"/>
                    </a:lnTo>
                    <a:lnTo>
                      <a:pt x="2692" y="642"/>
                    </a:lnTo>
                    <a:lnTo>
                      <a:pt x="2701" y="648"/>
                    </a:lnTo>
                    <a:lnTo>
                      <a:pt x="2711" y="653"/>
                    </a:lnTo>
                    <a:lnTo>
                      <a:pt x="2720" y="657"/>
                    </a:lnTo>
                    <a:lnTo>
                      <a:pt x="2729" y="661"/>
                    </a:lnTo>
                    <a:lnTo>
                      <a:pt x="2739" y="663"/>
                    </a:lnTo>
                    <a:lnTo>
                      <a:pt x="2750" y="665"/>
                    </a:lnTo>
                    <a:lnTo>
                      <a:pt x="2770" y="669"/>
                    </a:lnTo>
                    <a:lnTo>
                      <a:pt x="2792" y="670"/>
                    </a:lnTo>
                    <a:lnTo>
                      <a:pt x="2815" y="671"/>
                    </a:lnTo>
                    <a:lnTo>
                      <a:pt x="2840" y="671"/>
                    </a:lnTo>
                    <a:lnTo>
                      <a:pt x="2841" y="684"/>
                    </a:lnTo>
                    <a:lnTo>
                      <a:pt x="2842" y="695"/>
                    </a:lnTo>
                    <a:lnTo>
                      <a:pt x="2844" y="707"/>
                    </a:lnTo>
                    <a:lnTo>
                      <a:pt x="2846" y="717"/>
                    </a:lnTo>
                    <a:lnTo>
                      <a:pt x="2852" y="736"/>
                    </a:lnTo>
                    <a:lnTo>
                      <a:pt x="2858" y="755"/>
                    </a:lnTo>
                    <a:lnTo>
                      <a:pt x="2864" y="774"/>
                    </a:lnTo>
                    <a:lnTo>
                      <a:pt x="2870" y="795"/>
                    </a:lnTo>
                    <a:lnTo>
                      <a:pt x="2872" y="806"/>
                    </a:lnTo>
                    <a:lnTo>
                      <a:pt x="2873" y="818"/>
                    </a:lnTo>
                    <a:lnTo>
                      <a:pt x="2875" y="830"/>
                    </a:lnTo>
                    <a:lnTo>
                      <a:pt x="2876" y="845"/>
                    </a:lnTo>
                    <a:lnTo>
                      <a:pt x="2876" y="857"/>
                    </a:lnTo>
                    <a:lnTo>
                      <a:pt x="2875" y="869"/>
                    </a:lnTo>
                    <a:lnTo>
                      <a:pt x="2873" y="880"/>
                    </a:lnTo>
                    <a:lnTo>
                      <a:pt x="2871" y="889"/>
                    </a:lnTo>
                    <a:lnTo>
                      <a:pt x="2869" y="898"/>
                    </a:lnTo>
                    <a:lnTo>
                      <a:pt x="2865" y="906"/>
                    </a:lnTo>
                    <a:lnTo>
                      <a:pt x="2862" y="913"/>
                    </a:lnTo>
                    <a:lnTo>
                      <a:pt x="2858" y="919"/>
                    </a:lnTo>
                    <a:lnTo>
                      <a:pt x="2853" y="925"/>
                    </a:lnTo>
                    <a:lnTo>
                      <a:pt x="2847" y="928"/>
                    </a:lnTo>
                    <a:lnTo>
                      <a:pt x="2841" y="931"/>
                    </a:lnTo>
                    <a:lnTo>
                      <a:pt x="2834" y="934"/>
                    </a:lnTo>
                    <a:lnTo>
                      <a:pt x="2826" y="936"/>
                    </a:lnTo>
                    <a:lnTo>
                      <a:pt x="2818" y="936"/>
                    </a:lnTo>
                    <a:lnTo>
                      <a:pt x="2809" y="936"/>
                    </a:lnTo>
                    <a:lnTo>
                      <a:pt x="2799" y="935"/>
                    </a:lnTo>
                    <a:lnTo>
                      <a:pt x="2795" y="934"/>
                    </a:lnTo>
                    <a:lnTo>
                      <a:pt x="2791" y="930"/>
                    </a:lnTo>
                    <a:lnTo>
                      <a:pt x="2786" y="925"/>
                    </a:lnTo>
                    <a:lnTo>
                      <a:pt x="2779" y="918"/>
                    </a:lnTo>
                    <a:lnTo>
                      <a:pt x="2772" y="907"/>
                    </a:lnTo>
                    <a:lnTo>
                      <a:pt x="2766" y="897"/>
                    </a:lnTo>
                    <a:lnTo>
                      <a:pt x="2758" y="886"/>
                    </a:lnTo>
                    <a:lnTo>
                      <a:pt x="2750" y="873"/>
                    </a:lnTo>
                    <a:lnTo>
                      <a:pt x="2746" y="880"/>
                    </a:lnTo>
                    <a:lnTo>
                      <a:pt x="2742" y="887"/>
                    </a:lnTo>
                    <a:lnTo>
                      <a:pt x="2736" y="894"/>
                    </a:lnTo>
                    <a:lnTo>
                      <a:pt x="2730" y="899"/>
                    </a:lnTo>
                    <a:lnTo>
                      <a:pt x="2719" y="911"/>
                    </a:lnTo>
                    <a:lnTo>
                      <a:pt x="2706" y="921"/>
                    </a:lnTo>
                    <a:lnTo>
                      <a:pt x="2693" y="930"/>
                    </a:lnTo>
                    <a:lnTo>
                      <a:pt x="2682" y="941"/>
                    </a:lnTo>
                    <a:lnTo>
                      <a:pt x="2677" y="945"/>
                    </a:lnTo>
                    <a:lnTo>
                      <a:pt x="2673" y="951"/>
                    </a:lnTo>
                    <a:lnTo>
                      <a:pt x="2669" y="957"/>
                    </a:lnTo>
                    <a:lnTo>
                      <a:pt x="2667" y="964"/>
                    </a:lnTo>
                    <a:lnTo>
                      <a:pt x="2657" y="993"/>
                    </a:lnTo>
                    <a:lnTo>
                      <a:pt x="2649" y="1027"/>
                    </a:lnTo>
                    <a:lnTo>
                      <a:pt x="2641" y="1058"/>
                    </a:lnTo>
                    <a:lnTo>
                      <a:pt x="2635" y="1086"/>
                    </a:lnTo>
                    <a:lnTo>
                      <a:pt x="2630" y="1108"/>
                    </a:lnTo>
                    <a:lnTo>
                      <a:pt x="2627" y="1121"/>
                    </a:lnTo>
                    <a:lnTo>
                      <a:pt x="2627" y="1123"/>
                    </a:lnTo>
                    <a:lnTo>
                      <a:pt x="2626" y="1123"/>
                    </a:lnTo>
                    <a:lnTo>
                      <a:pt x="2626" y="1122"/>
                    </a:lnTo>
                    <a:lnTo>
                      <a:pt x="2625" y="1118"/>
                    </a:lnTo>
                    <a:lnTo>
                      <a:pt x="2625" y="1109"/>
                    </a:lnTo>
                    <a:lnTo>
                      <a:pt x="2625" y="1086"/>
                    </a:lnTo>
                    <a:lnTo>
                      <a:pt x="2627" y="1064"/>
                    </a:lnTo>
                    <a:lnTo>
                      <a:pt x="2628" y="1044"/>
                    </a:lnTo>
                    <a:lnTo>
                      <a:pt x="2631" y="1024"/>
                    </a:lnTo>
                    <a:lnTo>
                      <a:pt x="2635" y="1005"/>
                    </a:lnTo>
                    <a:lnTo>
                      <a:pt x="2639" y="986"/>
                    </a:lnTo>
                    <a:lnTo>
                      <a:pt x="2644" y="969"/>
                    </a:lnTo>
                    <a:lnTo>
                      <a:pt x="2650" y="953"/>
                    </a:lnTo>
                    <a:lnTo>
                      <a:pt x="2657" y="937"/>
                    </a:lnTo>
                    <a:lnTo>
                      <a:pt x="2664" y="921"/>
                    </a:lnTo>
                    <a:lnTo>
                      <a:pt x="2672" y="906"/>
                    </a:lnTo>
                    <a:lnTo>
                      <a:pt x="2681" y="892"/>
                    </a:lnTo>
                    <a:lnTo>
                      <a:pt x="2690" y="878"/>
                    </a:lnTo>
                    <a:lnTo>
                      <a:pt x="2700" y="865"/>
                    </a:lnTo>
                    <a:lnTo>
                      <a:pt x="2711" y="851"/>
                    </a:lnTo>
                    <a:lnTo>
                      <a:pt x="2722" y="837"/>
                    </a:lnTo>
                    <a:lnTo>
                      <a:pt x="2708" y="828"/>
                    </a:lnTo>
                    <a:lnTo>
                      <a:pt x="2693" y="820"/>
                    </a:lnTo>
                    <a:lnTo>
                      <a:pt x="2680" y="813"/>
                    </a:lnTo>
                    <a:lnTo>
                      <a:pt x="2665" y="806"/>
                    </a:lnTo>
                    <a:lnTo>
                      <a:pt x="2636" y="797"/>
                    </a:lnTo>
                    <a:lnTo>
                      <a:pt x="2607" y="788"/>
                    </a:lnTo>
                    <a:lnTo>
                      <a:pt x="2579" y="779"/>
                    </a:lnTo>
                    <a:lnTo>
                      <a:pt x="2550" y="769"/>
                    </a:lnTo>
                    <a:lnTo>
                      <a:pt x="2535" y="762"/>
                    </a:lnTo>
                    <a:lnTo>
                      <a:pt x="2521" y="754"/>
                    </a:lnTo>
                    <a:lnTo>
                      <a:pt x="2506" y="744"/>
                    </a:lnTo>
                    <a:lnTo>
                      <a:pt x="2493" y="733"/>
                    </a:lnTo>
                    <a:lnTo>
                      <a:pt x="2486" y="730"/>
                    </a:lnTo>
                    <a:lnTo>
                      <a:pt x="2481" y="724"/>
                    </a:lnTo>
                    <a:lnTo>
                      <a:pt x="2477" y="718"/>
                    </a:lnTo>
                    <a:lnTo>
                      <a:pt x="2472" y="711"/>
                    </a:lnTo>
                    <a:lnTo>
                      <a:pt x="2465" y="697"/>
                    </a:lnTo>
                    <a:lnTo>
                      <a:pt x="2457" y="683"/>
                    </a:lnTo>
                    <a:lnTo>
                      <a:pt x="2454" y="676"/>
                    </a:lnTo>
                    <a:lnTo>
                      <a:pt x="2449" y="669"/>
                    </a:lnTo>
                    <a:lnTo>
                      <a:pt x="2443" y="663"/>
                    </a:lnTo>
                    <a:lnTo>
                      <a:pt x="2438" y="657"/>
                    </a:lnTo>
                    <a:lnTo>
                      <a:pt x="2431" y="652"/>
                    </a:lnTo>
                    <a:lnTo>
                      <a:pt x="2423" y="648"/>
                    </a:lnTo>
                    <a:lnTo>
                      <a:pt x="2412" y="645"/>
                    </a:lnTo>
                    <a:lnTo>
                      <a:pt x="2402" y="642"/>
                    </a:lnTo>
                    <a:lnTo>
                      <a:pt x="2392" y="644"/>
                    </a:lnTo>
                    <a:lnTo>
                      <a:pt x="2381" y="646"/>
                    </a:lnTo>
                    <a:lnTo>
                      <a:pt x="2372" y="649"/>
                    </a:lnTo>
                    <a:lnTo>
                      <a:pt x="2363" y="655"/>
                    </a:lnTo>
                    <a:lnTo>
                      <a:pt x="2354" y="661"/>
                    </a:lnTo>
                    <a:lnTo>
                      <a:pt x="2346" y="669"/>
                    </a:lnTo>
                    <a:lnTo>
                      <a:pt x="2338" y="677"/>
                    </a:lnTo>
                    <a:lnTo>
                      <a:pt x="2331" y="686"/>
                    </a:lnTo>
                    <a:lnTo>
                      <a:pt x="2325" y="695"/>
                    </a:lnTo>
                    <a:lnTo>
                      <a:pt x="2318" y="705"/>
                    </a:lnTo>
                    <a:lnTo>
                      <a:pt x="2314" y="717"/>
                    </a:lnTo>
                    <a:lnTo>
                      <a:pt x="2309" y="728"/>
                    </a:lnTo>
                    <a:lnTo>
                      <a:pt x="2305" y="740"/>
                    </a:lnTo>
                    <a:lnTo>
                      <a:pt x="2301" y="751"/>
                    </a:lnTo>
                    <a:lnTo>
                      <a:pt x="2299" y="763"/>
                    </a:lnTo>
                    <a:lnTo>
                      <a:pt x="2298" y="775"/>
                    </a:lnTo>
                    <a:lnTo>
                      <a:pt x="2298" y="790"/>
                    </a:lnTo>
                    <a:lnTo>
                      <a:pt x="2300" y="808"/>
                    </a:lnTo>
                    <a:lnTo>
                      <a:pt x="2304" y="826"/>
                    </a:lnTo>
                    <a:lnTo>
                      <a:pt x="2308" y="844"/>
                    </a:lnTo>
                    <a:lnTo>
                      <a:pt x="2310" y="852"/>
                    </a:lnTo>
                    <a:lnTo>
                      <a:pt x="2314" y="860"/>
                    </a:lnTo>
                    <a:lnTo>
                      <a:pt x="2317" y="868"/>
                    </a:lnTo>
                    <a:lnTo>
                      <a:pt x="2321" y="874"/>
                    </a:lnTo>
                    <a:lnTo>
                      <a:pt x="2325" y="880"/>
                    </a:lnTo>
                    <a:lnTo>
                      <a:pt x="2330" y="883"/>
                    </a:lnTo>
                    <a:lnTo>
                      <a:pt x="2334" y="886"/>
                    </a:lnTo>
                    <a:lnTo>
                      <a:pt x="2339" y="887"/>
                    </a:lnTo>
                    <a:lnTo>
                      <a:pt x="2349" y="886"/>
                    </a:lnTo>
                    <a:lnTo>
                      <a:pt x="2360" y="883"/>
                    </a:lnTo>
                    <a:lnTo>
                      <a:pt x="2369" y="880"/>
                    </a:lnTo>
                    <a:lnTo>
                      <a:pt x="2380" y="876"/>
                    </a:lnTo>
                    <a:lnTo>
                      <a:pt x="2386" y="875"/>
                    </a:lnTo>
                    <a:lnTo>
                      <a:pt x="2392" y="874"/>
                    </a:lnTo>
                    <a:lnTo>
                      <a:pt x="2398" y="874"/>
                    </a:lnTo>
                    <a:lnTo>
                      <a:pt x="2404" y="875"/>
                    </a:lnTo>
                    <a:lnTo>
                      <a:pt x="2412" y="876"/>
                    </a:lnTo>
                    <a:lnTo>
                      <a:pt x="2419" y="879"/>
                    </a:lnTo>
                    <a:lnTo>
                      <a:pt x="2427" y="882"/>
                    </a:lnTo>
                    <a:lnTo>
                      <a:pt x="2437" y="887"/>
                    </a:lnTo>
                    <a:lnTo>
                      <a:pt x="2434" y="902"/>
                    </a:lnTo>
                    <a:lnTo>
                      <a:pt x="2431" y="920"/>
                    </a:lnTo>
                    <a:lnTo>
                      <a:pt x="2426" y="938"/>
                    </a:lnTo>
                    <a:lnTo>
                      <a:pt x="2420" y="958"/>
                    </a:lnTo>
                    <a:lnTo>
                      <a:pt x="2412" y="978"/>
                    </a:lnTo>
                    <a:lnTo>
                      <a:pt x="2404" y="999"/>
                    </a:lnTo>
                    <a:lnTo>
                      <a:pt x="2394" y="1021"/>
                    </a:lnTo>
                    <a:lnTo>
                      <a:pt x="2383" y="1040"/>
                    </a:lnTo>
                    <a:lnTo>
                      <a:pt x="2370" y="1060"/>
                    </a:lnTo>
                    <a:lnTo>
                      <a:pt x="2357" y="1078"/>
                    </a:lnTo>
                    <a:lnTo>
                      <a:pt x="2343" y="1094"/>
                    </a:lnTo>
                    <a:lnTo>
                      <a:pt x="2326" y="1109"/>
                    </a:lnTo>
                    <a:lnTo>
                      <a:pt x="2318" y="1115"/>
                    </a:lnTo>
                    <a:lnTo>
                      <a:pt x="2310" y="1121"/>
                    </a:lnTo>
                    <a:lnTo>
                      <a:pt x="2302" y="1125"/>
                    </a:lnTo>
                    <a:lnTo>
                      <a:pt x="2293" y="1130"/>
                    </a:lnTo>
                    <a:lnTo>
                      <a:pt x="2284" y="1133"/>
                    </a:lnTo>
                    <a:lnTo>
                      <a:pt x="2275" y="1136"/>
                    </a:lnTo>
                    <a:lnTo>
                      <a:pt x="2266" y="1137"/>
                    </a:lnTo>
                    <a:lnTo>
                      <a:pt x="2255" y="1138"/>
                    </a:lnTo>
                    <a:lnTo>
                      <a:pt x="2246" y="1137"/>
                    </a:lnTo>
                    <a:lnTo>
                      <a:pt x="2238" y="1134"/>
                    </a:lnTo>
                    <a:lnTo>
                      <a:pt x="2230" y="1132"/>
                    </a:lnTo>
                    <a:lnTo>
                      <a:pt x="2222" y="1128"/>
                    </a:lnTo>
                    <a:lnTo>
                      <a:pt x="2214" y="1123"/>
                    </a:lnTo>
                    <a:lnTo>
                      <a:pt x="2207" y="1117"/>
                    </a:lnTo>
                    <a:lnTo>
                      <a:pt x="2201" y="1110"/>
                    </a:lnTo>
                    <a:lnTo>
                      <a:pt x="2196" y="1103"/>
                    </a:lnTo>
                    <a:lnTo>
                      <a:pt x="2190" y="1095"/>
                    </a:lnTo>
                    <a:lnTo>
                      <a:pt x="2185" y="1087"/>
                    </a:lnTo>
                    <a:lnTo>
                      <a:pt x="2182" y="1078"/>
                    </a:lnTo>
                    <a:lnTo>
                      <a:pt x="2179" y="1070"/>
                    </a:lnTo>
                    <a:lnTo>
                      <a:pt x="2175" y="1061"/>
                    </a:lnTo>
                    <a:lnTo>
                      <a:pt x="2174" y="1052"/>
                    </a:lnTo>
                    <a:lnTo>
                      <a:pt x="2173" y="1043"/>
                    </a:lnTo>
                    <a:lnTo>
                      <a:pt x="2172" y="1032"/>
                    </a:lnTo>
                    <a:lnTo>
                      <a:pt x="2169" y="1033"/>
                    </a:lnTo>
                    <a:lnTo>
                      <a:pt x="2167" y="1036"/>
                    </a:lnTo>
                    <a:lnTo>
                      <a:pt x="2165" y="1039"/>
                    </a:lnTo>
                    <a:lnTo>
                      <a:pt x="2161" y="1044"/>
                    </a:lnTo>
                    <a:lnTo>
                      <a:pt x="2159" y="1047"/>
                    </a:lnTo>
                    <a:lnTo>
                      <a:pt x="2157" y="1051"/>
                    </a:lnTo>
                    <a:lnTo>
                      <a:pt x="2153" y="1053"/>
                    </a:lnTo>
                    <a:lnTo>
                      <a:pt x="2151" y="1054"/>
                    </a:lnTo>
                    <a:lnTo>
                      <a:pt x="2141" y="1052"/>
                    </a:lnTo>
                    <a:lnTo>
                      <a:pt x="2130" y="1050"/>
                    </a:lnTo>
                    <a:lnTo>
                      <a:pt x="2121" y="1046"/>
                    </a:lnTo>
                    <a:lnTo>
                      <a:pt x="2111" y="1043"/>
                    </a:lnTo>
                    <a:lnTo>
                      <a:pt x="2102" y="1037"/>
                    </a:lnTo>
                    <a:lnTo>
                      <a:pt x="2094" y="1031"/>
                    </a:lnTo>
                    <a:lnTo>
                      <a:pt x="2086" y="1025"/>
                    </a:lnTo>
                    <a:lnTo>
                      <a:pt x="2078" y="1019"/>
                    </a:lnTo>
                    <a:lnTo>
                      <a:pt x="2071" y="1011"/>
                    </a:lnTo>
                    <a:lnTo>
                      <a:pt x="2065" y="1001"/>
                    </a:lnTo>
                    <a:lnTo>
                      <a:pt x="2059" y="992"/>
                    </a:lnTo>
                    <a:lnTo>
                      <a:pt x="2055" y="982"/>
                    </a:lnTo>
                    <a:lnTo>
                      <a:pt x="2051" y="972"/>
                    </a:lnTo>
                    <a:lnTo>
                      <a:pt x="2049" y="960"/>
                    </a:lnTo>
                    <a:lnTo>
                      <a:pt x="2048" y="949"/>
                    </a:lnTo>
                    <a:lnTo>
                      <a:pt x="2047" y="935"/>
                    </a:lnTo>
                    <a:lnTo>
                      <a:pt x="2048" y="930"/>
                    </a:lnTo>
                    <a:lnTo>
                      <a:pt x="2049" y="925"/>
                    </a:lnTo>
                    <a:lnTo>
                      <a:pt x="2051" y="920"/>
                    </a:lnTo>
                    <a:lnTo>
                      <a:pt x="2055" y="915"/>
                    </a:lnTo>
                    <a:lnTo>
                      <a:pt x="2060" y="907"/>
                    </a:lnTo>
                    <a:lnTo>
                      <a:pt x="2070" y="899"/>
                    </a:lnTo>
                    <a:lnTo>
                      <a:pt x="2090" y="887"/>
                    </a:lnTo>
                    <a:lnTo>
                      <a:pt x="2114" y="874"/>
                    </a:lnTo>
                    <a:lnTo>
                      <a:pt x="2126" y="866"/>
                    </a:lnTo>
                    <a:lnTo>
                      <a:pt x="2137" y="858"/>
                    </a:lnTo>
                    <a:lnTo>
                      <a:pt x="2149" y="849"/>
                    </a:lnTo>
                    <a:lnTo>
                      <a:pt x="2159" y="839"/>
                    </a:lnTo>
                    <a:lnTo>
                      <a:pt x="2164" y="833"/>
                    </a:lnTo>
                    <a:lnTo>
                      <a:pt x="2168" y="826"/>
                    </a:lnTo>
                    <a:lnTo>
                      <a:pt x="2173" y="819"/>
                    </a:lnTo>
                    <a:lnTo>
                      <a:pt x="2176" y="811"/>
                    </a:lnTo>
                    <a:lnTo>
                      <a:pt x="2180" y="803"/>
                    </a:lnTo>
                    <a:lnTo>
                      <a:pt x="2182" y="795"/>
                    </a:lnTo>
                    <a:lnTo>
                      <a:pt x="2184" y="786"/>
                    </a:lnTo>
                    <a:lnTo>
                      <a:pt x="2187" y="775"/>
                    </a:lnTo>
                    <a:lnTo>
                      <a:pt x="2179" y="772"/>
                    </a:lnTo>
                    <a:lnTo>
                      <a:pt x="2171" y="769"/>
                    </a:lnTo>
                    <a:lnTo>
                      <a:pt x="2164" y="763"/>
                    </a:lnTo>
                    <a:lnTo>
                      <a:pt x="2156" y="757"/>
                    </a:lnTo>
                    <a:lnTo>
                      <a:pt x="2138" y="743"/>
                    </a:lnTo>
                    <a:lnTo>
                      <a:pt x="2121" y="726"/>
                    </a:lnTo>
                    <a:lnTo>
                      <a:pt x="2104" y="705"/>
                    </a:lnTo>
                    <a:lnTo>
                      <a:pt x="2087" y="684"/>
                    </a:lnTo>
                    <a:lnTo>
                      <a:pt x="2070" y="660"/>
                    </a:lnTo>
                    <a:lnTo>
                      <a:pt x="2054" y="634"/>
                    </a:lnTo>
                    <a:lnTo>
                      <a:pt x="2039" y="608"/>
                    </a:lnTo>
                    <a:lnTo>
                      <a:pt x="2025" y="580"/>
                    </a:lnTo>
                    <a:lnTo>
                      <a:pt x="2012" y="552"/>
                    </a:lnTo>
                    <a:lnTo>
                      <a:pt x="2002" y="524"/>
                    </a:lnTo>
                    <a:lnTo>
                      <a:pt x="1994" y="497"/>
                    </a:lnTo>
                    <a:lnTo>
                      <a:pt x="1987" y="470"/>
                    </a:lnTo>
                    <a:lnTo>
                      <a:pt x="1986" y="457"/>
                    </a:lnTo>
                    <a:lnTo>
                      <a:pt x="1985" y="444"/>
                    </a:lnTo>
                    <a:lnTo>
                      <a:pt x="1984" y="433"/>
                    </a:lnTo>
                    <a:lnTo>
                      <a:pt x="1984" y="420"/>
                    </a:lnTo>
                    <a:lnTo>
                      <a:pt x="1976" y="415"/>
                    </a:lnTo>
                    <a:lnTo>
                      <a:pt x="1966" y="411"/>
                    </a:lnTo>
                    <a:lnTo>
                      <a:pt x="1957" y="407"/>
                    </a:lnTo>
                    <a:lnTo>
                      <a:pt x="1947" y="404"/>
                    </a:lnTo>
                    <a:lnTo>
                      <a:pt x="1924" y="399"/>
                    </a:lnTo>
                    <a:lnTo>
                      <a:pt x="1900" y="396"/>
                    </a:lnTo>
                    <a:lnTo>
                      <a:pt x="1872" y="395"/>
                    </a:lnTo>
                    <a:lnTo>
                      <a:pt x="1844" y="395"/>
                    </a:lnTo>
                    <a:lnTo>
                      <a:pt x="1814" y="396"/>
                    </a:lnTo>
                    <a:lnTo>
                      <a:pt x="1783" y="398"/>
                    </a:lnTo>
                    <a:lnTo>
                      <a:pt x="1719" y="404"/>
                    </a:lnTo>
                    <a:lnTo>
                      <a:pt x="1652" y="410"/>
                    </a:lnTo>
                    <a:lnTo>
                      <a:pt x="1619" y="412"/>
                    </a:lnTo>
                    <a:lnTo>
                      <a:pt x="1587" y="413"/>
                    </a:lnTo>
                    <a:lnTo>
                      <a:pt x="1555" y="414"/>
                    </a:lnTo>
                    <a:lnTo>
                      <a:pt x="1525" y="413"/>
                    </a:lnTo>
                    <a:lnTo>
                      <a:pt x="1504" y="420"/>
                    </a:lnTo>
                    <a:lnTo>
                      <a:pt x="1480" y="429"/>
                    </a:lnTo>
                    <a:lnTo>
                      <a:pt x="1453" y="439"/>
                    </a:lnTo>
                    <a:lnTo>
                      <a:pt x="1423" y="450"/>
                    </a:lnTo>
                    <a:lnTo>
                      <a:pt x="1391" y="460"/>
                    </a:lnTo>
                    <a:lnTo>
                      <a:pt x="1359" y="468"/>
                    </a:lnTo>
                    <a:lnTo>
                      <a:pt x="1343" y="472"/>
                    </a:lnTo>
                    <a:lnTo>
                      <a:pt x="1327" y="474"/>
                    </a:lnTo>
                    <a:lnTo>
                      <a:pt x="1311" y="475"/>
                    </a:lnTo>
                    <a:lnTo>
                      <a:pt x="1295" y="476"/>
                    </a:lnTo>
                    <a:lnTo>
                      <a:pt x="1289" y="475"/>
                    </a:lnTo>
                    <a:lnTo>
                      <a:pt x="1283" y="475"/>
                    </a:lnTo>
                    <a:lnTo>
                      <a:pt x="1277" y="474"/>
                    </a:lnTo>
                    <a:lnTo>
                      <a:pt x="1273" y="472"/>
                    </a:lnTo>
                    <a:lnTo>
                      <a:pt x="1268" y="469"/>
                    </a:lnTo>
                    <a:lnTo>
                      <a:pt x="1264" y="467"/>
                    </a:lnTo>
                    <a:lnTo>
                      <a:pt x="1260" y="463"/>
                    </a:lnTo>
                    <a:lnTo>
                      <a:pt x="1258" y="459"/>
                    </a:lnTo>
                    <a:lnTo>
                      <a:pt x="1254" y="454"/>
                    </a:lnTo>
                    <a:lnTo>
                      <a:pt x="1252" y="450"/>
                    </a:lnTo>
                    <a:lnTo>
                      <a:pt x="1250" y="444"/>
                    </a:lnTo>
                    <a:lnTo>
                      <a:pt x="1249" y="437"/>
                    </a:lnTo>
                    <a:lnTo>
                      <a:pt x="1246" y="423"/>
                    </a:lnTo>
                    <a:lnTo>
                      <a:pt x="1246" y="406"/>
                    </a:lnTo>
                    <a:lnTo>
                      <a:pt x="1238" y="412"/>
                    </a:lnTo>
                    <a:lnTo>
                      <a:pt x="1230" y="416"/>
                    </a:lnTo>
                    <a:lnTo>
                      <a:pt x="1223" y="419"/>
                    </a:lnTo>
                    <a:lnTo>
                      <a:pt x="1217" y="421"/>
                    </a:lnTo>
                    <a:lnTo>
                      <a:pt x="1210" y="421"/>
                    </a:lnTo>
                    <a:lnTo>
                      <a:pt x="1203" y="421"/>
                    </a:lnTo>
                    <a:lnTo>
                      <a:pt x="1195" y="421"/>
                    </a:lnTo>
                    <a:lnTo>
                      <a:pt x="1188" y="419"/>
                    </a:lnTo>
                    <a:lnTo>
                      <a:pt x="1172" y="415"/>
                    </a:lnTo>
                    <a:lnTo>
                      <a:pt x="1155" y="411"/>
                    </a:lnTo>
                    <a:lnTo>
                      <a:pt x="1146" y="410"/>
                    </a:lnTo>
                    <a:lnTo>
                      <a:pt x="1135" y="407"/>
                    </a:lnTo>
                    <a:lnTo>
                      <a:pt x="1125" y="406"/>
                    </a:lnTo>
                    <a:lnTo>
                      <a:pt x="1113" y="406"/>
                    </a:lnTo>
                    <a:lnTo>
                      <a:pt x="1096" y="406"/>
                    </a:lnTo>
                    <a:lnTo>
                      <a:pt x="1080" y="407"/>
                    </a:lnTo>
                    <a:lnTo>
                      <a:pt x="1063" y="408"/>
                    </a:lnTo>
                    <a:lnTo>
                      <a:pt x="1048" y="411"/>
                    </a:lnTo>
                    <a:lnTo>
                      <a:pt x="1032" y="414"/>
                    </a:lnTo>
                    <a:lnTo>
                      <a:pt x="1017" y="416"/>
                    </a:lnTo>
                    <a:lnTo>
                      <a:pt x="1003" y="421"/>
                    </a:lnTo>
                    <a:lnTo>
                      <a:pt x="990" y="424"/>
                    </a:lnTo>
                    <a:lnTo>
                      <a:pt x="963" y="435"/>
                    </a:lnTo>
                    <a:lnTo>
                      <a:pt x="938" y="446"/>
                    </a:lnTo>
                    <a:lnTo>
                      <a:pt x="915" y="459"/>
                    </a:lnTo>
                    <a:lnTo>
                      <a:pt x="892" y="473"/>
                    </a:lnTo>
                    <a:lnTo>
                      <a:pt x="872" y="489"/>
                    </a:lnTo>
                    <a:lnTo>
                      <a:pt x="852" y="505"/>
                    </a:lnTo>
                    <a:lnTo>
                      <a:pt x="833" y="521"/>
                    </a:lnTo>
                    <a:lnTo>
                      <a:pt x="814" y="538"/>
                    </a:lnTo>
                    <a:lnTo>
                      <a:pt x="779" y="574"/>
                    </a:lnTo>
                    <a:lnTo>
                      <a:pt x="744" y="608"/>
                    </a:lnTo>
                    <a:lnTo>
                      <a:pt x="737" y="613"/>
                    </a:lnTo>
                    <a:lnTo>
                      <a:pt x="727" y="617"/>
                    </a:lnTo>
                    <a:lnTo>
                      <a:pt x="714" y="623"/>
                    </a:lnTo>
                    <a:lnTo>
                      <a:pt x="701" y="629"/>
                    </a:lnTo>
                    <a:lnTo>
                      <a:pt x="689" y="634"/>
                    </a:lnTo>
                    <a:lnTo>
                      <a:pt x="678" y="642"/>
                    </a:lnTo>
                    <a:lnTo>
                      <a:pt x="674" y="647"/>
                    </a:lnTo>
                    <a:lnTo>
                      <a:pt x="671" y="652"/>
                    </a:lnTo>
                    <a:lnTo>
                      <a:pt x="669" y="657"/>
                    </a:lnTo>
                    <a:lnTo>
                      <a:pt x="669" y="664"/>
                    </a:lnTo>
                    <a:lnTo>
                      <a:pt x="669" y="671"/>
                    </a:lnTo>
                    <a:lnTo>
                      <a:pt x="671" y="679"/>
                    </a:lnTo>
                    <a:lnTo>
                      <a:pt x="674" y="687"/>
                    </a:lnTo>
                    <a:lnTo>
                      <a:pt x="678" y="695"/>
                    </a:lnTo>
                    <a:lnTo>
                      <a:pt x="689" y="710"/>
                    </a:lnTo>
                    <a:lnTo>
                      <a:pt x="701" y="725"/>
                    </a:lnTo>
                    <a:lnTo>
                      <a:pt x="714" y="739"/>
                    </a:lnTo>
                    <a:lnTo>
                      <a:pt x="727" y="751"/>
                    </a:lnTo>
                    <a:lnTo>
                      <a:pt x="737" y="764"/>
                    </a:lnTo>
                    <a:lnTo>
                      <a:pt x="744" y="775"/>
                    </a:lnTo>
                    <a:lnTo>
                      <a:pt x="737" y="782"/>
                    </a:lnTo>
                    <a:lnTo>
                      <a:pt x="729" y="787"/>
                    </a:lnTo>
                    <a:lnTo>
                      <a:pt x="721" y="791"/>
                    </a:lnTo>
                    <a:lnTo>
                      <a:pt x="714" y="794"/>
                    </a:lnTo>
                    <a:lnTo>
                      <a:pt x="698" y="796"/>
                    </a:lnTo>
                    <a:lnTo>
                      <a:pt x="683" y="796"/>
                    </a:lnTo>
                    <a:lnTo>
                      <a:pt x="666" y="796"/>
                    </a:lnTo>
                    <a:lnTo>
                      <a:pt x="648" y="798"/>
                    </a:lnTo>
                    <a:lnTo>
                      <a:pt x="638" y="801"/>
                    </a:lnTo>
                    <a:lnTo>
                      <a:pt x="627" y="805"/>
                    </a:lnTo>
                    <a:lnTo>
                      <a:pt x="617" y="810"/>
                    </a:lnTo>
                    <a:lnTo>
                      <a:pt x="606" y="817"/>
                    </a:lnTo>
                    <a:lnTo>
                      <a:pt x="597" y="824"/>
                    </a:lnTo>
                    <a:lnTo>
                      <a:pt x="591" y="832"/>
                    </a:lnTo>
                    <a:lnTo>
                      <a:pt x="584" y="843"/>
                    </a:lnTo>
                    <a:lnTo>
                      <a:pt x="578" y="856"/>
                    </a:lnTo>
                    <a:lnTo>
                      <a:pt x="572" y="869"/>
                    </a:lnTo>
                    <a:lnTo>
                      <a:pt x="568" y="884"/>
                    </a:lnTo>
                    <a:lnTo>
                      <a:pt x="563" y="902"/>
                    </a:lnTo>
                    <a:lnTo>
                      <a:pt x="559" y="919"/>
                    </a:lnTo>
                    <a:lnTo>
                      <a:pt x="552" y="955"/>
                    </a:lnTo>
                    <a:lnTo>
                      <a:pt x="547" y="994"/>
                    </a:lnTo>
                    <a:lnTo>
                      <a:pt x="544" y="1032"/>
                    </a:lnTo>
                    <a:lnTo>
                      <a:pt x="542" y="1068"/>
                    </a:lnTo>
                    <a:lnTo>
                      <a:pt x="542" y="1090"/>
                    </a:lnTo>
                    <a:lnTo>
                      <a:pt x="544" y="1113"/>
                    </a:lnTo>
                    <a:lnTo>
                      <a:pt x="546" y="1137"/>
                    </a:lnTo>
                    <a:lnTo>
                      <a:pt x="549" y="1158"/>
                    </a:lnTo>
                    <a:lnTo>
                      <a:pt x="553" y="1169"/>
                    </a:lnTo>
                    <a:lnTo>
                      <a:pt x="556" y="1178"/>
                    </a:lnTo>
                    <a:lnTo>
                      <a:pt x="561" y="1186"/>
                    </a:lnTo>
                    <a:lnTo>
                      <a:pt x="567" y="1193"/>
                    </a:lnTo>
                    <a:lnTo>
                      <a:pt x="572" y="1199"/>
                    </a:lnTo>
                    <a:lnTo>
                      <a:pt x="580" y="1203"/>
                    </a:lnTo>
                    <a:lnTo>
                      <a:pt x="588" y="1206"/>
                    </a:lnTo>
                    <a:lnTo>
                      <a:pt x="599" y="1207"/>
                    </a:lnTo>
                    <a:lnTo>
                      <a:pt x="630" y="1208"/>
                    </a:lnTo>
                    <a:lnTo>
                      <a:pt x="659" y="1209"/>
                    </a:lnTo>
                    <a:lnTo>
                      <a:pt x="688" y="1211"/>
                    </a:lnTo>
                    <a:lnTo>
                      <a:pt x="714" y="1215"/>
                    </a:lnTo>
                    <a:lnTo>
                      <a:pt x="740" y="1218"/>
                    </a:lnTo>
                    <a:lnTo>
                      <a:pt x="764" y="1223"/>
                    </a:lnTo>
                    <a:lnTo>
                      <a:pt x="788" y="1227"/>
                    </a:lnTo>
                    <a:lnTo>
                      <a:pt x="811" y="1233"/>
                    </a:lnTo>
                    <a:lnTo>
                      <a:pt x="857" y="1246"/>
                    </a:lnTo>
                    <a:lnTo>
                      <a:pt x="902" y="1259"/>
                    </a:lnTo>
                    <a:lnTo>
                      <a:pt x="951" y="1275"/>
                    </a:lnTo>
                    <a:lnTo>
                      <a:pt x="1002" y="1290"/>
                    </a:lnTo>
                    <a:lnTo>
                      <a:pt x="980" y="1290"/>
                    </a:lnTo>
                    <a:lnTo>
                      <a:pt x="960" y="1293"/>
                    </a:lnTo>
                    <a:lnTo>
                      <a:pt x="940" y="1296"/>
                    </a:lnTo>
                    <a:lnTo>
                      <a:pt x="924" y="1302"/>
                    </a:lnTo>
                    <a:lnTo>
                      <a:pt x="909" y="1309"/>
                    </a:lnTo>
                    <a:lnTo>
                      <a:pt x="896" y="1318"/>
                    </a:lnTo>
                    <a:lnTo>
                      <a:pt x="883" y="1328"/>
                    </a:lnTo>
                    <a:lnTo>
                      <a:pt x="872" y="1340"/>
                    </a:lnTo>
                    <a:lnTo>
                      <a:pt x="862" y="1351"/>
                    </a:lnTo>
                    <a:lnTo>
                      <a:pt x="853" y="1365"/>
                    </a:lnTo>
                    <a:lnTo>
                      <a:pt x="845" y="1379"/>
                    </a:lnTo>
                    <a:lnTo>
                      <a:pt x="838" y="1392"/>
                    </a:lnTo>
                    <a:lnTo>
                      <a:pt x="826" y="1421"/>
                    </a:lnTo>
                    <a:lnTo>
                      <a:pt x="814" y="1451"/>
                    </a:lnTo>
                    <a:lnTo>
                      <a:pt x="818" y="1468"/>
                    </a:lnTo>
                    <a:lnTo>
                      <a:pt x="821" y="1482"/>
                    </a:lnTo>
                    <a:lnTo>
                      <a:pt x="826" y="1492"/>
                    </a:lnTo>
                    <a:lnTo>
                      <a:pt x="831" y="1501"/>
                    </a:lnTo>
                    <a:lnTo>
                      <a:pt x="835" y="1511"/>
                    </a:lnTo>
                    <a:lnTo>
                      <a:pt x="838" y="1523"/>
                    </a:lnTo>
                    <a:lnTo>
                      <a:pt x="842" y="1539"/>
                    </a:lnTo>
                    <a:lnTo>
                      <a:pt x="842" y="1562"/>
                    </a:lnTo>
                    <a:lnTo>
                      <a:pt x="842" y="1576"/>
                    </a:lnTo>
                    <a:lnTo>
                      <a:pt x="839" y="1587"/>
                    </a:lnTo>
                    <a:lnTo>
                      <a:pt x="837" y="1599"/>
                    </a:lnTo>
                    <a:lnTo>
                      <a:pt x="834" y="1609"/>
                    </a:lnTo>
                    <a:lnTo>
                      <a:pt x="825" y="1626"/>
                    </a:lnTo>
                    <a:lnTo>
                      <a:pt x="814" y="1641"/>
                    </a:lnTo>
                    <a:lnTo>
                      <a:pt x="804" y="1656"/>
                    </a:lnTo>
                    <a:lnTo>
                      <a:pt x="795" y="1673"/>
                    </a:lnTo>
                    <a:lnTo>
                      <a:pt x="791" y="1681"/>
                    </a:lnTo>
                    <a:lnTo>
                      <a:pt x="789" y="1692"/>
                    </a:lnTo>
                    <a:lnTo>
                      <a:pt x="787" y="1703"/>
                    </a:lnTo>
                    <a:lnTo>
                      <a:pt x="787" y="1716"/>
                    </a:lnTo>
                    <a:lnTo>
                      <a:pt x="787" y="1731"/>
                    </a:lnTo>
                    <a:lnTo>
                      <a:pt x="787" y="1753"/>
                    </a:lnTo>
                    <a:lnTo>
                      <a:pt x="787" y="1778"/>
                    </a:lnTo>
                    <a:lnTo>
                      <a:pt x="787" y="1806"/>
                    </a:lnTo>
                    <a:lnTo>
                      <a:pt x="787" y="1839"/>
                    </a:lnTo>
                    <a:lnTo>
                      <a:pt x="787" y="1873"/>
                    </a:lnTo>
                    <a:lnTo>
                      <a:pt x="787" y="1909"/>
                    </a:lnTo>
                    <a:lnTo>
                      <a:pt x="787" y="1945"/>
                    </a:lnTo>
                    <a:lnTo>
                      <a:pt x="786" y="1968"/>
                    </a:lnTo>
                    <a:lnTo>
                      <a:pt x="783" y="1989"/>
                    </a:lnTo>
                    <a:lnTo>
                      <a:pt x="781" y="2011"/>
                    </a:lnTo>
                    <a:lnTo>
                      <a:pt x="779" y="2030"/>
                    </a:lnTo>
                    <a:lnTo>
                      <a:pt x="775" y="2050"/>
                    </a:lnTo>
                    <a:lnTo>
                      <a:pt x="771" y="2069"/>
                    </a:lnTo>
                    <a:lnTo>
                      <a:pt x="766" y="2087"/>
                    </a:lnTo>
                    <a:lnTo>
                      <a:pt x="760" y="2105"/>
                    </a:lnTo>
                    <a:lnTo>
                      <a:pt x="755" y="2122"/>
                    </a:lnTo>
                    <a:lnTo>
                      <a:pt x="748" y="2139"/>
                    </a:lnTo>
                    <a:lnTo>
                      <a:pt x="742" y="2155"/>
                    </a:lnTo>
                    <a:lnTo>
                      <a:pt x="734" y="2171"/>
                    </a:lnTo>
                    <a:lnTo>
                      <a:pt x="719" y="2202"/>
                    </a:lnTo>
                    <a:lnTo>
                      <a:pt x="702" y="2231"/>
                    </a:lnTo>
                    <a:lnTo>
                      <a:pt x="685" y="2259"/>
                    </a:lnTo>
                    <a:lnTo>
                      <a:pt x="665" y="2287"/>
                    </a:lnTo>
                    <a:lnTo>
                      <a:pt x="647" y="2313"/>
                    </a:lnTo>
                    <a:lnTo>
                      <a:pt x="627" y="2341"/>
                    </a:lnTo>
                    <a:lnTo>
                      <a:pt x="607" y="2368"/>
                    </a:lnTo>
                    <a:lnTo>
                      <a:pt x="587" y="2396"/>
                    </a:lnTo>
                    <a:lnTo>
                      <a:pt x="569" y="2425"/>
                    </a:lnTo>
                    <a:lnTo>
                      <a:pt x="549" y="2453"/>
                    </a:lnTo>
                    <a:lnTo>
                      <a:pt x="542" y="2816"/>
                    </a:lnTo>
                    <a:lnTo>
                      <a:pt x="541" y="2819"/>
                    </a:lnTo>
                    <a:lnTo>
                      <a:pt x="537" y="2829"/>
                    </a:lnTo>
                    <a:lnTo>
                      <a:pt x="531" y="2842"/>
                    </a:lnTo>
                    <a:lnTo>
                      <a:pt x="524" y="2858"/>
                    </a:lnTo>
                    <a:lnTo>
                      <a:pt x="516" y="2873"/>
                    </a:lnTo>
                    <a:lnTo>
                      <a:pt x="508" y="2887"/>
                    </a:lnTo>
                    <a:lnTo>
                      <a:pt x="503" y="2891"/>
                    </a:lnTo>
                    <a:lnTo>
                      <a:pt x="500" y="2896"/>
                    </a:lnTo>
                    <a:lnTo>
                      <a:pt x="497" y="2898"/>
                    </a:lnTo>
                    <a:lnTo>
                      <a:pt x="494" y="2899"/>
                    </a:lnTo>
                    <a:lnTo>
                      <a:pt x="484" y="2898"/>
                    </a:lnTo>
                    <a:lnTo>
                      <a:pt x="475" y="2896"/>
                    </a:lnTo>
                    <a:lnTo>
                      <a:pt x="466" y="2891"/>
                    </a:lnTo>
                    <a:lnTo>
                      <a:pt x="459" y="2886"/>
                    </a:lnTo>
                    <a:lnTo>
                      <a:pt x="452" y="2879"/>
                    </a:lnTo>
                    <a:lnTo>
                      <a:pt x="446" y="2870"/>
                    </a:lnTo>
                    <a:lnTo>
                      <a:pt x="442" y="2860"/>
                    </a:lnTo>
                    <a:lnTo>
                      <a:pt x="438" y="2850"/>
                    </a:lnTo>
                    <a:lnTo>
                      <a:pt x="431" y="2851"/>
                    </a:lnTo>
                    <a:lnTo>
                      <a:pt x="426" y="2852"/>
                    </a:lnTo>
                    <a:lnTo>
                      <a:pt x="420" y="2854"/>
                    </a:lnTo>
                    <a:lnTo>
                      <a:pt x="415" y="2855"/>
                    </a:lnTo>
                    <a:lnTo>
                      <a:pt x="409" y="2859"/>
                    </a:lnTo>
                    <a:lnTo>
                      <a:pt x="404" y="2865"/>
                    </a:lnTo>
                    <a:lnTo>
                      <a:pt x="398" y="2870"/>
                    </a:lnTo>
                    <a:lnTo>
                      <a:pt x="391" y="2874"/>
                    </a:lnTo>
                    <a:lnTo>
                      <a:pt x="387" y="2877"/>
                    </a:lnTo>
                    <a:lnTo>
                      <a:pt x="382" y="2878"/>
                    </a:lnTo>
                    <a:lnTo>
                      <a:pt x="376" y="2879"/>
                    </a:lnTo>
                    <a:lnTo>
                      <a:pt x="368" y="2879"/>
                    </a:lnTo>
                    <a:lnTo>
                      <a:pt x="359" y="2875"/>
                    </a:lnTo>
                    <a:lnTo>
                      <a:pt x="349" y="2872"/>
                    </a:lnTo>
                    <a:lnTo>
                      <a:pt x="340" y="2867"/>
                    </a:lnTo>
                    <a:lnTo>
                      <a:pt x="331" y="2863"/>
                    </a:lnTo>
                    <a:lnTo>
                      <a:pt x="323" y="2857"/>
                    </a:lnTo>
                    <a:lnTo>
                      <a:pt x="315" y="2851"/>
                    </a:lnTo>
                    <a:lnTo>
                      <a:pt x="307" y="2844"/>
                    </a:lnTo>
                    <a:lnTo>
                      <a:pt x="299" y="2836"/>
                    </a:lnTo>
                    <a:lnTo>
                      <a:pt x="296" y="2838"/>
                    </a:lnTo>
                    <a:lnTo>
                      <a:pt x="290" y="2841"/>
                    </a:lnTo>
                    <a:lnTo>
                      <a:pt x="284" y="2846"/>
                    </a:lnTo>
                    <a:lnTo>
                      <a:pt x="276" y="2850"/>
                    </a:lnTo>
                    <a:lnTo>
                      <a:pt x="268" y="2856"/>
                    </a:lnTo>
                    <a:lnTo>
                      <a:pt x="260" y="2860"/>
                    </a:lnTo>
                    <a:lnTo>
                      <a:pt x="251" y="2864"/>
                    </a:lnTo>
                    <a:lnTo>
                      <a:pt x="243" y="2865"/>
                    </a:lnTo>
                    <a:lnTo>
                      <a:pt x="236" y="2864"/>
                    </a:lnTo>
                    <a:lnTo>
                      <a:pt x="229" y="2864"/>
                    </a:lnTo>
                    <a:lnTo>
                      <a:pt x="223" y="2862"/>
                    </a:lnTo>
                    <a:lnTo>
                      <a:pt x="216" y="2860"/>
                    </a:lnTo>
                    <a:lnTo>
                      <a:pt x="204" y="2856"/>
                    </a:lnTo>
                    <a:lnTo>
                      <a:pt x="193" y="2850"/>
                    </a:lnTo>
                    <a:lnTo>
                      <a:pt x="180" y="2844"/>
                    </a:lnTo>
                    <a:lnTo>
                      <a:pt x="168" y="2839"/>
                    </a:lnTo>
                    <a:lnTo>
                      <a:pt x="151" y="2833"/>
                    </a:lnTo>
                    <a:lnTo>
                      <a:pt x="132" y="2829"/>
                    </a:lnTo>
                    <a:lnTo>
                      <a:pt x="116" y="2831"/>
                    </a:lnTo>
                    <a:lnTo>
                      <a:pt x="101" y="2832"/>
                    </a:lnTo>
                    <a:lnTo>
                      <a:pt x="87" y="2834"/>
                    </a:lnTo>
                    <a:lnTo>
                      <a:pt x="74" y="2840"/>
                    </a:lnTo>
                    <a:lnTo>
                      <a:pt x="68" y="2842"/>
                    </a:lnTo>
                    <a:lnTo>
                      <a:pt x="62" y="2847"/>
                    </a:lnTo>
                    <a:lnTo>
                      <a:pt x="57" y="2851"/>
                    </a:lnTo>
                    <a:lnTo>
                      <a:pt x="53" y="2856"/>
                    </a:lnTo>
                    <a:lnTo>
                      <a:pt x="48" y="2863"/>
                    </a:lnTo>
                    <a:lnTo>
                      <a:pt x="46" y="2870"/>
                    </a:lnTo>
                    <a:lnTo>
                      <a:pt x="44" y="2877"/>
                    </a:lnTo>
                    <a:lnTo>
                      <a:pt x="41" y="2886"/>
                    </a:lnTo>
                    <a:lnTo>
                      <a:pt x="43" y="2896"/>
                    </a:lnTo>
                    <a:lnTo>
                      <a:pt x="45" y="2906"/>
                    </a:lnTo>
                    <a:lnTo>
                      <a:pt x="48" y="2917"/>
                    </a:lnTo>
                    <a:lnTo>
                      <a:pt x="53" y="2926"/>
                    </a:lnTo>
                    <a:lnTo>
                      <a:pt x="63" y="2945"/>
                    </a:lnTo>
                    <a:lnTo>
                      <a:pt x="76" y="2963"/>
                    </a:lnTo>
                    <a:lnTo>
                      <a:pt x="90" y="2980"/>
                    </a:lnTo>
                    <a:lnTo>
                      <a:pt x="100" y="2996"/>
                    </a:lnTo>
                    <a:lnTo>
                      <a:pt x="104" y="3004"/>
                    </a:lnTo>
                    <a:lnTo>
                      <a:pt x="108" y="3011"/>
                    </a:lnTo>
                    <a:lnTo>
                      <a:pt x="110" y="3018"/>
                    </a:lnTo>
                    <a:lnTo>
                      <a:pt x="111" y="3024"/>
                    </a:lnTo>
                    <a:lnTo>
                      <a:pt x="110" y="3031"/>
                    </a:lnTo>
                    <a:lnTo>
                      <a:pt x="109" y="3037"/>
                    </a:lnTo>
                    <a:lnTo>
                      <a:pt x="107" y="3042"/>
                    </a:lnTo>
                    <a:lnTo>
                      <a:pt x="102" y="3045"/>
                    </a:lnTo>
                    <a:lnTo>
                      <a:pt x="98" y="3046"/>
                    </a:lnTo>
                    <a:lnTo>
                      <a:pt x="93" y="3047"/>
                    </a:lnTo>
                    <a:lnTo>
                      <a:pt x="86" y="3047"/>
                    </a:lnTo>
                    <a:lnTo>
                      <a:pt x="79" y="3047"/>
                    </a:lnTo>
                    <a:lnTo>
                      <a:pt x="64" y="3045"/>
                    </a:lnTo>
                    <a:lnTo>
                      <a:pt x="46" y="3043"/>
                    </a:lnTo>
                    <a:lnTo>
                      <a:pt x="28" y="3039"/>
                    </a:lnTo>
                    <a:lnTo>
                      <a:pt x="7" y="3038"/>
                    </a:lnTo>
                    <a:lnTo>
                      <a:pt x="0" y="3213"/>
                    </a:lnTo>
                    <a:lnTo>
                      <a:pt x="7" y="3221"/>
                    </a:lnTo>
                    <a:lnTo>
                      <a:pt x="17" y="3231"/>
                    </a:lnTo>
                    <a:lnTo>
                      <a:pt x="30" y="3244"/>
                    </a:lnTo>
                    <a:lnTo>
                      <a:pt x="45" y="3256"/>
                    </a:lnTo>
                    <a:lnTo>
                      <a:pt x="61" y="3269"/>
                    </a:lnTo>
                    <a:lnTo>
                      <a:pt x="78" y="3279"/>
                    </a:lnTo>
                    <a:lnTo>
                      <a:pt x="86" y="3284"/>
                    </a:lnTo>
                    <a:lnTo>
                      <a:pt x="95" y="3287"/>
                    </a:lnTo>
                    <a:lnTo>
                      <a:pt x="103" y="3288"/>
                    </a:lnTo>
                    <a:lnTo>
                      <a:pt x="111" y="3289"/>
                    </a:lnTo>
                    <a:lnTo>
                      <a:pt x="125" y="3291"/>
                    </a:lnTo>
                    <a:lnTo>
                      <a:pt x="140" y="3292"/>
                    </a:lnTo>
                    <a:lnTo>
                      <a:pt x="155" y="3295"/>
                    </a:lnTo>
                    <a:lnTo>
                      <a:pt x="171" y="3299"/>
                    </a:lnTo>
                    <a:lnTo>
                      <a:pt x="201" y="3307"/>
                    </a:lnTo>
                    <a:lnTo>
                      <a:pt x="232" y="3317"/>
                    </a:lnTo>
                    <a:lnTo>
                      <a:pt x="260" y="3327"/>
                    </a:lnTo>
                    <a:lnTo>
                      <a:pt x="289" y="3336"/>
                    </a:lnTo>
                    <a:lnTo>
                      <a:pt x="303" y="3340"/>
                    </a:lnTo>
                    <a:lnTo>
                      <a:pt x="317" y="3343"/>
                    </a:lnTo>
                    <a:lnTo>
                      <a:pt x="329" y="3344"/>
                    </a:lnTo>
                    <a:lnTo>
                      <a:pt x="341" y="3346"/>
                    </a:lnTo>
                    <a:lnTo>
                      <a:pt x="349" y="3344"/>
                    </a:lnTo>
                    <a:lnTo>
                      <a:pt x="356" y="3343"/>
                    </a:lnTo>
                    <a:lnTo>
                      <a:pt x="361" y="3341"/>
                    </a:lnTo>
                    <a:lnTo>
                      <a:pt x="368" y="3339"/>
                    </a:lnTo>
                    <a:lnTo>
                      <a:pt x="379" y="3332"/>
                    </a:lnTo>
                    <a:lnTo>
                      <a:pt x="390" y="3324"/>
                    </a:lnTo>
                    <a:lnTo>
                      <a:pt x="400" y="3315"/>
                    </a:lnTo>
                    <a:lnTo>
                      <a:pt x="412" y="3307"/>
                    </a:lnTo>
                    <a:lnTo>
                      <a:pt x="417" y="3303"/>
                    </a:lnTo>
                    <a:lnTo>
                      <a:pt x="424" y="3301"/>
                    </a:lnTo>
                    <a:lnTo>
                      <a:pt x="431" y="3299"/>
                    </a:lnTo>
                    <a:lnTo>
                      <a:pt x="438" y="3296"/>
                    </a:lnTo>
                    <a:lnTo>
                      <a:pt x="440" y="3310"/>
                    </a:lnTo>
                    <a:lnTo>
                      <a:pt x="444" y="3324"/>
                    </a:lnTo>
                    <a:lnTo>
                      <a:pt x="447" y="3336"/>
                    </a:lnTo>
                    <a:lnTo>
                      <a:pt x="452" y="3349"/>
                    </a:lnTo>
                    <a:lnTo>
                      <a:pt x="463" y="3372"/>
                    </a:lnTo>
                    <a:lnTo>
                      <a:pt x="476" y="3395"/>
                    </a:lnTo>
                    <a:lnTo>
                      <a:pt x="487" y="3418"/>
                    </a:lnTo>
                    <a:lnTo>
                      <a:pt x="498" y="3442"/>
                    </a:lnTo>
                    <a:lnTo>
                      <a:pt x="502" y="3456"/>
                    </a:lnTo>
                    <a:lnTo>
                      <a:pt x="506" y="3469"/>
                    </a:lnTo>
                    <a:lnTo>
                      <a:pt x="507" y="3483"/>
                    </a:lnTo>
                    <a:lnTo>
                      <a:pt x="508" y="3498"/>
                    </a:lnTo>
                    <a:lnTo>
                      <a:pt x="507" y="3514"/>
                    </a:lnTo>
                    <a:lnTo>
                      <a:pt x="506" y="3528"/>
                    </a:lnTo>
                    <a:lnTo>
                      <a:pt x="502" y="3541"/>
                    </a:lnTo>
                    <a:lnTo>
                      <a:pt x="499" y="3552"/>
                    </a:lnTo>
                    <a:lnTo>
                      <a:pt x="491" y="3572"/>
                    </a:lnTo>
                    <a:lnTo>
                      <a:pt x="481" y="3590"/>
                    </a:lnTo>
                    <a:lnTo>
                      <a:pt x="475" y="3599"/>
                    </a:lnTo>
                    <a:lnTo>
                      <a:pt x="470" y="3608"/>
                    </a:lnTo>
                    <a:lnTo>
                      <a:pt x="466" y="3617"/>
                    </a:lnTo>
                    <a:lnTo>
                      <a:pt x="461" y="3629"/>
                    </a:lnTo>
                    <a:lnTo>
                      <a:pt x="458" y="3640"/>
                    </a:lnTo>
                    <a:lnTo>
                      <a:pt x="454" y="3654"/>
                    </a:lnTo>
                    <a:lnTo>
                      <a:pt x="453" y="3669"/>
                    </a:lnTo>
                    <a:lnTo>
                      <a:pt x="452" y="3686"/>
                    </a:lnTo>
                    <a:lnTo>
                      <a:pt x="451" y="3705"/>
                    </a:lnTo>
                    <a:lnTo>
                      <a:pt x="451" y="3722"/>
                    </a:lnTo>
                    <a:lnTo>
                      <a:pt x="452" y="3730"/>
                    </a:lnTo>
                    <a:lnTo>
                      <a:pt x="454" y="3738"/>
                    </a:lnTo>
                    <a:lnTo>
                      <a:pt x="455" y="3746"/>
                    </a:lnTo>
                    <a:lnTo>
                      <a:pt x="459" y="3753"/>
                    </a:lnTo>
                    <a:lnTo>
                      <a:pt x="461" y="3760"/>
                    </a:lnTo>
                    <a:lnTo>
                      <a:pt x="466" y="3766"/>
                    </a:lnTo>
                    <a:lnTo>
                      <a:pt x="470" y="3772"/>
                    </a:lnTo>
                    <a:lnTo>
                      <a:pt x="475" y="3778"/>
                    </a:lnTo>
                    <a:lnTo>
                      <a:pt x="481" y="3784"/>
                    </a:lnTo>
                    <a:lnTo>
                      <a:pt x="486" y="3789"/>
                    </a:lnTo>
                    <a:lnTo>
                      <a:pt x="493" y="3794"/>
                    </a:lnTo>
                    <a:lnTo>
                      <a:pt x="501" y="3797"/>
                    </a:lnTo>
                    <a:lnTo>
                      <a:pt x="481" y="3804"/>
                    </a:lnTo>
                    <a:lnTo>
                      <a:pt x="489" y="3803"/>
                    </a:lnTo>
                    <a:lnTo>
                      <a:pt x="497" y="3801"/>
                    </a:lnTo>
                    <a:lnTo>
                      <a:pt x="505" y="3797"/>
                    </a:lnTo>
                    <a:lnTo>
                      <a:pt x="512" y="3794"/>
                    </a:lnTo>
                    <a:lnTo>
                      <a:pt x="523" y="3786"/>
                    </a:lnTo>
                    <a:lnTo>
                      <a:pt x="533" y="3777"/>
                    </a:lnTo>
                    <a:lnTo>
                      <a:pt x="542" y="3768"/>
                    </a:lnTo>
                    <a:lnTo>
                      <a:pt x="552" y="3760"/>
                    </a:lnTo>
                    <a:lnTo>
                      <a:pt x="556" y="3756"/>
                    </a:lnTo>
                    <a:lnTo>
                      <a:pt x="561" y="3753"/>
                    </a:lnTo>
                    <a:lnTo>
                      <a:pt x="565" y="3750"/>
                    </a:lnTo>
                    <a:lnTo>
                      <a:pt x="571" y="3749"/>
                    </a:lnTo>
                    <a:lnTo>
                      <a:pt x="584" y="3746"/>
                    </a:lnTo>
                    <a:lnTo>
                      <a:pt x="596" y="3744"/>
                    </a:lnTo>
                    <a:lnTo>
                      <a:pt x="609" y="3742"/>
                    </a:lnTo>
                    <a:lnTo>
                      <a:pt x="620" y="3741"/>
                    </a:lnTo>
                    <a:lnTo>
                      <a:pt x="645" y="3742"/>
                    </a:lnTo>
                    <a:lnTo>
                      <a:pt x="669" y="3745"/>
                    </a:lnTo>
                    <a:lnTo>
                      <a:pt x="692" y="3748"/>
                    </a:lnTo>
                    <a:lnTo>
                      <a:pt x="716" y="3752"/>
                    </a:lnTo>
                    <a:lnTo>
                      <a:pt x="740" y="3755"/>
                    </a:lnTo>
                    <a:lnTo>
                      <a:pt x="766" y="3756"/>
                    </a:lnTo>
                    <a:lnTo>
                      <a:pt x="780" y="3756"/>
                    </a:lnTo>
                    <a:lnTo>
                      <a:pt x="794" y="3756"/>
                    </a:lnTo>
                    <a:lnTo>
                      <a:pt x="806" y="3754"/>
                    </a:lnTo>
                    <a:lnTo>
                      <a:pt x="819" y="3752"/>
                    </a:lnTo>
                    <a:lnTo>
                      <a:pt x="831" y="3748"/>
                    </a:lnTo>
                    <a:lnTo>
                      <a:pt x="844" y="3745"/>
                    </a:lnTo>
                    <a:lnTo>
                      <a:pt x="855" y="3740"/>
                    </a:lnTo>
                    <a:lnTo>
                      <a:pt x="867" y="3736"/>
                    </a:lnTo>
                    <a:lnTo>
                      <a:pt x="888" y="3724"/>
                    </a:lnTo>
                    <a:lnTo>
                      <a:pt x="908" y="3710"/>
                    </a:lnTo>
                    <a:lnTo>
                      <a:pt x="928" y="3697"/>
                    </a:lnTo>
                    <a:lnTo>
                      <a:pt x="946" y="3680"/>
                    </a:lnTo>
                    <a:lnTo>
                      <a:pt x="980" y="3647"/>
                    </a:lnTo>
                    <a:lnTo>
                      <a:pt x="1014" y="3616"/>
                    </a:lnTo>
                    <a:lnTo>
                      <a:pt x="1030" y="3601"/>
                    </a:lnTo>
                    <a:lnTo>
                      <a:pt x="1046" y="3589"/>
                    </a:lnTo>
                    <a:lnTo>
                      <a:pt x="1062" y="3577"/>
                    </a:lnTo>
                    <a:lnTo>
                      <a:pt x="1079" y="3568"/>
                    </a:lnTo>
                    <a:lnTo>
                      <a:pt x="1093" y="3560"/>
                    </a:lnTo>
                    <a:lnTo>
                      <a:pt x="1108" y="3553"/>
                    </a:lnTo>
                    <a:lnTo>
                      <a:pt x="1123" y="3546"/>
                    </a:lnTo>
                    <a:lnTo>
                      <a:pt x="1139" y="3541"/>
                    </a:lnTo>
                    <a:lnTo>
                      <a:pt x="1171" y="3527"/>
                    </a:lnTo>
                    <a:lnTo>
                      <a:pt x="1203" y="3512"/>
                    </a:lnTo>
                    <a:lnTo>
                      <a:pt x="1217" y="3504"/>
                    </a:lnTo>
                    <a:lnTo>
                      <a:pt x="1230" y="3495"/>
                    </a:lnTo>
                    <a:lnTo>
                      <a:pt x="1243" y="3486"/>
                    </a:lnTo>
                    <a:lnTo>
                      <a:pt x="1253" y="3474"/>
                    </a:lnTo>
                    <a:lnTo>
                      <a:pt x="1258" y="3468"/>
                    </a:lnTo>
                    <a:lnTo>
                      <a:pt x="1261" y="3461"/>
                    </a:lnTo>
                    <a:lnTo>
                      <a:pt x="1266" y="3455"/>
                    </a:lnTo>
                    <a:lnTo>
                      <a:pt x="1268" y="3448"/>
                    </a:lnTo>
                    <a:lnTo>
                      <a:pt x="1271" y="3440"/>
                    </a:lnTo>
                    <a:lnTo>
                      <a:pt x="1273" y="3433"/>
                    </a:lnTo>
                    <a:lnTo>
                      <a:pt x="1274" y="3424"/>
                    </a:lnTo>
                    <a:lnTo>
                      <a:pt x="1274" y="3414"/>
                    </a:lnTo>
                    <a:lnTo>
                      <a:pt x="1274" y="3405"/>
                    </a:lnTo>
                    <a:lnTo>
                      <a:pt x="1274" y="3396"/>
                    </a:lnTo>
                    <a:lnTo>
                      <a:pt x="1274" y="3388"/>
                    </a:lnTo>
                    <a:lnTo>
                      <a:pt x="1274" y="3380"/>
                    </a:lnTo>
                    <a:lnTo>
                      <a:pt x="1274" y="3372"/>
                    </a:lnTo>
                    <a:lnTo>
                      <a:pt x="1274" y="3364"/>
                    </a:lnTo>
                    <a:lnTo>
                      <a:pt x="1274" y="3355"/>
                    </a:lnTo>
                    <a:lnTo>
                      <a:pt x="1274" y="3346"/>
                    </a:lnTo>
                    <a:lnTo>
                      <a:pt x="1274" y="3336"/>
                    </a:lnTo>
                    <a:lnTo>
                      <a:pt x="1275" y="3326"/>
                    </a:lnTo>
                    <a:lnTo>
                      <a:pt x="1277" y="3316"/>
                    </a:lnTo>
                    <a:lnTo>
                      <a:pt x="1280" y="3305"/>
                    </a:lnTo>
                    <a:lnTo>
                      <a:pt x="1284" y="3296"/>
                    </a:lnTo>
                    <a:lnTo>
                      <a:pt x="1289" y="3289"/>
                    </a:lnTo>
                    <a:lnTo>
                      <a:pt x="1291" y="3286"/>
                    </a:lnTo>
                    <a:lnTo>
                      <a:pt x="1295" y="3285"/>
                    </a:lnTo>
                    <a:lnTo>
                      <a:pt x="1298" y="3283"/>
                    </a:lnTo>
                    <a:lnTo>
                      <a:pt x="1301" y="3283"/>
                    </a:lnTo>
                    <a:lnTo>
                      <a:pt x="1314" y="3284"/>
                    </a:lnTo>
                    <a:lnTo>
                      <a:pt x="1326" y="3285"/>
                    </a:lnTo>
                    <a:lnTo>
                      <a:pt x="1336" y="3287"/>
                    </a:lnTo>
                    <a:lnTo>
                      <a:pt x="1346" y="3291"/>
                    </a:lnTo>
                    <a:lnTo>
                      <a:pt x="1354" y="3293"/>
                    </a:lnTo>
                    <a:lnTo>
                      <a:pt x="1362" y="3297"/>
                    </a:lnTo>
                    <a:lnTo>
                      <a:pt x="1369" y="3301"/>
                    </a:lnTo>
                    <a:lnTo>
                      <a:pt x="1375" y="3305"/>
                    </a:lnTo>
                    <a:lnTo>
                      <a:pt x="1381" y="3311"/>
                    </a:lnTo>
                    <a:lnTo>
                      <a:pt x="1386" y="3317"/>
                    </a:lnTo>
                    <a:lnTo>
                      <a:pt x="1390" y="3323"/>
                    </a:lnTo>
                    <a:lnTo>
                      <a:pt x="1394" y="3328"/>
                    </a:lnTo>
                    <a:lnTo>
                      <a:pt x="1400" y="3341"/>
                    </a:lnTo>
                    <a:lnTo>
                      <a:pt x="1406" y="3355"/>
                    </a:lnTo>
                    <a:lnTo>
                      <a:pt x="1413" y="3383"/>
                    </a:lnTo>
                    <a:lnTo>
                      <a:pt x="1418" y="3413"/>
                    </a:lnTo>
                    <a:lnTo>
                      <a:pt x="1422" y="3427"/>
                    </a:lnTo>
                    <a:lnTo>
                      <a:pt x="1426" y="3440"/>
                    </a:lnTo>
                    <a:lnTo>
                      <a:pt x="1433" y="3452"/>
                    </a:lnTo>
                    <a:lnTo>
                      <a:pt x="1441" y="3464"/>
                    </a:lnTo>
                    <a:lnTo>
                      <a:pt x="1455" y="3477"/>
                    </a:lnTo>
                    <a:lnTo>
                      <a:pt x="1470" y="3488"/>
                    </a:lnTo>
                    <a:lnTo>
                      <a:pt x="1486" y="3498"/>
                    </a:lnTo>
                    <a:lnTo>
                      <a:pt x="1501" y="3506"/>
                    </a:lnTo>
                    <a:lnTo>
                      <a:pt x="1517" y="3513"/>
                    </a:lnTo>
                    <a:lnTo>
                      <a:pt x="1533" y="3518"/>
                    </a:lnTo>
                    <a:lnTo>
                      <a:pt x="1549" y="3522"/>
                    </a:lnTo>
                    <a:lnTo>
                      <a:pt x="1565" y="3526"/>
                    </a:lnTo>
                    <a:lnTo>
                      <a:pt x="1600" y="3530"/>
                    </a:lnTo>
                    <a:lnTo>
                      <a:pt x="1634" y="3534"/>
                    </a:lnTo>
                    <a:lnTo>
                      <a:pt x="1669" y="3536"/>
                    </a:lnTo>
                    <a:lnTo>
                      <a:pt x="1705" y="3541"/>
                    </a:lnTo>
                    <a:lnTo>
                      <a:pt x="1715" y="3543"/>
                    </a:lnTo>
                    <a:lnTo>
                      <a:pt x="1725" y="3546"/>
                    </a:lnTo>
                    <a:lnTo>
                      <a:pt x="1733" y="3551"/>
                    </a:lnTo>
                    <a:lnTo>
                      <a:pt x="1741" y="3557"/>
                    </a:lnTo>
                    <a:lnTo>
                      <a:pt x="1747" y="3563"/>
                    </a:lnTo>
                    <a:lnTo>
                      <a:pt x="1753" y="3570"/>
                    </a:lnTo>
                    <a:lnTo>
                      <a:pt x="1759" y="3578"/>
                    </a:lnTo>
                    <a:lnTo>
                      <a:pt x="1765" y="3588"/>
                    </a:lnTo>
                    <a:lnTo>
                      <a:pt x="1775" y="3605"/>
                    </a:lnTo>
                    <a:lnTo>
                      <a:pt x="1784" y="3621"/>
                    </a:lnTo>
                    <a:lnTo>
                      <a:pt x="1789" y="3628"/>
                    </a:lnTo>
                    <a:lnTo>
                      <a:pt x="1793" y="3635"/>
                    </a:lnTo>
                    <a:lnTo>
                      <a:pt x="1798" y="3640"/>
                    </a:lnTo>
                    <a:lnTo>
                      <a:pt x="1804" y="3645"/>
                    </a:lnTo>
                    <a:lnTo>
                      <a:pt x="1804" y="3700"/>
                    </a:lnTo>
                    <a:lnTo>
                      <a:pt x="1793" y="3701"/>
                    </a:lnTo>
                    <a:lnTo>
                      <a:pt x="1784" y="3701"/>
                    </a:lnTo>
                    <a:lnTo>
                      <a:pt x="1776" y="3702"/>
                    </a:lnTo>
                    <a:lnTo>
                      <a:pt x="1769" y="3703"/>
                    </a:lnTo>
                    <a:lnTo>
                      <a:pt x="1762" y="3706"/>
                    </a:lnTo>
                    <a:lnTo>
                      <a:pt x="1755" y="3706"/>
                    </a:lnTo>
                    <a:lnTo>
                      <a:pt x="1747" y="3707"/>
                    </a:lnTo>
                    <a:lnTo>
                      <a:pt x="1741" y="3707"/>
                    </a:lnTo>
                    <a:lnTo>
                      <a:pt x="1744" y="3719"/>
                    </a:lnTo>
                    <a:lnTo>
                      <a:pt x="1749" y="3731"/>
                    </a:lnTo>
                    <a:lnTo>
                      <a:pt x="1754" y="3741"/>
                    </a:lnTo>
                    <a:lnTo>
                      <a:pt x="1760" y="3752"/>
                    </a:lnTo>
                    <a:lnTo>
                      <a:pt x="1765" y="3762"/>
                    </a:lnTo>
                    <a:lnTo>
                      <a:pt x="1768" y="3771"/>
                    </a:lnTo>
                    <a:lnTo>
                      <a:pt x="1769" y="3776"/>
                    </a:lnTo>
                    <a:lnTo>
                      <a:pt x="1769" y="3780"/>
                    </a:lnTo>
                    <a:lnTo>
                      <a:pt x="1769" y="3786"/>
                    </a:lnTo>
                    <a:lnTo>
                      <a:pt x="1768" y="3791"/>
                    </a:lnTo>
                    <a:lnTo>
                      <a:pt x="1768" y="3801"/>
                    </a:lnTo>
                    <a:lnTo>
                      <a:pt x="1766" y="3810"/>
                    </a:lnTo>
                    <a:lnTo>
                      <a:pt x="1764" y="3819"/>
                    </a:lnTo>
                    <a:lnTo>
                      <a:pt x="1760" y="3828"/>
                    </a:lnTo>
                    <a:lnTo>
                      <a:pt x="1751" y="3844"/>
                    </a:lnTo>
                    <a:lnTo>
                      <a:pt x="1741" y="3859"/>
                    </a:lnTo>
                    <a:lnTo>
                      <a:pt x="1730" y="3874"/>
                    </a:lnTo>
                    <a:lnTo>
                      <a:pt x="1721" y="3890"/>
                    </a:lnTo>
                    <a:lnTo>
                      <a:pt x="1718" y="3897"/>
                    </a:lnTo>
                    <a:lnTo>
                      <a:pt x="1715" y="3906"/>
                    </a:lnTo>
                    <a:lnTo>
                      <a:pt x="1713" y="3914"/>
                    </a:lnTo>
                    <a:lnTo>
                      <a:pt x="1713" y="3924"/>
                    </a:lnTo>
                    <a:lnTo>
                      <a:pt x="1713" y="3930"/>
                    </a:lnTo>
                    <a:lnTo>
                      <a:pt x="1714" y="3936"/>
                    </a:lnTo>
                    <a:lnTo>
                      <a:pt x="1715" y="3943"/>
                    </a:lnTo>
                    <a:lnTo>
                      <a:pt x="1718" y="3949"/>
                    </a:lnTo>
                    <a:lnTo>
                      <a:pt x="1720" y="3953"/>
                    </a:lnTo>
                    <a:lnTo>
                      <a:pt x="1723" y="3958"/>
                    </a:lnTo>
                    <a:lnTo>
                      <a:pt x="1727" y="3963"/>
                    </a:lnTo>
                    <a:lnTo>
                      <a:pt x="1730" y="3967"/>
                    </a:lnTo>
                    <a:lnTo>
                      <a:pt x="1739" y="3974"/>
                    </a:lnTo>
                    <a:lnTo>
                      <a:pt x="1750" y="3980"/>
                    </a:lnTo>
                    <a:lnTo>
                      <a:pt x="1761" y="3986"/>
                    </a:lnTo>
                    <a:lnTo>
                      <a:pt x="1774" y="3989"/>
                    </a:lnTo>
                    <a:lnTo>
                      <a:pt x="1799" y="3996"/>
                    </a:lnTo>
                    <a:lnTo>
                      <a:pt x="1824" y="4002"/>
                    </a:lnTo>
                    <a:lnTo>
                      <a:pt x="1836" y="4004"/>
                    </a:lnTo>
                    <a:lnTo>
                      <a:pt x="1847" y="4007"/>
                    </a:lnTo>
                    <a:lnTo>
                      <a:pt x="1858" y="4011"/>
                    </a:lnTo>
                    <a:lnTo>
                      <a:pt x="1866" y="4014"/>
                    </a:lnTo>
                    <a:lnTo>
                      <a:pt x="1861" y="4034"/>
                    </a:lnTo>
                    <a:lnTo>
                      <a:pt x="1859" y="4053"/>
                    </a:lnTo>
                    <a:lnTo>
                      <a:pt x="1856" y="4072"/>
                    </a:lnTo>
                    <a:lnTo>
                      <a:pt x="1854" y="4088"/>
                    </a:lnTo>
                    <a:lnTo>
                      <a:pt x="1851" y="4104"/>
                    </a:lnTo>
                    <a:lnTo>
                      <a:pt x="1846" y="4119"/>
                    </a:lnTo>
                    <a:lnTo>
                      <a:pt x="1844" y="4125"/>
                    </a:lnTo>
                    <a:lnTo>
                      <a:pt x="1840" y="4132"/>
                    </a:lnTo>
                    <a:lnTo>
                      <a:pt x="1836" y="4139"/>
                    </a:lnTo>
                    <a:lnTo>
                      <a:pt x="1831" y="4146"/>
                    </a:lnTo>
                    <a:lnTo>
                      <a:pt x="1828" y="4151"/>
                    </a:lnTo>
                    <a:lnTo>
                      <a:pt x="1823" y="4154"/>
                    </a:lnTo>
                    <a:lnTo>
                      <a:pt x="1820" y="4156"/>
                    </a:lnTo>
                    <a:lnTo>
                      <a:pt x="1815" y="4160"/>
                    </a:lnTo>
                    <a:lnTo>
                      <a:pt x="1806" y="4163"/>
                    </a:lnTo>
                    <a:lnTo>
                      <a:pt x="1796" y="4166"/>
                    </a:lnTo>
                    <a:lnTo>
                      <a:pt x="1774" y="4167"/>
                    </a:lnTo>
                    <a:lnTo>
                      <a:pt x="1752" y="4169"/>
                    </a:lnTo>
                    <a:lnTo>
                      <a:pt x="1742" y="4170"/>
                    </a:lnTo>
                    <a:lnTo>
                      <a:pt x="1731" y="4174"/>
                    </a:lnTo>
                    <a:lnTo>
                      <a:pt x="1727" y="4176"/>
                    </a:lnTo>
                    <a:lnTo>
                      <a:pt x="1722" y="4178"/>
                    </a:lnTo>
                    <a:lnTo>
                      <a:pt x="1718" y="4182"/>
                    </a:lnTo>
                    <a:lnTo>
                      <a:pt x="1714" y="4185"/>
                    </a:lnTo>
                    <a:lnTo>
                      <a:pt x="1711" y="4190"/>
                    </a:lnTo>
                    <a:lnTo>
                      <a:pt x="1707" y="4195"/>
                    </a:lnTo>
                    <a:lnTo>
                      <a:pt x="1705" y="4201"/>
                    </a:lnTo>
                    <a:lnTo>
                      <a:pt x="1703" y="4208"/>
                    </a:lnTo>
                    <a:lnTo>
                      <a:pt x="1702" y="4215"/>
                    </a:lnTo>
                    <a:lnTo>
                      <a:pt x="1699" y="4224"/>
                    </a:lnTo>
                    <a:lnTo>
                      <a:pt x="1699" y="4233"/>
                    </a:lnTo>
                    <a:lnTo>
                      <a:pt x="1698" y="4244"/>
                    </a:lnTo>
                    <a:lnTo>
                      <a:pt x="1698" y="4256"/>
                    </a:lnTo>
                    <a:lnTo>
                      <a:pt x="1699" y="4268"/>
                    </a:lnTo>
                    <a:lnTo>
                      <a:pt x="1700" y="4278"/>
                    </a:lnTo>
                    <a:lnTo>
                      <a:pt x="1704" y="4288"/>
                    </a:lnTo>
                    <a:lnTo>
                      <a:pt x="1708" y="4297"/>
                    </a:lnTo>
                    <a:lnTo>
                      <a:pt x="1713" y="4306"/>
                    </a:lnTo>
                    <a:lnTo>
                      <a:pt x="1719" y="4312"/>
                    </a:lnTo>
                    <a:lnTo>
                      <a:pt x="1726" y="4318"/>
                    </a:lnTo>
                    <a:lnTo>
                      <a:pt x="1733" y="4324"/>
                    </a:lnTo>
                    <a:lnTo>
                      <a:pt x="1741" y="4328"/>
                    </a:lnTo>
                    <a:lnTo>
                      <a:pt x="1749" y="4333"/>
                    </a:lnTo>
                    <a:lnTo>
                      <a:pt x="1757" y="4335"/>
                    </a:lnTo>
                    <a:lnTo>
                      <a:pt x="1765" y="4338"/>
                    </a:lnTo>
                    <a:lnTo>
                      <a:pt x="1773" y="4340"/>
                    </a:lnTo>
                    <a:lnTo>
                      <a:pt x="1781" y="4341"/>
                    </a:lnTo>
                    <a:lnTo>
                      <a:pt x="1789" y="4341"/>
                    </a:lnTo>
                    <a:lnTo>
                      <a:pt x="1799" y="4340"/>
                    </a:lnTo>
                    <a:lnTo>
                      <a:pt x="1808" y="4338"/>
                    </a:lnTo>
                    <a:lnTo>
                      <a:pt x="1816" y="4333"/>
                    </a:lnTo>
                    <a:lnTo>
                      <a:pt x="1823" y="4327"/>
                    </a:lnTo>
                    <a:lnTo>
                      <a:pt x="1837" y="4312"/>
                    </a:lnTo>
                    <a:lnTo>
                      <a:pt x="1848" y="4296"/>
                    </a:lnTo>
                    <a:lnTo>
                      <a:pt x="1860" y="4279"/>
                    </a:lnTo>
                    <a:lnTo>
                      <a:pt x="1874" y="4264"/>
                    </a:lnTo>
                    <a:lnTo>
                      <a:pt x="1880" y="4258"/>
                    </a:lnTo>
                    <a:lnTo>
                      <a:pt x="1888" y="4255"/>
                    </a:lnTo>
                    <a:lnTo>
                      <a:pt x="1898" y="4252"/>
                    </a:lnTo>
                    <a:lnTo>
                      <a:pt x="1908" y="4250"/>
                    </a:lnTo>
                    <a:lnTo>
                      <a:pt x="1927" y="4254"/>
                    </a:lnTo>
                    <a:lnTo>
                      <a:pt x="1944" y="4258"/>
                    </a:lnTo>
                    <a:lnTo>
                      <a:pt x="1958" y="4264"/>
                    </a:lnTo>
                    <a:lnTo>
                      <a:pt x="1973" y="4271"/>
                    </a:lnTo>
                    <a:lnTo>
                      <a:pt x="1986" y="4276"/>
                    </a:lnTo>
                    <a:lnTo>
                      <a:pt x="2001" y="4281"/>
                    </a:lnTo>
                    <a:lnTo>
                      <a:pt x="2008" y="4283"/>
                    </a:lnTo>
                    <a:lnTo>
                      <a:pt x="2016" y="4284"/>
                    </a:lnTo>
                    <a:lnTo>
                      <a:pt x="2024" y="4285"/>
                    </a:lnTo>
                    <a:lnTo>
                      <a:pt x="2033" y="4285"/>
                    </a:lnTo>
                    <a:lnTo>
                      <a:pt x="2044" y="4285"/>
                    </a:lnTo>
                    <a:lnTo>
                      <a:pt x="2055" y="4284"/>
                    </a:lnTo>
                    <a:lnTo>
                      <a:pt x="2065" y="4281"/>
                    </a:lnTo>
                    <a:lnTo>
                      <a:pt x="2074" y="4278"/>
                    </a:lnTo>
                    <a:lnTo>
                      <a:pt x="2082" y="4275"/>
                    </a:lnTo>
                    <a:lnTo>
                      <a:pt x="2091" y="4271"/>
                    </a:lnTo>
                    <a:lnTo>
                      <a:pt x="2098" y="4265"/>
                    </a:lnTo>
                    <a:lnTo>
                      <a:pt x="2105" y="4261"/>
                    </a:lnTo>
                    <a:lnTo>
                      <a:pt x="2119" y="4248"/>
                    </a:lnTo>
                    <a:lnTo>
                      <a:pt x="2130" y="4234"/>
                    </a:lnTo>
                    <a:lnTo>
                      <a:pt x="2141" y="4221"/>
                    </a:lnTo>
                    <a:lnTo>
                      <a:pt x="2151" y="4206"/>
                    </a:lnTo>
                    <a:lnTo>
                      <a:pt x="2161" y="4191"/>
                    </a:lnTo>
                    <a:lnTo>
                      <a:pt x="2171" y="4176"/>
                    </a:lnTo>
                    <a:lnTo>
                      <a:pt x="2181" y="4162"/>
                    </a:lnTo>
                    <a:lnTo>
                      <a:pt x="2191" y="4151"/>
                    </a:lnTo>
                    <a:lnTo>
                      <a:pt x="2197" y="4145"/>
                    </a:lnTo>
                    <a:lnTo>
                      <a:pt x="2204" y="4140"/>
                    </a:lnTo>
                    <a:lnTo>
                      <a:pt x="2210" y="4136"/>
                    </a:lnTo>
                    <a:lnTo>
                      <a:pt x="2216" y="4132"/>
                    </a:lnTo>
                    <a:lnTo>
                      <a:pt x="2223" y="4129"/>
                    </a:lnTo>
                    <a:lnTo>
                      <a:pt x="2231" y="4127"/>
                    </a:lnTo>
                    <a:lnTo>
                      <a:pt x="2239" y="4125"/>
                    </a:lnTo>
                    <a:lnTo>
                      <a:pt x="2248" y="4125"/>
                    </a:lnTo>
                    <a:lnTo>
                      <a:pt x="2262" y="4125"/>
                    </a:lnTo>
                    <a:lnTo>
                      <a:pt x="2276" y="4128"/>
                    </a:lnTo>
                    <a:lnTo>
                      <a:pt x="2287" y="4131"/>
                    </a:lnTo>
                    <a:lnTo>
                      <a:pt x="2300" y="4135"/>
                    </a:lnTo>
                    <a:lnTo>
                      <a:pt x="2322" y="4145"/>
                    </a:lnTo>
                    <a:lnTo>
                      <a:pt x="2345" y="4156"/>
                    </a:lnTo>
                    <a:lnTo>
                      <a:pt x="2367" y="4168"/>
                    </a:lnTo>
                    <a:lnTo>
                      <a:pt x="2392" y="4178"/>
                    </a:lnTo>
                    <a:lnTo>
                      <a:pt x="2404" y="4182"/>
                    </a:lnTo>
                    <a:lnTo>
                      <a:pt x="2419" y="4185"/>
                    </a:lnTo>
                    <a:lnTo>
                      <a:pt x="2434" y="4187"/>
                    </a:lnTo>
                    <a:lnTo>
                      <a:pt x="2450" y="4187"/>
                    </a:lnTo>
                    <a:lnTo>
                      <a:pt x="2451" y="4185"/>
                    </a:lnTo>
                    <a:lnTo>
                      <a:pt x="2451" y="4177"/>
                    </a:lnTo>
                    <a:lnTo>
                      <a:pt x="2453" y="4166"/>
                    </a:lnTo>
                    <a:lnTo>
                      <a:pt x="2454" y="4152"/>
                    </a:lnTo>
                    <a:lnTo>
                      <a:pt x="2455" y="4138"/>
                    </a:lnTo>
                    <a:lnTo>
                      <a:pt x="2456" y="4127"/>
                    </a:lnTo>
                    <a:lnTo>
                      <a:pt x="2457" y="4116"/>
                    </a:lnTo>
                    <a:lnTo>
                      <a:pt x="2457" y="4112"/>
                    </a:lnTo>
                    <a:lnTo>
                      <a:pt x="2461" y="4104"/>
                    </a:lnTo>
                    <a:lnTo>
                      <a:pt x="2466" y="4098"/>
                    </a:lnTo>
                    <a:lnTo>
                      <a:pt x="2473" y="4092"/>
                    </a:lnTo>
                    <a:lnTo>
                      <a:pt x="2481" y="4088"/>
                    </a:lnTo>
                    <a:lnTo>
                      <a:pt x="2498" y="4078"/>
                    </a:lnTo>
                    <a:lnTo>
                      <a:pt x="2519" y="4069"/>
                    </a:lnTo>
                    <a:lnTo>
                      <a:pt x="2528" y="4065"/>
                    </a:lnTo>
                    <a:lnTo>
                      <a:pt x="2537" y="4059"/>
                    </a:lnTo>
                    <a:lnTo>
                      <a:pt x="2545" y="4053"/>
                    </a:lnTo>
                    <a:lnTo>
                      <a:pt x="2553" y="4046"/>
                    </a:lnTo>
                    <a:lnTo>
                      <a:pt x="2560" y="4038"/>
                    </a:lnTo>
                    <a:lnTo>
                      <a:pt x="2565" y="4029"/>
                    </a:lnTo>
                    <a:lnTo>
                      <a:pt x="2568" y="4019"/>
                    </a:lnTo>
                    <a:lnTo>
                      <a:pt x="2570" y="4007"/>
                    </a:lnTo>
                    <a:lnTo>
                      <a:pt x="2568" y="3998"/>
                    </a:lnTo>
                    <a:lnTo>
                      <a:pt x="2566" y="3990"/>
                    </a:lnTo>
                    <a:lnTo>
                      <a:pt x="2563" y="3982"/>
                    </a:lnTo>
                    <a:lnTo>
                      <a:pt x="2558" y="3975"/>
                    </a:lnTo>
                    <a:lnTo>
                      <a:pt x="2547" y="3963"/>
                    </a:lnTo>
                    <a:lnTo>
                      <a:pt x="2534" y="3951"/>
                    </a:lnTo>
                    <a:lnTo>
                      <a:pt x="2521" y="3940"/>
                    </a:lnTo>
                    <a:lnTo>
                      <a:pt x="2510" y="3927"/>
                    </a:lnTo>
                    <a:lnTo>
                      <a:pt x="2505" y="3920"/>
                    </a:lnTo>
                    <a:lnTo>
                      <a:pt x="2502" y="3912"/>
                    </a:lnTo>
                    <a:lnTo>
                      <a:pt x="2500" y="3904"/>
                    </a:lnTo>
                    <a:lnTo>
                      <a:pt x="2500" y="3895"/>
                    </a:lnTo>
                    <a:lnTo>
                      <a:pt x="2500" y="3875"/>
                    </a:lnTo>
                    <a:lnTo>
                      <a:pt x="2500" y="3854"/>
                    </a:lnTo>
                    <a:lnTo>
                      <a:pt x="2500" y="3831"/>
                    </a:lnTo>
                    <a:lnTo>
                      <a:pt x="2501" y="3808"/>
                    </a:lnTo>
                    <a:lnTo>
                      <a:pt x="2501" y="3787"/>
                    </a:lnTo>
                    <a:lnTo>
                      <a:pt x="2502" y="3768"/>
                    </a:lnTo>
                    <a:lnTo>
                      <a:pt x="2504" y="3753"/>
                    </a:lnTo>
                    <a:lnTo>
                      <a:pt x="2506" y="3742"/>
                    </a:lnTo>
                    <a:lnTo>
                      <a:pt x="2508" y="3729"/>
                    </a:lnTo>
                    <a:lnTo>
                      <a:pt x="2510" y="3714"/>
                    </a:lnTo>
                    <a:lnTo>
                      <a:pt x="2513" y="3698"/>
                    </a:lnTo>
                    <a:lnTo>
                      <a:pt x="2516" y="3682"/>
                    </a:lnTo>
                    <a:lnTo>
                      <a:pt x="2517" y="3672"/>
                    </a:lnTo>
                    <a:lnTo>
                      <a:pt x="2517" y="3664"/>
                    </a:lnTo>
                    <a:lnTo>
                      <a:pt x="2517" y="3655"/>
                    </a:lnTo>
                    <a:lnTo>
                      <a:pt x="2516" y="3646"/>
                    </a:lnTo>
                    <a:lnTo>
                      <a:pt x="2513" y="3637"/>
                    </a:lnTo>
                    <a:lnTo>
                      <a:pt x="2510" y="3628"/>
                    </a:lnTo>
                    <a:lnTo>
                      <a:pt x="2505" y="3619"/>
                    </a:lnTo>
                    <a:lnTo>
                      <a:pt x="2500" y="3609"/>
                    </a:lnTo>
                    <a:lnTo>
                      <a:pt x="2489" y="3599"/>
                    </a:lnTo>
                    <a:lnTo>
                      <a:pt x="2477" y="3589"/>
                    </a:lnTo>
                    <a:lnTo>
                      <a:pt x="2463" y="3580"/>
                    </a:lnTo>
                    <a:lnTo>
                      <a:pt x="2447" y="3572"/>
                    </a:lnTo>
                    <a:lnTo>
                      <a:pt x="2414" y="3557"/>
                    </a:lnTo>
                    <a:lnTo>
                      <a:pt x="2380" y="3541"/>
                    </a:lnTo>
                    <a:lnTo>
                      <a:pt x="2364" y="3533"/>
                    </a:lnTo>
                    <a:lnTo>
                      <a:pt x="2348" y="3523"/>
                    </a:lnTo>
                    <a:lnTo>
                      <a:pt x="2334" y="3513"/>
                    </a:lnTo>
                    <a:lnTo>
                      <a:pt x="2322" y="3502"/>
                    </a:lnTo>
                    <a:lnTo>
                      <a:pt x="2317" y="3495"/>
                    </a:lnTo>
                    <a:lnTo>
                      <a:pt x="2312" y="3488"/>
                    </a:lnTo>
                    <a:lnTo>
                      <a:pt x="2308" y="3481"/>
                    </a:lnTo>
                    <a:lnTo>
                      <a:pt x="2305" y="3473"/>
                    </a:lnTo>
                    <a:lnTo>
                      <a:pt x="2301" y="3464"/>
                    </a:lnTo>
                    <a:lnTo>
                      <a:pt x="2299" y="3456"/>
                    </a:lnTo>
                    <a:lnTo>
                      <a:pt x="2298" y="3445"/>
                    </a:lnTo>
                    <a:lnTo>
                      <a:pt x="2298" y="3436"/>
                    </a:lnTo>
                    <a:lnTo>
                      <a:pt x="2298" y="3422"/>
                    </a:lnTo>
                    <a:lnTo>
                      <a:pt x="2300" y="3412"/>
                    </a:lnTo>
                    <a:lnTo>
                      <a:pt x="2305" y="3403"/>
                    </a:lnTo>
                    <a:lnTo>
                      <a:pt x="2309" y="3397"/>
                    </a:lnTo>
                    <a:lnTo>
                      <a:pt x="2315" y="3393"/>
                    </a:lnTo>
                    <a:lnTo>
                      <a:pt x="2322" y="3389"/>
                    </a:lnTo>
                    <a:lnTo>
                      <a:pt x="2330" y="3388"/>
                    </a:lnTo>
                    <a:lnTo>
                      <a:pt x="2339" y="3387"/>
                    </a:lnTo>
                    <a:lnTo>
                      <a:pt x="2359" y="3389"/>
                    </a:lnTo>
                    <a:lnTo>
                      <a:pt x="2379" y="3393"/>
                    </a:lnTo>
                    <a:lnTo>
                      <a:pt x="2401" y="3397"/>
                    </a:lnTo>
                    <a:lnTo>
                      <a:pt x="2423" y="3401"/>
                    </a:lnTo>
                    <a:lnTo>
                      <a:pt x="2435" y="3401"/>
                    </a:lnTo>
                    <a:lnTo>
                      <a:pt x="2447" y="3399"/>
                    </a:lnTo>
                    <a:lnTo>
                      <a:pt x="2457" y="3398"/>
                    </a:lnTo>
                    <a:lnTo>
                      <a:pt x="2467" y="3396"/>
                    </a:lnTo>
                    <a:lnTo>
                      <a:pt x="2477" y="3393"/>
                    </a:lnTo>
                    <a:lnTo>
                      <a:pt x="2485" y="3389"/>
                    </a:lnTo>
                    <a:lnTo>
                      <a:pt x="2492" y="3386"/>
                    </a:lnTo>
                    <a:lnTo>
                      <a:pt x="2500" y="3381"/>
                    </a:lnTo>
                    <a:lnTo>
                      <a:pt x="2511" y="3372"/>
                    </a:lnTo>
                    <a:lnTo>
                      <a:pt x="2523" y="3362"/>
                    </a:lnTo>
                    <a:lnTo>
                      <a:pt x="2533" y="3350"/>
                    </a:lnTo>
                    <a:lnTo>
                      <a:pt x="2542" y="3339"/>
                    </a:lnTo>
                    <a:lnTo>
                      <a:pt x="2551" y="3326"/>
                    </a:lnTo>
                    <a:lnTo>
                      <a:pt x="2561" y="3316"/>
                    </a:lnTo>
                    <a:lnTo>
                      <a:pt x="2573" y="3304"/>
                    </a:lnTo>
                    <a:lnTo>
                      <a:pt x="2587" y="3295"/>
                    </a:lnTo>
                    <a:lnTo>
                      <a:pt x="2594" y="3291"/>
                    </a:lnTo>
                    <a:lnTo>
                      <a:pt x="2602" y="3287"/>
                    </a:lnTo>
                    <a:lnTo>
                      <a:pt x="2611" y="3284"/>
                    </a:lnTo>
                    <a:lnTo>
                      <a:pt x="2620" y="3281"/>
                    </a:lnTo>
                    <a:lnTo>
                      <a:pt x="2630" y="3279"/>
                    </a:lnTo>
                    <a:lnTo>
                      <a:pt x="2641" y="3277"/>
                    </a:lnTo>
                    <a:lnTo>
                      <a:pt x="2653" y="3276"/>
                    </a:lnTo>
                    <a:lnTo>
                      <a:pt x="2667" y="3276"/>
                    </a:lnTo>
                    <a:lnTo>
                      <a:pt x="2676" y="3276"/>
                    </a:lnTo>
                    <a:lnTo>
                      <a:pt x="2686" y="3273"/>
                    </a:lnTo>
                    <a:lnTo>
                      <a:pt x="2696" y="3272"/>
                    </a:lnTo>
                    <a:lnTo>
                      <a:pt x="2704" y="3269"/>
                    </a:lnTo>
                    <a:lnTo>
                      <a:pt x="2721" y="3262"/>
                    </a:lnTo>
                    <a:lnTo>
                      <a:pt x="2736" y="3255"/>
                    </a:lnTo>
                    <a:lnTo>
                      <a:pt x="2752" y="3247"/>
                    </a:lnTo>
                    <a:lnTo>
                      <a:pt x="2768" y="3240"/>
                    </a:lnTo>
                    <a:lnTo>
                      <a:pt x="2777" y="3238"/>
                    </a:lnTo>
                    <a:lnTo>
                      <a:pt x="2786" y="3235"/>
                    </a:lnTo>
                    <a:lnTo>
                      <a:pt x="2795" y="3234"/>
                    </a:lnTo>
                    <a:lnTo>
                      <a:pt x="2806" y="3233"/>
                    </a:lnTo>
                    <a:lnTo>
                      <a:pt x="2817" y="3234"/>
                    </a:lnTo>
                    <a:lnTo>
                      <a:pt x="2827" y="3235"/>
                    </a:lnTo>
                    <a:lnTo>
                      <a:pt x="2837" y="3238"/>
                    </a:lnTo>
                    <a:lnTo>
                      <a:pt x="2846" y="3241"/>
                    </a:lnTo>
                    <a:lnTo>
                      <a:pt x="2854" y="3245"/>
                    </a:lnTo>
                    <a:lnTo>
                      <a:pt x="2861" y="3249"/>
                    </a:lnTo>
                    <a:lnTo>
                      <a:pt x="2868" y="3255"/>
                    </a:lnTo>
                    <a:lnTo>
                      <a:pt x="2873" y="3261"/>
                    </a:lnTo>
                    <a:lnTo>
                      <a:pt x="2879" y="3266"/>
                    </a:lnTo>
                    <a:lnTo>
                      <a:pt x="2884" y="3274"/>
                    </a:lnTo>
                    <a:lnTo>
                      <a:pt x="2888" y="3281"/>
                    </a:lnTo>
                    <a:lnTo>
                      <a:pt x="2892" y="3289"/>
                    </a:lnTo>
                    <a:lnTo>
                      <a:pt x="2896" y="3308"/>
                    </a:lnTo>
                    <a:lnTo>
                      <a:pt x="2901" y="3327"/>
                    </a:lnTo>
                    <a:lnTo>
                      <a:pt x="2903" y="3348"/>
                    </a:lnTo>
                    <a:lnTo>
                      <a:pt x="2903" y="3369"/>
                    </a:lnTo>
                    <a:lnTo>
                      <a:pt x="2903" y="3390"/>
                    </a:lnTo>
                    <a:lnTo>
                      <a:pt x="2903" y="3413"/>
                    </a:lnTo>
                    <a:lnTo>
                      <a:pt x="2900" y="3457"/>
                    </a:lnTo>
                    <a:lnTo>
                      <a:pt x="2896" y="3498"/>
                    </a:lnTo>
                    <a:lnTo>
                      <a:pt x="2897" y="3508"/>
                    </a:lnTo>
                    <a:lnTo>
                      <a:pt x="2900" y="3516"/>
                    </a:lnTo>
                    <a:lnTo>
                      <a:pt x="2903" y="3522"/>
                    </a:lnTo>
                    <a:lnTo>
                      <a:pt x="2909" y="3527"/>
                    </a:lnTo>
                    <a:lnTo>
                      <a:pt x="2915" y="3531"/>
                    </a:lnTo>
                    <a:lnTo>
                      <a:pt x="2922" y="3534"/>
                    </a:lnTo>
                    <a:lnTo>
                      <a:pt x="2930" y="3536"/>
                    </a:lnTo>
                    <a:lnTo>
                      <a:pt x="2938" y="3537"/>
                    </a:lnTo>
                    <a:lnTo>
                      <a:pt x="2956" y="3537"/>
                    </a:lnTo>
                    <a:lnTo>
                      <a:pt x="2973" y="3536"/>
                    </a:lnTo>
                    <a:lnTo>
                      <a:pt x="2988" y="3534"/>
                    </a:lnTo>
                    <a:lnTo>
                      <a:pt x="3001" y="3534"/>
                    </a:lnTo>
                    <a:lnTo>
                      <a:pt x="3018" y="3534"/>
                    </a:lnTo>
                    <a:lnTo>
                      <a:pt x="3032" y="3534"/>
                    </a:lnTo>
                    <a:lnTo>
                      <a:pt x="3043" y="3534"/>
                    </a:lnTo>
                    <a:lnTo>
                      <a:pt x="3052" y="3534"/>
                    </a:lnTo>
                    <a:lnTo>
                      <a:pt x="3060" y="3534"/>
                    </a:lnTo>
                    <a:lnTo>
                      <a:pt x="3066" y="3534"/>
                    </a:lnTo>
                    <a:lnTo>
                      <a:pt x="3072" y="3534"/>
                    </a:lnTo>
                    <a:lnTo>
                      <a:pt x="3077" y="3534"/>
                    </a:lnTo>
                    <a:lnTo>
                      <a:pt x="3089" y="3534"/>
                    </a:lnTo>
                    <a:lnTo>
                      <a:pt x="3106" y="3534"/>
                    </a:lnTo>
                    <a:lnTo>
                      <a:pt x="3129" y="3534"/>
                    </a:lnTo>
                    <a:lnTo>
                      <a:pt x="3154" y="3533"/>
                    </a:lnTo>
                    <a:lnTo>
                      <a:pt x="3181" y="3529"/>
                    </a:lnTo>
                    <a:lnTo>
                      <a:pt x="3207" y="3524"/>
                    </a:lnTo>
                    <a:lnTo>
                      <a:pt x="3218" y="3521"/>
                    </a:lnTo>
                    <a:lnTo>
                      <a:pt x="3231" y="3516"/>
                    </a:lnTo>
                    <a:lnTo>
                      <a:pt x="3241" y="3512"/>
                    </a:lnTo>
                    <a:lnTo>
                      <a:pt x="3252" y="3505"/>
                    </a:lnTo>
                    <a:lnTo>
                      <a:pt x="3262" y="3496"/>
                    </a:lnTo>
                    <a:lnTo>
                      <a:pt x="3272" y="3486"/>
                    </a:lnTo>
                    <a:lnTo>
                      <a:pt x="3283" y="3473"/>
                    </a:lnTo>
                    <a:lnTo>
                      <a:pt x="3292" y="3458"/>
                    </a:lnTo>
                    <a:lnTo>
                      <a:pt x="3309" y="3428"/>
                    </a:lnTo>
                    <a:lnTo>
                      <a:pt x="3327" y="3396"/>
                    </a:lnTo>
                    <a:lnTo>
                      <a:pt x="3337" y="3381"/>
                    </a:lnTo>
                    <a:lnTo>
                      <a:pt x="3347" y="3367"/>
                    </a:lnTo>
                    <a:lnTo>
                      <a:pt x="3359" y="3355"/>
                    </a:lnTo>
                    <a:lnTo>
                      <a:pt x="3372" y="3343"/>
                    </a:lnTo>
                    <a:lnTo>
                      <a:pt x="3379" y="3339"/>
                    </a:lnTo>
                    <a:lnTo>
                      <a:pt x="3386" y="3335"/>
                    </a:lnTo>
                    <a:lnTo>
                      <a:pt x="3394" y="3332"/>
                    </a:lnTo>
                    <a:lnTo>
                      <a:pt x="3402" y="3328"/>
                    </a:lnTo>
                    <a:lnTo>
                      <a:pt x="3410" y="3326"/>
                    </a:lnTo>
                    <a:lnTo>
                      <a:pt x="3419" y="3325"/>
                    </a:lnTo>
                    <a:lnTo>
                      <a:pt x="3429" y="3324"/>
                    </a:lnTo>
                    <a:lnTo>
                      <a:pt x="3440" y="3324"/>
                    </a:lnTo>
                    <a:lnTo>
                      <a:pt x="3448" y="3325"/>
                    </a:lnTo>
                    <a:lnTo>
                      <a:pt x="3456" y="3326"/>
                    </a:lnTo>
                    <a:lnTo>
                      <a:pt x="3464" y="3327"/>
                    </a:lnTo>
                    <a:lnTo>
                      <a:pt x="3471" y="3331"/>
                    </a:lnTo>
                    <a:lnTo>
                      <a:pt x="3478" y="3334"/>
                    </a:lnTo>
                    <a:lnTo>
                      <a:pt x="3483" y="3338"/>
                    </a:lnTo>
                    <a:lnTo>
                      <a:pt x="3488" y="3342"/>
                    </a:lnTo>
                    <a:lnTo>
                      <a:pt x="3492" y="3347"/>
                    </a:lnTo>
                    <a:lnTo>
                      <a:pt x="3496" y="3352"/>
                    </a:lnTo>
                    <a:lnTo>
                      <a:pt x="3499" y="3358"/>
                    </a:lnTo>
                    <a:lnTo>
                      <a:pt x="3503" y="3365"/>
                    </a:lnTo>
                    <a:lnTo>
                      <a:pt x="3505" y="3371"/>
                    </a:lnTo>
                    <a:lnTo>
                      <a:pt x="3509" y="3386"/>
                    </a:lnTo>
                    <a:lnTo>
                      <a:pt x="3509" y="3401"/>
                    </a:lnTo>
                    <a:lnTo>
                      <a:pt x="3507" y="3409"/>
                    </a:lnTo>
                    <a:lnTo>
                      <a:pt x="3505" y="3416"/>
                    </a:lnTo>
                    <a:lnTo>
                      <a:pt x="3501" y="3422"/>
                    </a:lnTo>
                    <a:lnTo>
                      <a:pt x="3495" y="3430"/>
                    </a:lnTo>
                    <a:lnTo>
                      <a:pt x="3490" y="3438"/>
                    </a:lnTo>
                    <a:lnTo>
                      <a:pt x="3486" y="3448"/>
                    </a:lnTo>
                    <a:lnTo>
                      <a:pt x="3482" y="3458"/>
                    </a:lnTo>
                    <a:lnTo>
                      <a:pt x="3481" y="3471"/>
                    </a:lnTo>
                    <a:lnTo>
                      <a:pt x="3481" y="3483"/>
                    </a:lnTo>
                    <a:lnTo>
                      <a:pt x="3480" y="3496"/>
                    </a:lnTo>
                    <a:lnTo>
                      <a:pt x="3479" y="3508"/>
                    </a:lnTo>
                    <a:lnTo>
                      <a:pt x="3478" y="3519"/>
                    </a:lnTo>
                    <a:lnTo>
                      <a:pt x="3476" y="3527"/>
                    </a:lnTo>
                    <a:lnTo>
                      <a:pt x="3475" y="3534"/>
                    </a:lnTo>
                    <a:lnTo>
                      <a:pt x="3474" y="3538"/>
                    </a:lnTo>
                    <a:lnTo>
                      <a:pt x="3474" y="3541"/>
                    </a:lnTo>
                    <a:lnTo>
                      <a:pt x="3474" y="3549"/>
                    </a:lnTo>
                    <a:lnTo>
                      <a:pt x="3472" y="3558"/>
                    </a:lnTo>
                    <a:lnTo>
                      <a:pt x="3470" y="3566"/>
                    </a:lnTo>
                    <a:lnTo>
                      <a:pt x="3466" y="3574"/>
                    </a:lnTo>
                    <a:lnTo>
                      <a:pt x="3463" y="3581"/>
                    </a:lnTo>
                    <a:lnTo>
                      <a:pt x="3457" y="3589"/>
                    </a:lnTo>
                    <a:lnTo>
                      <a:pt x="3452" y="3596"/>
                    </a:lnTo>
                    <a:lnTo>
                      <a:pt x="3445" y="3602"/>
                    </a:lnTo>
                    <a:lnTo>
                      <a:pt x="3432" y="3616"/>
                    </a:lnTo>
                    <a:lnTo>
                      <a:pt x="3417" y="3629"/>
                    </a:lnTo>
                    <a:lnTo>
                      <a:pt x="3401" y="3643"/>
                    </a:lnTo>
                    <a:lnTo>
                      <a:pt x="3384" y="3656"/>
                    </a:lnTo>
                    <a:lnTo>
                      <a:pt x="3366" y="3670"/>
                    </a:lnTo>
                    <a:lnTo>
                      <a:pt x="3350" y="3686"/>
                    </a:lnTo>
                    <a:lnTo>
                      <a:pt x="3342" y="3694"/>
                    </a:lnTo>
                    <a:lnTo>
                      <a:pt x="3335" y="3703"/>
                    </a:lnTo>
                    <a:lnTo>
                      <a:pt x="3329" y="3711"/>
                    </a:lnTo>
                    <a:lnTo>
                      <a:pt x="3322" y="3722"/>
                    </a:lnTo>
                    <a:lnTo>
                      <a:pt x="3315" y="3731"/>
                    </a:lnTo>
                    <a:lnTo>
                      <a:pt x="3310" y="3742"/>
                    </a:lnTo>
                    <a:lnTo>
                      <a:pt x="3304" y="3753"/>
                    </a:lnTo>
                    <a:lnTo>
                      <a:pt x="3301" y="3765"/>
                    </a:lnTo>
                    <a:lnTo>
                      <a:pt x="3298" y="3777"/>
                    </a:lnTo>
                    <a:lnTo>
                      <a:pt x="3295" y="3791"/>
                    </a:lnTo>
                    <a:lnTo>
                      <a:pt x="3294" y="3804"/>
                    </a:lnTo>
                    <a:lnTo>
                      <a:pt x="3293" y="3819"/>
                    </a:lnTo>
                    <a:lnTo>
                      <a:pt x="3293" y="3827"/>
                    </a:lnTo>
                    <a:lnTo>
                      <a:pt x="3294" y="3834"/>
                    </a:lnTo>
                    <a:lnTo>
                      <a:pt x="3295" y="3841"/>
                    </a:lnTo>
                    <a:lnTo>
                      <a:pt x="3298" y="3847"/>
                    </a:lnTo>
                    <a:lnTo>
                      <a:pt x="3300" y="3853"/>
                    </a:lnTo>
                    <a:lnTo>
                      <a:pt x="3302" y="3857"/>
                    </a:lnTo>
                    <a:lnTo>
                      <a:pt x="3306" y="3862"/>
                    </a:lnTo>
                    <a:lnTo>
                      <a:pt x="3309" y="3865"/>
                    </a:lnTo>
                    <a:lnTo>
                      <a:pt x="3317" y="3872"/>
                    </a:lnTo>
                    <a:lnTo>
                      <a:pt x="3326" y="3877"/>
                    </a:lnTo>
                    <a:lnTo>
                      <a:pt x="3335" y="3881"/>
                    </a:lnTo>
                    <a:lnTo>
                      <a:pt x="3345" y="3886"/>
                    </a:lnTo>
                    <a:lnTo>
                      <a:pt x="3354" y="3890"/>
                    </a:lnTo>
                    <a:lnTo>
                      <a:pt x="3363" y="3895"/>
                    </a:lnTo>
                    <a:lnTo>
                      <a:pt x="3371" y="3901"/>
                    </a:lnTo>
                    <a:lnTo>
                      <a:pt x="3378" y="3908"/>
                    </a:lnTo>
                    <a:lnTo>
                      <a:pt x="3381" y="3912"/>
                    </a:lnTo>
                    <a:lnTo>
                      <a:pt x="3385" y="3917"/>
                    </a:lnTo>
                    <a:lnTo>
                      <a:pt x="3387" y="3922"/>
                    </a:lnTo>
                    <a:lnTo>
                      <a:pt x="3388" y="3928"/>
                    </a:lnTo>
                    <a:lnTo>
                      <a:pt x="3389" y="3934"/>
                    </a:lnTo>
                    <a:lnTo>
                      <a:pt x="3390" y="3942"/>
                    </a:lnTo>
                    <a:lnTo>
                      <a:pt x="3390" y="3949"/>
                    </a:lnTo>
                    <a:lnTo>
                      <a:pt x="3390" y="3958"/>
                    </a:lnTo>
                    <a:lnTo>
                      <a:pt x="3390" y="3966"/>
                    </a:lnTo>
                    <a:lnTo>
                      <a:pt x="3389" y="3973"/>
                    </a:lnTo>
                    <a:lnTo>
                      <a:pt x="3388" y="3979"/>
                    </a:lnTo>
                    <a:lnTo>
                      <a:pt x="3386" y="3984"/>
                    </a:lnTo>
                    <a:lnTo>
                      <a:pt x="3384" y="3990"/>
                    </a:lnTo>
                    <a:lnTo>
                      <a:pt x="3380" y="3995"/>
                    </a:lnTo>
                    <a:lnTo>
                      <a:pt x="3377" y="3999"/>
                    </a:lnTo>
                    <a:lnTo>
                      <a:pt x="3373" y="4003"/>
                    </a:lnTo>
                    <a:lnTo>
                      <a:pt x="3365" y="4010"/>
                    </a:lnTo>
                    <a:lnTo>
                      <a:pt x="3355" y="4015"/>
                    </a:lnTo>
                    <a:lnTo>
                      <a:pt x="3346" y="4020"/>
                    </a:lnTo>
                    <a:lnTo>
                      <a:pt x="3335" y="4025"/>
                    </a:lnTo>
                    <a:lnTo>
                      <a:pt x="3315" y="4031"/>
                    </a:lnTo>
                    <a:lnTo>
                      <a:pt x="3296" y="4041"/>
                    </a:lnTo>
                    <a:lnTo>
                      <a:pt x="3290" y="4045"/>
                    </a:lnTo>
                    <a:lnTo>
                      <a:pt x="3284" y="4052"/>
                    </a:lnTo>
                    <a:lnTo>
                      <a:pt x="3282" y="4056"/>
                    </a:lnTo>
                    <a:lnTo>
                      <a:pt x="3280" y="4060"/>
                    </a:lnTo>
                    <a:lnTo>
                      <a:pt x="3279" y="4065"/>
                    </a:lnTo>
                    <a:lnTo>
                      <a:pt x="3279" y="4069"/>
                    </a:lnTo>
                    <a:lnTo>
                      <a:pt x="3279" y="4089"/>
                    </a:lnTo>
                    <a:lnTo>
                      <a:pt x="3280" y="4105"/>
                    </a:lnTo>
                    <a:lnTo>
                      <a:pt x="3282" y="4112"/>
                    </a:lnTo>
                    <a:lnTo>
                      <a:pt x="3283" y="4117"/>
                    </a:lnTo>
                    <a:lnTo>
                      <a:pt x="3285" y="4123"/>
                    </a:lnTo>
                    <a:lnTo>
                      <a:pt x="3287" y="4129"/>
                    </a:lnTo>
                    <a:lnTo>
                      <a:pt x="3291" y="4132"/>
                    </a:lnTo>
                    <a:lnTo>
                      <a:pt x="3294" y="4137"/>
                    </a:lnTo>
                    <a:lnTo>
                      <a:pt x="3298" y="4140"/>
                    </a:lnTo>
                    <a:lnTo>
                      <a:pt x="3301" y="4143"/>
                    </a:lnTo>
                    <a:lnTo>
                      <a:pt x="3310" y="4147"/>
                    </a:lnTo>
                    <a:lnTo>
                      <a:pt x="3321" y="4150"/>
                    </a:lnTo>
                    <a:lnTo>
                      <a:pt x="3332" y="4151"/>
                    </a:lnTo>
                    <a:lnTo>
                      <a:pt x="3343" y="4152"/>
                    </a:lnTo>
                    <a:lnTo>
                      <a:pt x="3357" y="4151"/>
                    </a:lnTo>
                    <a:lnTo>
                      <a:pt x="3372" y="4150"/>
                    </a:lnTo>
                    <a:lnTo>
                      <a:pt x="3404" y="4147"/>
                    </a:lnTo>
                    <a:lnTo>
                      <a:pt x="3440" y="4146"/>
                    </a:lnTo>
                    <a:lnTo>
                      <a:pt x="3448" y="4146"/>
                    </a:lnTo>
                    <a:lnTo>
                      <a:pt x="3456" y="4147"/>
                    </a:lnTo>
                    <a:lnTo>
                      <a:pt x="3463" y="4148"/>
                    </a:lnTo>
                    <a:lnTo>
                      <a:pt x="3470" y="4151"/>
                    </a:lnTo>
                    <a:lnTo>
                      <a:pt x="3475" y="4153"/>
                    </a:lnTo>
                    <a:lnTo>
                      <a:pt x="3481" y="4156"/>
                    </a:lnTo>
                    <a:lnTo>
                      <a:pt x="3486" y="4159"/>
                    </a:lnTo>
                    <a:lnTo>
                      <a:pt x="3489" y="4162"/>
                    </a:lnTo>
                    <a:lnTo>
                      <a:pt x="3496" y="4171"/>
                    </a:lnTo>
                    <a:lnTo>
                      <a:pt x="3502" y="4179"/>
                    </a:lnTo>
                    <a:lnTo>
                      <a:pt x="3506" y="4190"/>
                    </a:lnTo>
                    <a:lnTo>
                      <a:pt x="3511" y="4200"/>
                    </a:lnTo>
                    <a:lnTo>
                      <a:pt x="3514" y="4210"/>
                    </a:lnTo>
                    <a:lnTo>
                      <a:pt x="3519" y="4221"/>
                    </a:lnTo>
                    <a:lnTo>
                      <a:pt x="3523" y="4231"/>
                    </a:lnTo>
                    <a:lnTo>
                      <a:pt x="3529" y="4240"/>
                    </a:lnTo>
                    <a:lnTo>
                      <a:pt x="3537" y="4248"/>
                    </a:lnTo>
                    <a:lnTo>
                      <a:pt x="3546" y="4255"/>
                    </a:lnTo>
                    <a:lnTo>
                      <a:pt x="3551" y="4258"/>
                    </a:lnTo>
                    <a:lnTo>
                      <a:pt x="3558" y="4261"/>
                    </a:lnTo>
                    <a:lnTo>
                      <a:pt x="3565" y="4263"/>
                    </a:lnTo>
                    <a:lnTo>
                      <a:pt x="3572" y="4264"/>
                    </a:lnTo>
                    <a:lnTo>
                      <a:pt x="3570" y="4292"/>
                    </a:lnTo>
                    <a:lnTo>
                      <a:pt x="3566" y="4325"/>
                    </a:lnTo>
                    <a:lnTo>
                      <a:pt x="3560" y="4362"/>
                    </a:lnTo>
                    <a:lnTo>
                      <a:pt x="3556" y="4401"/>
                    </a:lnTo>
                    <a:lnTo>
                      <a:pt x="3553" y="4421"/>
                    </a:lnTo>
                    <a:lnTo>
                      <a:pt x="3552" y="4441"/>
                    </a:lnTo>
                    <a:lnTo>
                      <a:pt x="3551" y="4460"/>
                    </a:lnTo>
                    <a:lnTo>
                      <a:pt x="3551" y="4479"/>
                    </a:lnTo>
                    <a:lnTo>
                      <a:pt x="3552" y="4497"/>
                    </a:lnTo>
                    <a:lnTo>
                      <a:pt x="3556" y="4514"/>
                    </a:lnTo>
                    <a:lnTo>
                      <a:pt x="3559" y="4529"/>
                    </a:lnTo>
                    <a:lnTo>
                      <a:pt x="3565" y="4543"/>
                    </a:lnTo>
                    <a:lnTo>
                      <a:pt x="3566" y="4549"/>
                    </a:lnTo>
                    <a:lnTo>
                      <a:pt x="3568" y="4553"/>
                    </a:lnTo>
                    <a:lnTo>
                      <a:pt x="3572" y="4556"/>
                    </a:lnTo>
                    <a:lnTo>
                      <a:pt x="3576" y="4557"/>
                    </a:lnTo>
                    <a:lnTo>
                      <a:pt x="3583" y="4557"/>
                    </a:lnTo>
                    <a:lnTo>
                      <a:pt x="3590" y="4557"/>
                    </a:lnTo>
                    <a:lnTo>
                      <a:pt x="3598" y="4556"/>
                    </a:lnTo>
                    <a:lnTo>
                      <a:pt x="3606" y="4553"/>
                    </a:lnTo>
                    <a:lnTo>
                      <a:pt x="3625" y="4550"/>
                    </a:lnTo>
                    <a:lnTo>
                      <a:pt x="3647" y="4545"/>
                    </a:lnTo>
                    <a:lnTo>
                      <a:pt x="3658" y="4544"/>
                    </a:lnTo>
                    <a:lnTo>
                      <a:pt x="3669" y="4543"/>
                    </a:lnTo>
                    <a:lnTo>
                      <a:pt x="3679" y="4543"/>
                    </a:lnTo>
                    <a:lnTo>
                      <a:pt x="3690" y="4543"/>
                    </a:lnTo>
                    <a:lnTo>
                      <a:pt x="3694" y="4558"/>
                    </a:lnTo>
                    <a:lnTo>
                      <a:pt x="3695" y="4573"/>
                    </a:lnTo>
                    <a:lnTo>
                      <a:pt x="3695" y="4587"/>
                    </a:lnTo>
                    <a:lnTo>
                      <a:pt x="3694" y="4601"/>
                    </a:lnTo>
                    <a:lnTo>
                      <a:pt x="3692" y="4617"/>
                    </a:lnTo>
                    <a:lnTo>
                      <a:pt x="3689" y="4635"/>
                    </a:lnTo>
                    <a:lnTo>
                      <a:pt x="3686" y="4653"/>
                    </a:lnTo>
                    <a:lnTo>
                      <a:pt x="3683" y="4676"/>
                    </a:lnTo>
                    <a:lnTo>
                      <a:pt x="3697" y="4674"/>
                    </a:lnTo>
                    <a:lnTo>
                      <a:pt x="3708" y="4671"/>
                    </a:lnTo>
                    <a:lnTo>
                      <a:pt x="3716" y="4670"/>
                    </a:lnTo>
                    <a:lnTo>
                      <a:pt x="3723" y="4670"/>
                    </a:lnTo>
                    <a:lnTo>
                      <a:pt x="3730" y="4670"/>
                    </a:lnTo>
                    <a:lnTo>
                      <a:pt x="3736" y="4671"/>
                    </a:lnTo>
                    <a:lnTo>
                      <a:pt x="3744" y="4674"/>
                    </a:lnTo>
                    <a:lnTo>
                      <a:pt x="3753" y="4676"/>
                    </a:lnTo>
                    <a:lnTo>
                      <a:pt x="3755" y="4692"/>
                    </a:lnTo>
                    <a:lnTo>
                      <a:pt x="3755" y="4710"/>
                    </a:lnTo>
                    <a:lnTo>
                      <a:pt x="3756" y="4729"/>
                    </a:lnTo>
                    <a:lnTo>
                      <a:pt x="3755" y="4748"/>
                    </a:lnTo>
                    <a:lnTo>
                      <a:pt x="3755" y="4768"/>
                    </a:lnTo>
                    <a:lnTo>
                      <a:pt x="3754" y="4787"/>
                    </a:lnTo>
                    <a:lnTo>
                      <a:pt x="3753" y="4806"/>
                    </a:lnTo>
                    <a:lnTo>
                      <a:pt x="3753" y="4822"/>
                    </a:lnTo>
                    <a:lnTo>
                      <a:pt x="3768" y="4822"/>
                    </a:lnTo>
                    <a:lnTo>
                      <a:pt x="3784" y="4820"/>
                    </a:lnTo>
                    <a:lnTo>
                      <a:pt x="3799" y="4818"/>
                    </a:lnTo>
                    <a:lnTo>
                      <a:pt x="3812" y="4816"/>
                    </a:lnTo>
                    <a:lnTo>
                      <a:pt x="3840" y="4810"/>
                    </a:lnTo>
                    <a:lnTo>
                      <a:pt x="3866" y="4806"/>
                    </a:lnTo>
                    <a:lnTo>
                      <a:pt x="3878" y="4804"/>
                    </a:lnTo>
                    <a:lnTo>
                      <a:pt x="3889" y="4803"/>
                    </a:lnTo>
                    <a:lnTo>
                      <a:pt x="3901" y="4803"/>
                    </a:lnTo>
                    <a:lnTo>
                      <a:pt x="3911" y="4804"/>
                    </a:lnTo>
                    <a:lnTo>
                      <a:pt x="3921" y="4807"/>
                    </a:lnTo>
                    <a:lnTo>
                      <a:pt x="3930" y="4810"/>
                    </a:lnTo>
                    <a:lnTo>
                      <a:pt x="3940" y="4815"/>
                    </a:lnTo>
                    <a:lnTo>
                      <a:pt x="3948" y="4822"/>
                    </a:lnTo>
                    <a:lnTo>
                      <a:pt x="3955" y="4975"/>
                    </a:lnTo>
                    <a:lnTo>
                      <a:pt x="3941" y="4990"/>
                    </a:lnTo>
                    <a:lnTo>
                      <a:pt x="3924" y="5015"/>
                    </a:lnTo>
                    <a:lnTo>
                      <a:pt x="3903" y="5044"/>
                    </a:lnTo>
                    <a:lnTo>
                      <a:pt x="3881" y="5076"/>
                    </a:lnTo>
                    <a:lnTo>
                      <a:pt x="3862" y="5106"/>
                    </a:lnTo>
                    <a:lnTo>
                      <a:pt x="3844" y="5131"/>
                    </a:lnTo>
                    <a:lnTo>
                      <a:pt x="3833" y="5150"/>
                    </a:lnTo>
                    <a:lnTo>
                      <a:pt x="3830" y="5157"/>
                    </a:lnTo>
                    <a:lnTo>
                      <a:pt x="3830" y="5178"/>
                    </a:lnTo>
                    <a:lnTo>
                      <a:pt x="3832" y="5204"/>
                    </a:lnTo>
                    <a:lnTo>
                      <a:pt x="3833" y="5229"/>
                    </a:lnTo>
                    <a:lnTo>
                      <a:pt x="3835" y="5255"/>
                    </a:lnTo>
                    <a:lnTo>
                      <a:pt x="3838" y="5280"/>
                    </a:lnTo>
                    <a:lnTo>
                      <a:pt x="3838" y="5304"/>
                    </a:lnTo>
                    <a:lnTo>
                      <a:pt x="3838" y="5326"/>
                    </a:lnTo>
                    <a:lnTo>
                      <a:pt x="3836" y="5345"/>
                    </a:lnTo>
                    <a:lnTo>
                      <a:pt x="3841" y="5342"/>
                    </a:lnTo>
                    <a:lnTo>
                      <a:pt x="3854" y="5339"/>
                    </a:lnTo>
                    <a:lnTo>
                      <a:pt x="3872" y="5332"/>
                    </a:lnTo>
                    <a:lnTo>
                      <a:pt x="3895" y="5324"/>
                    </a:lnTo>
                    <a:lnTo>
                      <a:pt x="3921" y="5315"/>
                    </a:lnTo>
                    <a:lnTo>
                      <a:pt x="3948" y="5306"/>
                    </a:lnTo>
                    <a:lnTo>
                      <a:pt x="3974" y="5296"/>
                    </a:lnTo>
                    <a:lnTo>
                      <a:pt x="3996" y="5288"/>
                    </a:lnTo>
                    <a:lnTo>
                      <a:pt x="3999" y="5299"/>
                    </a:lnTo>
                    <a:lnTo>
                      <a:pt x="4002" y="5309"/>
                    </a:lnTo>
                    <a:lnTo>
                      <a:pt x="4004" y="5319"/>
                    </a:lnTo>
                    <a:lnTo>
                      <a:pt x="4005" y="5330"/>
                    </a:lnTo>
                    <a:lnTo>
                      <a:pt x="4006" y="5339"/>
                    </a:lnTo>
                    <a:lnTo>
                      <a:pt x="4006" y="5348"/>
                    </a:lnTo>
                    <a:lnTo>
                      <a:pt x="4005" y="5357"/>
                    </a:lnTo>
                    <a:lnTo>
                      <a:pt x="4004" y="5365"/>
                    </a:lnTo>
                    <a:lnTo>
                      <a:pt x="4020" y="5364"/>
                    </a:lnTo>
                    <a:lnTo>
                      <a:pt x="4032" y="5363"/>
                    </a:lnTo>
                    <a:lnTo>
                      <a:pt x="4043" y="5359"/>
                    </a:lnTo>
                    <a:lnTo>
                      <a:pt x="4051" y="5356"/>
                    </a:lnTo>
                    <a:lnTo>
                      <a:pt x="4060" y="5353"/>
                    </a:lnTo>
                    <a:lnTo>
                      <a:pt x="4069" y="5347"/>
                    </a:lnTo>
                    <a:lnTo>
                      <a:pt x="4080" y="5342"/>
                    </a:lnTo>
                    <a:lnTo>
                      <a:pt x="4094" y="5337"/>
                    </a:lnTo>
                    <a:lnTo>
                      <a:pt x="4099" y="5346"/>
                    </a:lnTo>
                    <a:lnTo>
                      <a:pt x="4105" y="5353"/>
                    </a:lnTo>
                    <a:lnTo>
                      <a:pt x="4112" y="5357"/>
                    </a:lnTo>
                    <a:lnTo>
                      <a:pt x="4118" y="5362"/>
                    </a:lnTo>
                    <a:lnTo>
                      <a:pt x="4124" y="5364"/>
                    </a:lnTo>
                    <a:lnTo>
                      <a:pt x="4132" y="5366"/>
                    </a:lnTo>
                    <a:lnTo>
                      <a:pt x="4139" y="5368"/>
                    </a:lnTo>
                    <a:lnTo>
                      <a:pt x="4146" y="5369"/>
                    </a:lnTo>
                    <a:lnTo>
                      <a:pt x="4160" y="5370"/>
                    </a:lnTo>
                    <a:lnTo>
                      <a:pt x="4175" y="5371"/>
                    </a:lnTo>
                    <a:lnTo>
                      <a:pt x="4180" y="5371"/>
                    </a:lnTo>
                    <a:lnTo>
                      <a:pt x="4187" y="5373"/>
                    </a:lnTo>
                    <a:lnTo>
                      <a:pt x="4193" y="5376"/>
                    </a:lnTo>
                    <a:lnTo>
                      <a:pt x="4199" y="5379"/>
                    </a:lnTo>
                    <a:lnTo>
                      <a:pt x="4206" y="5386"/>
                    </a:lnTo>
                    <a:lnTo>
                      <a:pt x="4213" y="5393"/>
                    </a:lnTo>
                    <a:lnTo>
                      <a:pt x="4219" y="5401"/>
                    </a:lnTo>
                    <a:lnTo>
                      <a:pt x="4225" y="5409"/>
                    </a:lnTo>
                    <a:lnTo>
                      <a:pt x="4230" y="5417"/>
                    </a:lnTo>
                    <a:lnTo>
                      <a:pt x="4234" y="5426"/>
                    </a:lnTo>
                    <a:lnTo>
                      <a:pt x="4238" y="5435"/>
                    </a:lnTo>
                    <a:lnTo>
                      <a:pt x="4242" y="5444"/>
                    </a:lnTo>
                    <a:lnTo>
                      <a:pt x="4247" y="5464"/>
                    </a:lnTo>
                    <a:lnTo>
                      <a:pt x="4251" y="5483"/>
                    </a:lnTo>
                    <a:lnTo>
                      <a:pt x="4254" y="5504"/>
                    </a:lnTo>
                    <a:lnTo>
                      <a:pt x="4254" y="5525"/>
                    </a:lnTo>
                    <a:lnTo>
                      <a:pt x="4238" y="5526"/>
                    </a:lnTo>
                    <a:lnTo>
                      <a:pt x="4223" y="5528"/>
                    </a:lnTo>
                    <a:lnTo>
                      <a:pt x="4209" y="5532"/>
                    </a:lnTo>
                    <a:lnTo>
                      <a:pt x="4196" y="5536"/>
                    </a:lnTo>
                    <a:lnTo>
                      <a:pt x="4185" y="5542"/>
                    </a:lnTo>
                    <a:lnTo>
                      <a:pt x="4175" y="5549"/>
                    </a:lnTo>
                    <a:lnTo>
                      <a:pt x="4164" y="5557"/>
                    </a:lnTo>
                    <a:lnTo>
                      <a:pt x="4156" y="5565"/>
                    </a:lnTo>
                    <a:lnTo>
                      <a:pt x="4149" y="5575"/>
                    </a:lnTo>
                    <a:lnTo>
                      <a:pt x="4143" y="5585"/>
                    </a:lnTo>
                    <a:lnTo>
                      <a:pt x="4137" y="5596"/>
                    </a:lnTo>
                    <a:lnTo>
                      <a:pt x="4132" y="5607"/>
                    </a:lnTo>
                    <a:lnTo>
                      <a:pt x="4129" y="5620"/>
                    </a:lnTo>
                    <a:lnTo>
                      <a:pt x="4125" y="5631"/>
                    </a:lnTo>
                    <a:lnTo>
                      <a:pt x="4123" y="5645"/>
                    </a:lnTo>
                    <a:lnTo>
                      <a:pt x="4122" y="5658"/>
                    </a:lnTo>
                    <a:lnTo>
                      <a:pt x="4123" y="5671"/>
                    </a:lnTo>
                    <a:lnTo>
                      <a:pt x="4125" y="5685"/>
                    </a:lnTo>
                    <a:lnTo>
                      <a:pt x="4129" y="5699"/>
                    </a:lnTo>
                    <a:lnTo>
                      <a:pt x="4133" y="5713"/>
                    </a:lnTo>
                    <a:lnTo>
                      <a:pt x="4146" y="5739"/>
                    </a:lnTo>
                    <a:lnTo>
                      <a:pt x="4160" y="5767"/>
                    </a:lnTo>
                    <a:lnTo>
                      <a:pt x="4167" y="5780"/>
                    </a:lnTo>
                    <a:lnTo>
                      <a:pt x="4174" y="5795"/>
                    </a:lnTo>
                    <a:lnTo>
                      <a:pt x="4180" y="5810"/>
                    </a:lnTo>
                    <a:lnTo>
                      <a:pt x="4186" y="5827"/>
                    </a:lnTo>
                    <a:lnTo>
                      <a:pt x="4191" y="5843"/>
                    </a:lnTo>
                    <a:lnTo>
                      <a:pt x="4195" y="5862"/>
                    </a:lnTo>
                    <a:lnTo>
                      <a:pt x="4198" y="5881"/>
                    </a:lnTo>
                    <a:lnTo>
                      <a:pt x="4199" y="5901"/>
                    </a:lnTo>
                    <a:lnTo>
                      <a:pt x="4122" y="5901"/>
                    </a:lnTo>
                    <a:lnTo>
                      <a:pt x="4117" y="5903"/>
                    </a:lnTo>
                    <a:lnTo>
                      <a:pt x="4113" y="5907"/>
                    </a:lnTo>
                    <a:lnTo>
                      <a:pt x="4108" y="5911"/>
                    </a:lnTo>
                    <a:lnTo>
                      <a:pt x="4104" y="5917"/>
                    </a:lnTo>
                    <a:lnTo>
                      <a:pt x="4092" y="5931"/>
                    </a:lnTo>
                    <a:lnTo>
                      <a:pt x="4083" y="5947"/>
                    </a:lnTo>
                    <a:lnTo>
                      <a:pt x="4074" y="5964"/>
                    </a:lnTo>
                    <a:lnTo>
                      <a:pt x="4066" y="5981"/>
                    </a:lnTo>
                    <a:lnTo>
                      <a:pt x="4063" y="5990"/>
                    </a:lnTo>
                    <a:lnTo>
                      <a:pt x="4061" y="5998"/>
                    </a:lnTo>
                    <a:lnTo>
                      <a:pt x="4060" y="6006"/>
                    </a:lnTo>
                    <a:lnTo>
                      <a:pt x="4059" y="6013"/>
                    </a:lnTo>
                    <a:lnTo>
                      <a:pt x="4317" y="6159"/>
                    </a:lnTo>
                    <a:lnTo>
                      <a:pt x="4321" y="6159"/>
                    </a:lnTo>
                    <a:lnTo>
                      <a:pt x="4327" y="6157"/>
                    </a:lnTo>
                    <a:lnTo>
                      <a:pt x="4332" y="6153"/>
                    </a:lnTo>
                    <a:lnTo>
                      <a:pt x="4336" y="6150"/>
                    </a:lnTo>
                    <a:lnTo>
                      <a:pt x="4345" y="6139"/>
                    </a:lnTo>
                    <a:lnTo>
                      <a:pt x="4354" y="6127"/>
                    </a:lnTo>
                    <a:lnTo>
                      <a:pt x="4360" y="6112"/>
                    </a:lnTo>
                    <a:lnTo>
                      <a:pt x="4367" y="6097"/>
                    </a:lnTo>
                    <a:lnTo>
                      <a:pt x="4374" y="6082"/>
                    </a:lnTo>
                    <a:lnTo>
                      <a:pt x="4380" y="6068"/>
                    </a:lnTo>
                    <a:lnTo>
                      <a:pt x="4362" y="6063"/>
                    </a:lnTo>
                    <a:lnTo>
                      <a:pt x="4343" y="6057"/>
                    </a:lnTo>
                    <a:lnTo>
                      <a:pt x="4327" y="6049"/>
                    </a:lnTo>
                    <a:lnTo>
                      <a:pt x="4312" y="6041"/>
                    </a:lnTo>
                    <a:lnTo>
                      <a:pt x="4305" y="6036"/>
                    </a:lnTo>
                    <a:lnTo>
                      <a:pt x="4300" y="6030"/>
                    </a:lnTo>
                    <a:lnTo>
                      <a:pt x="4295" y="6026"/>
                    </a:lnTo>
                    <a:lnTo>
                      <a:pt x="4290" y="6019"/>
                    </a:lnTo>
                    <a:lnTo>
                      <a:pt x="4287" y="6013"/>
                    </a:lnTo>
                    <a:lnTo>
                      <a:pt x="4284" y="6006"/>
                    </a:lnTo>
                    <a:lnTo>
                      <a:pt x="4282" y="5999"/>
                    </a:lnTo>
                    <a:lnTo>
                      <a:pt x="4281" y="5991"/>
                    </a:lnTo>
                    <a:lnTo>
                      <a:pt x="4285" y="5991"/>
                    </a:lnTo>
                    <a:lnTo>
                      <a:pt x="4293" y="5990"/>
                    </a:lnTo>
                    <a:lnTo>
                      <a:pt x="4304" y="5989"/>
                    </a:lnTo>
                    <a:lnTo>
                      <a:pt x="4318" y="5988"/>
                    </a:lnTo>
                    <a:lnTo>
                      <a:pt x="4331" y="5987"/>
                    </a:lnTo>
                    <a:lnTo>
                      <a:pt x="4343" y="5986"/>
                    </a:lnTo>
                    <a:lnTo>
                      <a:pt x="4354" y="5985"/>
                    </a:lnTo>
                    <a:lnTo>
                      <a:pt x="4358" y="5985"/>
                    </a:lnTo>
                    <a:lnTo>
                      <a:pt x="4367" y="5980"/>
                    </a:lnTo>
                    <a:lnTo>
                      <a:pt x="4374" y="5974"/>
                    </a:lnTo>
                    <a:lnTo>
                      <a:pt x="4381" y="5966"/>
                    </a:lnTo>
                    <a:lnTo>
                      <a:pt x="4387" y="5958"/>
                    </a:lnTo>
                    <a:lnTo>
                      <a:pt x="4396" y="5939"/>
                    </a:lnTo>
                    <a:lnTo>
                      <a:pt x="4405" y="5919"/>
                    </a:lnTo>
                    <a:lnTo>
                      <a:pt x="4409" y="5909"/>
                    </a:lnTo>
                    <a:lnTo>
                      <a:pt x="4413" y="5900"/>
                    </a:lnTo>
                    <a:lnTo>
                      <a:pt x="4419" y="5892"/>
                    </a:lnTo>
                    <a:lnTo>
                      <a:pt x="4423" y="5885"/>
                    </a:lnTo>
                    <a:lnTo>
                      <a:pt x="4430" y="5879"/>
                    </a:lnTo>
                    <a:lnTo>
                      <a:pt x="4437" y="5876"/>
                    </a:lnTo>
                    <a:lnTo>
                      <a:pt x="4442" y="5874"/>
                    </a:lnTo>
                    <a:lnTo>
                      <a:pt x="4446" y="5873"/>
                    </a:lnTo>
                    <a:lnTo>
                      <a:pt x="4451" y="5873"/>
                    </a:lnTo>
                    <a:lnTo>
                      <a:pt x="4456" y="5873"/>
                    </a:lnTo>
                    <a:lnTo>
                      <a:pt x="4465" y="5874"/>
                    </a:lnTo>
                    <a:lnTo>
                      <a:pt x="4472" y="5876"/>
                    </a:lnTo>
                    <a:lnTo>
                      <a:pt x="4478" y="5879"/>
                    </a:lnTo>
                    <a:lnTo>
                      <a:pt x="4484" y="5882"/>
                    </a:lnTo>
                    <a:lnTo>
                      <a:pt x="4490" y="5887"/>
                    </a:lnTo>
                    <a:lnTo>
                      <a:pt x="4493" y="5893"/>
                    </a:lnTo>
                    <a:lnTo>
                      <a:pt x="4498" y="5899"/>
                    </a:lnTo>
                    <a:lnTo>
                      <a:pt x="4501" y="5904"/>
                    </a:lnTo>
                    <a:lnTo>
                      <a:pt x="4507" y="5918"/>
                    </a:lnTo>
                    <a:lnTo>
                      <a:pt x="4513" y="5932"/>
                    </a:lnTo>
                    <a:lnTo>
                      <a:pt x="4519" y="5946"/>
                    </a:lnTo>
                    <a:lnTo>
                      <a:pt x="4526" y="5957"/>
                    </a:lnTo>
                    <a:lnTo>
                      <a:pt x="4532" y="5985"/>
                    </a:lnTo>
                    <a:lnTo>
                      <a:pt x="4532" y="5970"/>
                    </a:lnTo>
                    <a:lnTo>
                      <a:pt x="4530" y="5955"/>
                    </a:lnTo>
                    <a:lnTo>
                      <a:pt x="4529" y="5940"/>
                    </a:lnTo>
                    <a:lnTo>
                      <a:pt x="4528" y="5925"/>
                    </a:lnTo>
                    <a:lnTo>
                      <a:pt x="4527" y="5910"/>
                    </a:lnTo>
                    <a:lnTo>
                      <a:pt x="4527" y="5894"/>
                    </a:lnTo>
                    <a:lnTo>
                      <a:pt x="4529" y="5877"/>
                    </a:lnTo>
                    <a:lnTo>
                      <a:pt x="4532" y="5860"/>
                    </a:lnTo>
                    <a:lnTo>
                      <a:pt x="4542" y="5861"/>
                    </a:lnTo>
                    <a:lnTo>
                      <a:pt x="4550" y="5864"/>
                    </a:lnTo>
                    <a:lnTo>
                      <a:pt x="4556" y="5866"/>
                    </a:lnTo>
                    <a:lnTo>
                      <a:pt x="4563" y="5870"/>
                    </a:lnTo>
                    <a:lnTo>
                      <a:pt x="4576" y="5878"/>
                    </a:lnTo>
                    <a:lnTo>
                      <a:pt x="4586" y="5886"/>
                    </a:lnTo>
                    <a:lnTo>
                      <a:pt x="4597" y="5895"/>
                    </a:lnTo>
                    <a:lnTo>
                      <a:pt x="4607" y="5902"/>
                    </a:lnTo>
                    <a:lnTo>
                      <a:pt x="4613" y="5904"/>
                    </a:lnTo>
                    <a:lnTo>
                      <a:pt x="4617" y="5907"/>
                    </a:lnTo>
                    <a:lnTo>
                      <a:pt x="4624" y="5908"/>
                    </a:lnTo>
                    <a:lnTo>
                      <a:pt x="4630" y="5908"/>
                    </a:lnTo>
                    <a:lnTo>
                      <a:pt x="4647" y="5909"/>
                    </a:lnTo>
                    <a:lnTo>
                      <a:pt x="4663" y="5907"/>
                    </a:lnTo>
                    <a:lnTo>
                      <a:pt x="4677" y="5903"/>
                    </a:lnTo>
                    <a:lnTo>
                      <a:pt x="4691" y="5899"/>
                    </a:lnTo>
                    <a:lnTo>
                      <a:pt x="4702" y="5892"/>
                    </a:lnTo>
                    <a:lnTo>
                      <a:pt x="4715" y="5885"/>
                    </a:lnTo>
                    <a:lnTo>
                      <a:pt x="4726" y="5877"/>
                    </a:lnTo>
                    <a:lnTo>
                      <a:pt x="4736" y="5869"/>
                    </a:lnTo>
                    <a:lnTo>
                      <a:pt x="4749" y="5861"/>
                    </a:lnTo>
                    <a:lnTo>
                      <a:pt x="4761" y="5853"/>
                    </a:lnTo>
                    <a:lnTo>
                      <a:pt x="4773" y="5846"/>
                    </a:lnTo>
                    <a:lnTo>
                      <a:pt x="4788" y="5839"/>
                    </a:lnTo>
                    <a:lnTo>
                      <a:pt x="4803" y="5833"/>
                    </a:lnTo>
                    <a:lnTo>
                      <a:pt x="4820" y="5829"/>
                    </a:lnTo>
                    <a:lnTo>
                      <a:pt x="4839" y="5825"/>
                    </a:lnTo>
                    <a:lnTo>
                      <a:pt x="4860" y="5825"/>
                    </a:lnTo>
                    <a:lnTo>
                      <a:pt x="4873" y="5827"/>
                    </a:lnTo>
                    <a:lnTo>
                      <a:pt x="4887" y="5829"/>
                    </a:lnTo>
                    <a:lnTo>
                      <a:pt x="4900" y="5829"/>
                    </a:lnTo>
                    <a:lnTo>
                      <a:pt x="4913" y="5827"/>
                    </a:lnTo>
                    <a:lnTo>
                      <a:pt x="4924" y="5824"/>
                    </a:lnTo>
                    <a:lnTo>
                      <a:pt x="4935" y="5819"/>
                    </a:lnTo>
                    <a:lnTo>
                      <a:pt x="4939" y="5817"/>
                    </a:lnTo>
                    <a:lnTo>
                      <a:pt x="4944" y="5813"/>
                    </a:lnTo>
                    <a:lnTo>
                      <a:pt x="4947" y="5809"/>
                    </a:lnTo>
                    <a:lnTo>
                      <a:pt x="4950" y="5803"/>
                    </a:lnTo>
                    <a:lnTo>
                      <a:pt x="4954" y="5798"/>
                    </a:lnTo>
                    <a:lnTo>
                      <a:pt x="4958" y="5791"/>
                    </a:lnTo>
                    <a:lnTo>
                      <a:pt x="4960" y="5783"/>
                    </a:lnTo>
                    <a:lnTo>
                      <a:pt x="4961" y="5774"/>
                    </a:lnTo>
                    <a:lnTo>
                      <a:pt x="4962" y="5755"/>
                    </a:lnTo>
                    <a:lnTo>
                      <a:pt x="4963" y="5736"/>
                    </a:lnTo>
                    <a:lnTo>
                      <a:pt x="4963" y="5726"/>
                    </a:lnTo>
                    <a:lnTo>
                      <a:pt x="4965" y="5718"/>
                    </a:lnTo>
                    <a:lnTo>
                      <a:pt x="4967" y="5712"/>
                    </a:lnTo>
                    <a:lnTo>
                      <a:pt x="4969" y="5706"/>
                    </a:lnTo>
                    <a:lnTo>
                      <a:pt x="4973" y="5701"/>
                    </a:lnTo>
                    <a:lnTo>
                      <a:pt x="4977" y="5699"/>
                    </a:lnTo>
                    <a:lnTo>
                      <a:pt x="4984" y="5698"/>
                    </a:lnTo>
                    <a:lnTo>
                      <a:pt x="4992" y="5699"/>
                    </a:lnTo>
                    <a:lnTo>
                      <a:pt x="5006" y="5702"/>
                    </a:lnTo>
                    <a:lnTo>
                      <a:pt x="5021" y="5705"/>
                    </a:lnTo>
                    <a:lnTo>
                      <a:pt x="5035" y="5706"/>
                    </a:lnTo>
                    <a:lnTo>
                      <a:pt x="5049" y="5705"/>
                    </a:lnTo>
                    <a:lnTo>
                      <a:pt x="5063" y="5704"/>
                    </a:lnTo>
                    <a:lnTo>
                      <a:pt x="5077" y="5701"/>
                    </a:lnTo>
                    <a:lnTo>
                      <a:pt x="5091" y="5697"/>
                    </a:lnTo>
                    <a:lnTo>
                      <a:pt x="5103" y="5692"/>
                    </a:lnTo>
                    <a:lnTo>
                      <a:pt x="5116" y="5686"/>
                    </a:lnTo>
                    <a:lnTo>
                      <a:pt x="5129" y="5679"/>
                    </a:lnTo>
                    <a:lnTo>
                      <a:pt x="5141" y="5673"/>
                    </a:lnTo>
                    <a:lnTo>
                      <a:pt x="5153" y="5665"/>
                    </a:lnTo>
                    <a:lnTo>
                      <a:pt x="5164" y="5655"/>
                    </a:lnTo>
                    <a:lnTo>
                      <a:pt x="5174" y="5645"/>
                    </a:lnTo>
                    <a:lnTo>
                      <a:pt x="5185" y="5634"/>
                    </a:lnTo>
                    <a:lnTo>
                      <a:pt x="5194" y="5622"/>
                    </a:lnTo>
                    <a:lnTo>
                      <a:pt x="5205" y="5606"/>
                    </a:lnTo>
                    <a:lnTo>
                      <a:pt x="5218" y="5583"/>
                    </a:lnTo>
                    <a:lnTo>
                      <a:pt x="5232" y="5557"/>
                    </a:lnTo>
                    <a:lnTo>
                      <a:pt x="5249" y="5530"/>
                    </a:lnTo>
                    <a:lnTo>
                      <a:pt x="5258" y="5518"/>
                    </a:lnTo>
                    <a:lnTo>
                      <a:pt x="5267" y="5505"/>
                    </a:lnTo>
                    <a:lnTo>
                      <a:pt x="5278" y="5495"/>
                    </a:lnTo>
                    <a:lnTo>
                      <a:pt x="5289" y="5486"/>
                    </a:lnTo>
                    <a:lnTo>
                      <a:pt x="5301" y="5478"/>
                    </a:lnTo>
                    <a:lnTo>
                      <a:pt x="5313" y="5473"/>
                    </a:lnTo>
                    <a:lnTo>
                      <a:pt x="5320" y="5471"/>
                    </a:lnTo>
                    <a:lnTo>
                      <a:pt x="5326" y="5470"/>
                    </a:lnTo>
                    <a:lnTo>
                      <a:pt x="5333" y="5470"/>
                    </a:lnTo>
                    <a:lnTo>
                      <a:pt x="5341" y="5470"/>
                    </a:lnTo>
                    <a:lnTo>
                      <a:pt x="5353" y="5470"/>
                    </a:lnTo>
                    <a:lnTo>
                      <a:pt x="5365" y="5472"/>
                    </a:lnTo>
                    <a:lnTo>
                      <a:pt x="5376" y="5475"/>
                    </a:lnTo>
                    <a:lnTo>
                      <a:pt x="5387" y="5479"/>
                    </a:lnTo>
                    <a:lnTo>
                      <a:pt x="5407" y="5489"/>
                    </a:lnTo>
                    <a:lnTo>
                      <a:pt x="5426" y="5501"/>
                    </a:lnTo>
                    <a:lnTo>
                      <a:pt x="5444" y="5512"/>
                    </a:lnTo>
                    <a:lnTo>
                      <a:pt x="5461" y="5522"/>
                    </a:lnTo>
                    <a:lnTo>
                      <a:pt x="5470" y="5526"/>
                    </a:lnTo>
                    <a:lnTo>
                      <a:pt x="5481" y="5529"/>
                    </a:lnTo>
                    <a:lnTo>
                      <a:pt x="5490" y="5532"/>
                    </a:lnTo>
                    <a:lnTo>
                      <a:pt x="5500" y="5533"/>
                    </a:lnTo>
                    <a:lnTo>
                      <a:pt x="5515" y="5532"/>
                    </a:lnTo>
                    <a:lnTo>
                      <a:pt x="5529" y="5529"/>
                    </a:lnTo>
                    <a:lnTo>
                      <a:pt x="5542" y="5526"/>
                    </a:lnTo>
                    <a:lnTo>
                      <a:pt x="5554" y="5521"/>
                    </a:lnTo>
                    <a:lnTo>
                      <a:pt x="5565" y="5518"/>
                    </a:lnTo>
                    <a:lnTo>
                      <a:pt x="5577" y="5514"/>
                    </a:lnTo>
                    <a:lnTo>
                      <a:pt x="5587" y="5512"/>
                    </a:lnTo>
                    <a:lnTo>
                      <a:pt x="5598" y="5511"/>
                    </a:lnTo>
                    <a:lnTo>
                      <a:pt x="5606" y="5511"/>
                    </a:lnTo>
                    <a:lnTo>
                      <a:pt x="5612" y="5510"/>
                    </a:lnTo>
                    <a:lnTo>
                      <a:pt x="5620" y="5510"/>
                    </a:lnTo>
                    <a:lnTo>
                      <a:pt x="5630" y="5509"/>
                    </a:lnTo>
                    <a:lnTo>
                      <a:pt x="5639" y="5509"/>
                    </a:lnTo>
                    <a:lnTo>
                      <a:pt x="5650" y="5509"/>
                    </a:lnTo>
                    <a:lnTo>
                      <a:pt x="5665" y="5510"/>
                    </a:lnTo>
                    <a:lnTo>
                      <a:pt x="5681" y="5511"/>
                    </a:lnTo>
                    <a:lnTo>
                      <a:pt x="5681" y="5499"/>
                    </a:lnTo>
                    <a:lnTo>
                      <a:pt x="5682" y="5487"/>
                    </a:lnTo>
                    <a:lnTo>
                      <a:pt x="5685" y="5475"/>
                    </a:lnTo>
                    <a:lnTo>
                      <a:pt x="5687" y="5463"/>
                    </a:lnTo>
                    <a:lnTo>
                      <a:pt x="5693" y="5437"/>
                    </a:lnTo>
                    <a:lnTo>
                      <a:pt x="5698" y="5413"/>
                    </a:lnTo>
                    <a:lnTo>
                      <a:pt x="5705" y="5389"/>
                    </a:lnTo>
                    <a:lnTo>
                      <a:pt x="5711" y="5368"/>
                    </a:lnTo>
                    <a:lnTo>
                      <a:pt x="5714" y="5347"/>
                    </a:lnTo>
                    <a:lnTo>
                      <a:pt x="5717" y="5330"/>
                    </a:lnTo>
                    <a:lnTo>
                      <a:pt x="5714" y="5312"/>
                    </a:lnTo>
                    <a:lnTo>
                      <a:pt x="5711" y="5291"/>
                    </a:lnTo>
                    <a:lnTo>
                      <a:pt x="5706" y="5268"/>
                    </a:lnTo>
                    <a:lnTo>
                      <a:pt x="5700" y="5243"/>
                    </a:lnTo>
                    <a:lnTo>
                      <a:pt x="5692" y="5218"/>
                    </a:lnTo>
                    <a:lnTo>
                      <a:pt x="5684" y="5195"/>
                    </a:lnTo>
                    <a:lnTo>
                      <a:pt x="5675" y="5174"/>
                    </a:lnTo>
                    <a:lnTo>
                      <a:pt x="5667" y="5157"/>
                    </a:lnTo>
                    <a:lnTo>
                      <a:pt x="5654" y="5135"/>
                    </a:lnTo>
                    <a:lnTo>
                      <a:pt x="5638" y="5107"/>
                    </a:lnTo>
                    <a:lnTo>
                      <a:pt x="5622" y="5076"/>
                    </a:lnTo>
                    <a:lnTo>
                      <a:pt x="5606" y="5043"/>
                    </a:lnTo>
                    <a:lnTo>
                      <a:pt x="5592" y="5009"/>
                    </a:lnTo>
                    <a:lnTo>
                      <a:pt x="5580" y="4975"/>
                    </a:lnTo>
                    <a:lnTo>
                      <a:pt x="5576" y="4960"/>
                    </a:lnTo>
                    <a:lnTo>
                      <a:pt x="5572" y="4945"/>
                    </a:lnTo>
                    <a:lnTo>
                      <a:pt x="5571" y="4932"/>
                    </a:lnTo>
                    <a:lnTo>
                      <a:pt x="5570" y="4919"/>
                    </a:lnTo>
                    <a:lnTo>
                      <a:pt x="5571" y="4905"/>
                    </a:lnTo>
                    <a:lnTo>
                      <a:pt x="5572" y="4893"/>
                    </a:lnTo>
                    <a:lnTo>
                      <a:pt x="5575" y="4881"/>
                    </a:lnTo>
                    <a:lnTo>
                      <a:pt x="5579" y="4870"/>
                    </a:lnTo>
                    <a:lnTo>
                      <a:pt x="5588" y="4849"/>
                    </a:lnTo>
                    <a:lnTo>
                      <a:pt x="5599" y="4831"/>
                    </a:lnTo>
                    <a:lnTo>
                      <a:pt x="5610" y="4814"/>
                    </a:lnTo>
                    <a:lnTo>
                      <a:pt x="5620" y="4796"/>
                    </a:lnTo>
                    <a:lnTo>
                      <a:pt x="5624" y="4788"/>
                    </a:lnTo>
                    <a:lnTo>
                      <a:pt x="5628" y="4779"/>
                    </a:lnTo>
                    <a:lnTo>
                      <a:pt x="5631" y="4769"/>
                    </a:lnTo>
                    <a:lnTo>
                      <a:pt x="5633" y="4759"/>
                    </a:lnTo>
                    <a:lnTo>
                      <a:pt x="5633" y="4739"/>
                    </a:lnTo>
                    <a:lnTo>
                      <a:pt x="5633" y="4721"/>
                    </a:lnTo>
                    <a:lnTo>
                      <a:pt x="5633" y="4703"/>
                    </a:lnTo>
                    <a:lnTo>
                      <a:pt x="5633" y="4686"/>
                    </a:lnTo>
                    <a:lnTo>
                      <a:pt x="5633" y="4669"/>
                    </a:lnTo>
                    <a:lnTo>
                      <a:pt x="5633" y="4651"/>
                    </a:lnTo>
                    <a:lnTo>
                      <a:pt x="5633" y="4632"/>
                    </a:lnTo>
                    <a:lnTo>
                      <a:pt x="5633" y="4613"/>
                    </a:lnTo>
                    <a:lnTo>
                      <a:pt x="5632" y="4603"/>
                    </a:lnTo>
                    <a:lnTo>
                      <a:pt x="5628" y="4593"/>
                    </a:lnTo>
                    <a:lnTo>
                      <a:pt x="5623" y="4584"/>
                    </a:lnTo>
                    <a:lnTo>
                      <a:pt x="5617" y="4576"/>
                    </a:lnTo>
                    <a:lnTo>
                      <a:pt x="5601" y="4560"/>
                    </a:lnTo>
                    <a:lnTo>
                      <a:pt x="5585" y="4545"/>
                    </a:lnTo>
                    <a:lnTo>
                      <a:pt x="5577" y="4537"/>
                    </a:lnTo>
                    <a:lnTo>
                      <a:pt x="5570" y="4529"/>
                    </a:lnTo>
                    <a:lnTo>
                      <a:pt x="5564" y="4520"/>
                    </a:lnTo>
                    <a:lnTo>
                      <a:pt x="5560" y="4511"/>
                    </a:lnTo>
                    <a:lnTo>
                      <a:pt x="5557" y="4506"/>
                    </a:lnTo>
                    <a:lnTo>
                      <a:pt x="5556" y="4502"/>
                    </a:lnTo>
                    <a:lnTo>
                      <a:pt x="5556" y="4496"/>
                    </a:lnTo>
                    <a:lnTo>
                      <a:pt x="5556" y="4490"/>
                    </a:lnTo>
                    <a:lnTo>
                      <a:pt x="5556" y="4484"/>
                    </a:lnTo>
                    <a:lnTo>
                      <a:pt x="5559" y="4479"/>
                    </a:lnTo>
                    <a:lnTo>
                      <a:pt x="5560" y="4473"/>
                    </a:lnTo>
                    <a:lnTo>
                      <a:pt x="5563" y="4466"/>
                    </a:lnTo>
                    <a:lnTo>
                      <a:pt x="5577" y="4465"/>
                    </a:lnTo>
                    <a:lnTo>
                      <a:pt x="5589" y="4463"/>
                    </a:lnTo>
                    <a:lnTo>
                      <a:pt x="5601" y="4459"/>
                    </a:lnTo>
                    <a:lnTo>
                      <a:pt x="5611" y="4456"/>
                    </a:lnTo>
                    <a:lnTo>
                      <a:pt x="5622" y="4452"/>
                    </a:lnTo>
                    <a:lnTo>
                      <a:pt x="5631" y="4448"/>
                    </a:lnTo>
                    <a:lnTo>
                      <a:pt x="5639" y="4442"/>
                    </a:lnTo>
                    <a:lnTo>
                      <a:pt x="5648" y="4437"/>
                    </a:lnTo>
                    <a:lnTo>
                      <a:pt x="5663" y="4425"/>
                    </a:lnTo>
                    <a:lnTo>
                      <a:pt x="5680" y="4410"/>
                    </a:lnTo>
                    <a:lnTo>
                      <a:pt x="5697" y="4394"/>
                    </a:lnTo>
                    <a:lnTo>
                      <a:pt x="5717" y="4375"/>
                    </a:lnTo>
                    <a:lnTo>
                      <a:pt x="6023" y="4382"/>
                    </a:lnTo>
                    <a:lnTo>
                      <a:pt x="6034" y="4380"/>
                    </a:lnTo>
                    <a:lnTo>
                      <a:pt x="6049" y="4377"/>
                    </a:lnTo>
                    <a:lnTo>
                      <a:pt x="6065" y="4373"/>
                    </a:lnTo>
                    <a:lnTo>
                      <a:pt x="6081" y="4369"/>
                    </a:lnTo>
                    <a:lnTo>
                      <a:pt x="6089" y="4365"/>
                    </a:lnTo>
                    <a:lnTo>
                      <a:pt x="6096" y="4362"/>
                    </a:lnTo>
                    <a:lnTo>
                      <a:pt x="6103" y="4357"/>
                    </a:lnTo>
                    <a:lnTo>
                      <a:pt x="6109" y="4353"/>
                    </a:lnTo>
                    <a:lnTo>
                      <a:pt x="6113" y="4347"/>
                    </a:lnTo>
                    <a:lnTo>
                      <a:pt x="6117" y="4341"/>
                    </a:lnTo>
                    <a:lnTo>
                      <a:pt x="6119" y="4334"/>
                    </a:lnTo>
                    <a:lnTo>
                      <a:pt x="6120" y="4327"/>
                    </a:lnTo>
                    <a:lnTo>
                      <a:pt x="6120" y="4317"/>
                    </a:lnTo>
                    <a:lnTo>
                      <a:pt x="6121" y="4308"/>
                    </a:lnTo>
                    <a:lnTo>
                      <a:pt x="6124" y="4299"/>
                    </a:lnTo>
                    <a:lnTo>
                      <a:pt x="6126" y="4289"/>
                    </a:lnTo>
                    <a:lnTo>
                      <a:pt x="6130" y="4281"/>
                    </a:lnTo>
                    <a:lnTo>
                      <a:pt x="6133" y="4273"/>
                    </a:lnTo>
                    <a:lnTo>
                      <a:pt x="6138" y="4267"/>
                    </a:lnTo>
                    <a:lnTo>
                      <a:pt x="6143" y="4260"/>
                    </a:lnTo>
                    <a:lnTo>
                      <a:pt x="6154" y="4247"/>
                    </a:lnTo>
                    <a:lnTo>
                      <a:pt x="6166" y="4234"/>
                    </a:lnTo>
                    <a:lnTo>
                      <a:pt x="6180" y="4224"/>
                    </a:lnTo>
                    <a:lnTo>
                      <a:pt x="6194" y="4214"/>
                    </a:lnTo>
                    <a:lnTo>
                      <a:pt x="6220" y="4195"/>
                    </a:lnTo>
                    <a:lnTo>
                      <a:pt x="6243" y="4176"/>
                    </a:lnTo>
                    <a:lnTo>
                      <a:pt x="6252" y="4167"/>
                    </a:lnTo>
                    <a:lnTo>
                      <a:pt x="6260" y="4156"/>
                    </a:lnTo>
                    <a:lnTo>
                      <a:pt x="6262" y="4151"/>
                    </a:lnTo>
                    <a:lnTo>
                      <a:pt x="6265" y="4145"/>
                    </a:lnTo>
                    <a:lnTo>
                      <a:pt x="6266" y="4138"/>
                    </a:lnTo>
                    <a:lnTo>
                      <a:pt x="6266" y="4132"/>
                    </a:lnTo>
                    <a:lnTo>
                      <a:pt x="6266" y="4124"/>
                    </a:lnTo>
                    <a:lnTo>
                      <a:pt x="6264" y="4119"/>
                    </a:lnTo>
                    <a:lnTo>
                      <a:pt x="6261" y="4113"/>
                    </a:lnTo>
                    <a:lnTo>
                      <a:pt x="6259" y="4107"/>
                    </a:lnTo>
                    <a:lnTo>
                      <a:pt x="6251" y="4098"/>
                    </a:lnTo>
                    <a:lnTo>
                      <a:pt x="6242" y="4090"/>
                    </a:lnTo>
                    <a:lnTo>
                      <a:pt x="6233" y="4081"/>
                    </a:lnTo>
                    <a:lnTo>
                      <a:pt x="6225" y="4070"/>
                    </a:lnTo>
                    <a:lnTo>
                      <a:pt x="6222" y="4065"/>
                    </a:lnTo>
                    <a:lnTo>
                      <a:pt x="6220" y="4058"/>
                    </a:lnTo>
                    <a:lnTo>
                      <a:pt x="6218" y="4050"/>
                    </a:lnTo>
                    <a:lnTo>
                      <a:pt x="6218" y="4042"/>
                    </a:lnTo>
                    <a:lnTo>
                      <a:pt x="6218" y="4036"/>
                    </a:lnTo>
                    <a:lnTo>
                      <a:pt x="6220" y="4030"/>
                    </a:lnTo>
                    <a:lnTo>
                      <a:pt x="6224" y="4026"/>
                    </a:lnTo>
                    <a:lnTo>
                      <a:pt x="6228" y="4022"/>
                    </a:lnTo>
                    <a:lnTo>
                      <a:pt x="6240" y="4015"/>
                    </a:lnTo>
                    <a:lnTo>
                      <a:pt x="6252" y="4008"/>
                    </a:lnTo>
                    <a:lnTo>
                      <a:pt x="6259" y="4005"/>
                    </a:lnTo>
                    <a:lnTo>
                      <a:pt x="6265" y="4002"/>
                    </a:lnTo>
                    <a:lnTo>
                      <a:pt x="6271" y="3997"/>
                    </a:lnTo>
                    <a:lnTo>
                      <a:pt x="6276" y="3992"/>
                    </a:lnTo>
                    <a:lnTo>
                      <a:pt x="6281" y="3987"/>
                    </a:lnTo>
                    <a:lnTo>
                      <a:pt x="6284" y="3981"/>
                    </a:lnTo>
                    <a:lnTo>
                      <a:pt x="6287" y="3974"/>
                    </a:lnTo>
                    <a:lnTo>
                      <a:pt x="6288" y="3965"/>
                    </a:lnTo>
                    <a:lnTo>
                      <a:pt x="6288" y="3953"/>
                    </a:lnTo>
                    <a:lnTo>
                      <a:pt x="6285" y="3943"/>
                    </a:lnTo>
                    <a:lnTo>
                      <a:pt x="6282" y="3934"/>
                    </a:lnTo>
                    <a:lnTo>
                      <a:pt x="6277" y="3926"/>
                    </a:lnTo>
                    <a:lnTo>
                      <a:pt x="6271" y="3918"/>
                    </a:lnTo>
                    <a:lnTo>
                      <a:pt x="6264" y="3911"/>
                    </a:lnTo>
                    <a:lnTo>
                      <a:pt x="6256" y="3904"/>
                    </a:lnTo>
                    <a:lnTo>
                      <a:pt x="6248" y="3898"/>
                    </a:lnTo>
                    <a:lnTo>
                      <a:pt x="6232" y="3886"/>
                    </a:lnTo>
                    <a:lnTo>
                      <a:pt x="6218" y="3874"/>
                    </a:lnTo>
                    <a:lnTo>
                      <a:pt x="6212" y="3867"/>
                    </a:lnTo>
                    <a:lnTo>
                      <a:pt x="6207" y="3862"/>
                    </a:lnTo>
                    <a:lnTo>
                      <a:pt x="6204" y="3854"/>
                    </a:lnTo>
                    <a:lnTo>
                      <a:pt x="6204" y="3847"/>
                    </a:lnTo>
                    <a:lnTo>
                      <a:pt x="6204" y="3841"/>
                    </a:lnTo>
                    <a:lnTo>
                      <a:pt x="6205" y="3835"/>
                    </a:lnTo>
                    <a:lnTo>
                      <a:pt x="6206" y="3831"/>
                    </a:lnTo>
                    <a:lnTo>
                      <a:pt x="6209" y="3826"/>
                    </a:lnTo>
                    <a:lnTo>
                      <a:pt x="6214" y="3818"/>
                    </a:lnTo>
                    <a:lnTo>
                      <a:pt x="6221" y="3812"/>
                    </a:lnTo>
                    <a:lnTo>
                      <a:pt x="6227" y="3805"/>
                    </a:lnTo>
                    <a:lnTo>
                      <a:pt x="6233" y="3797"/>
                    </a:lnTo>
                    <a:lnTo>
                      <a:pt x="6235" y="3793"/>
                    </a:lnTo>
                    <a:lnTo>
                      <a:pt x="6237" y="3788"/>
                    </a:lnTo>
                    <a:lnTo>
                      <a:pt x="6238" y="3784"/>
                    </a:lnTo>
                    <a:lnTo>
                      <a:pt x="6238" y="3777"/>
                    </a:lnTo>
                    <a:lnTo>
                      <a:pt x="6240" y="3757"/>
                    </a:lnTo>
                    <a:lnTo>
                      <a:pt x="6243" y="3740"/>
                    </a:lnTo>
                    <a:lnTo>
                      <a:pt x="6248" y="3723"/>
                    </a:lnTo>
                    <a:lnTo>
                      <a:pt x="6252" y="3707"/>
                    </a:lnTo>
                    <a:lnTo>
                      <a:pt x="6258" y="3692"/>
                    </a:lnTo>
                    <a:lnTo>
                      <a:pt x="6261" y="3675"/>
                    </a:lnTo>
                    <a:lnTo>
                      <a:pt x="6265" y="3658"/>
                    </a:lnTo>
                    <a:lnTo>
                      <a:pt x="6266" y="3638"/>
                    </a:lnTo>
                    <a:lnTo>
                      <a:pt x="6266" y="3630"/>
                    </a:lnTo>
                    <a:lnTo>
                      <a:pt x="6265" y="3623"/>
                    </a:lnTo>
                    <a:lnTo>
                      <a:pt x="6262" y="3615"/>
                    </a:lnTo>
                    <a:lnTo>
                      <a:pt x="6260" y="3608"/>
                    </a:lnTo>
                    <a:lnTo>
                      <a:pt x="6252" y="3596"/>
                    </a:lnTo>
                    <a:lnTo>
                      <a:pt x="6242" y="3582"/>
                    </a:lnTo>
                    <a:lnTo>
                      <a:pt x="6230" y="3570"/>
                    </a:lnTo>
                    <a:lnTo>
                      <a:pt x="6218" y="3558"/>
                    </a:lnTo>
                    <a:lnTo>
                      <a:pt x="6204" y="3546"/>
                    </a:lnTo>
                    <a:lnTo>
                      <a:pt x="6190" y="3534"/>
                    </a:lnTo>
                    <a:lnTo>
                      <a:pt x="6177" y="3522"/>
                    </a:lnTo>
                    <a:lnTo>
                      <a:pt x="6163" y="3510"/>
                    </a:lnTo>
                    <a:lnTo>
                      <a:pt x="6151" y="3496"/>
                    </a:lnTo>
                    <a:lnTo>
                      <a:pt x="6140" y="3482"/>
                    </a:lnTo>
                    <a:lnTo>
                      <a:pt x="6135" y="3475"/>
                    </a:lnTo>
                    <a:lnTo>
                      <a:pt x="6131" y="3467"/>
                    </a:lnTo>
                    <a:lnTo>
                      <a:pt x="6127" y="3459"/>
                    </a:lnTo>
                    <a:lnTo>
                      <a:pt x="6124" y="3451"/>
                    </a:lnTo>
                    <a:lnTo>
                      <a:pt x="6121" y="3442"/>
                    </a:lnTo>
                    <a:lnTo>
                      <a:pt x="6120" y="3434"/>
                    </a:lnTo>
                    <a:lnTo>
                      <a:pt x="6120" y="3425"/>
                    </a:lnTo>
                    <a:lnTo>
                      <a:pt x="6120" y="3414"/>
                    </a:lnTo>
                    <a:lnTo>
                      <a:pt x="6120" y="3405"/>
                    </a:lnTo>
                    <a:lnTo>
                      <a:pt x="6123" y="3397"/>
                    </a:lnTo>
                    <a:lnTo>
                      <a:pt x="6126" y="3390"/>
                    </a:lnTo>
                    <a:lnTo>
                      <a:pt x="6130" y="3385"/>
                    </a:lnTo>
                    <a:lnTo>
                      <a:pt x="6140" y="3375"/>
                    </a:lnTo>
                    <a:lnTo>
                      <a:pt x="6152" y="3367"/>
                    </a:lnTo>
                    <a:lnTo>
                      <a:pt x="6158" y="3364"/>
                    </a:lnTo>
                    <a:lnTo>
                      <a:pt x="6165" y="3359"/>
                    </a:lnTo>
                    <a:lnTo>
                      <a:pt x="6171" y="3355"/>
                    </a:lnTo>
                    <a:lnTo>
                      <a:pt x="6175" y="3348"/>
                    </a:lnTo>
                    <a:lnTo>
                      <a:pt x="6181" y="3341"/>
                    </a:lnTo>
                    <a:lnTo>
                      <a:pt x="6185" y="3333"/>
                    </a:lnTo>
                    <a:lnTo>
                      <a:pt x="6188" y="3323"/>
                    </a:lnTo>
                    <a:lnTo>
                      <a:pt x="6189" y="3310"/>
                    </a:lnTo>
                    <a:lnTo>
                      <a:pt x="6189" y="3299"/>
                    </a:lnTo>
                    <a:lnTo>
                      <a:pt x="6187" y="3287"/>
                    </a:lnTo>
                    <a:lnTo>
                      <a:pt x="6182" y="3278"/>
                    </a:lnTo>
                    <a:lnTo>
                      <a:pt x="6178" y="3270"/>
                    </a:lnTo>
                    <a:lnTo>
                      <a:pt x="6165" y="3255"/>
                    </a:lnTo>
                    <a:lnTo>
                      <a:pt x="6151" y="3242"/>
                    </a:lnTo>
                    <a:lnTo>
                      <a:pt x="6144" y="3235"/>
                    </a:lnTo>
                    <a:lnTo>
                      <a:pt x="6138" y="3229"/>
                    </a:lnTo>
                    <a:lnTo>
                      <a:pt x="6131" y="3221"/>
                    </a:lnTo>
                    <a:lnTo>
                      <a:pt x="6125" y="3213"/>
                    </a:lnTo>
                    <a:lnTo>
                      <a:pt x="6120" y="3202"/>
                    </a:lnTo>
                    <a:lnTo>
                      <a:pt x="6117" y="3192"/>
                    </a:lnTo>
                    <a:lnTo>
                      <a:pt x="6113" y="3179"/>
                    </a:lnTo>
                    <a:lnTo>
                      <a:pt x="6113" y="3164"/>
                    </a:lnTo>
                    <a:lnTo>
                      <a:pt x="6113" y="3154"/>
                    </a:lnTo>
                    <a:lnTo>
                      <a:pt x="6116" y="3144"/>
                    </a:lnTo>
                    <a:lnTo>
                      <a:pt x="6119" y="3133"/>
                    </a:lnTo>
                    <a:lnTo>
                      <a:pt x="6124" y="3123"/>
                    </a:lnTo>
                    <a:lnTo>
                      <a:pt x="6130" y="3114"/>
                    </a:lnTo>
                    <a:lnTo>
                      <a:pt x="6136" y="3105"/>
                    </a:lnTo>
                    <a:lnTo>
                      <a:pt x="6146" y="3096"/>
                    </a:lnTo>
                    <a:lnTo>
                      <a:pt x="6155" y="3088"/>
                    </a:lnTo>
                    <a:lnTo>
                      <a:pt x="6155" y="3031"/>
                    </a:lnTo>
                    <a:lnTo>
                      <a:pt x="6140" y="3031"/>
                    </a:lnTo>
                    <a:lnTo>
                      <a:pt x="6125" y="3030"/>
                    </a:lnTo>
                    <a:lnTo>
                      <a:pt x="6111" y="3028"/>
                    </a:lnTo>
                    <a:lnTo>
                      <a:pt x="6099" y="3024"/>
                    </a:lnTo>
                    <a:lnTo>
                      <a:pt x="6086" y="3021"/>
                    </a:lnTo>
                    <a:lnTo>
                      <a:pt x="6074" y="3016"/>
                    </a:lnTo>
                    <a:lnTo>
                      <a:pt x="6063" y="3011"/>
                    </a:lnTo>
                    <a:lnTo>
                      <a:pt x="6053" y="3005"/>
                    </a:lnTo>
                    <a:lnTo>
                      <a:pt x="6042" y="2998"/>
                    </a:lnTo>
                    <a:lnTo>
                      <a:pt x="6033" y="2991"/>
                    </a:lnTo>
                    <a:lnTo>
                      <a:pt x="6024" y="2983"/>
                    </a:lnTo>
                    <a:lnTo>
                      <a:pt x="6016" y="2975"/>
                    </a:lnTo>
                    <a:lnTo>
                      <a:pt x="6000" y="2957"/>
                    </a:lnTo>
                    <a:lnTo>
                      <a:pt x="5986" y="2937"/>
                    </a:lnTo>
                    <a:lnTo>
                      <a:pt x="5972" y="2916"/>
                    </a:lnTo>
                    <a:lnTo>
                      <a:pt x="5961" y="2894"/>
                    </a:lnTo>
                    <a:lnTo>
                      <a:pt x="5948" y="2871"/>
                    </a:lnTo>
                    <a:lnTo>
                      <a:pt x="5938" y="2847"/>
                    </a:lnTo>
                    <a:lnTo>
                      <a:pt x="5915" y="2800"/>
                    </a:lnTo>
                    <a:lnTo>
                      <a:pt x="5890" y="2753"/>
                    </a:lnTo>
                    <a:lnTo>
                      <a:pt x="5886" y="2746"/>
                    </a:lnTo>
                    <a:lnTo>
                      <a:pt x="5881" y="2738"/>
                    </a:lnTo>
                    <a:lnTo>
                      <a:pt x="5875" y="2731"/>
                    </a:lnTo>
                    <a:lnTo>
                      <a:pt x="5868" y="2724"/>
                    </a:lnTo>
                    <a:lnTo>
                      <a:pt x="5854" y="2709"/>
                    </a:lnTo>
                    <a:lnTo>
                      <a:pt x="5841" y="2693"/>
                    </a:lnTo>
                    <a:lnTo>
                      <a:pt x="5834" y="2685"/>
                    </a:lnTo>
                    <a:lnTo>
                      <a:pt x="5828" y="2676"/>
                    </a:lnTo>
                    <a:lnTo>
                      <a:pt x="5822" y="2667"/>
                    </a:lnTo>
                    <a:lnTo>
                      <a:pt x="5816" y="2656"/>
                    </a:lnTo>
                    <a:lnTo>
                      <a:pt x="5813" y="2645"/>
                    </a:lnTo>
                    <a:lnTo>
                      <a:pt x="5810" y="2633"/>
                    </a:lnTo>
                    <a:lnTo>
                      <a:pt x="5807" y="2621"/>
                    </a:lnTo>
                    <a:lnTo>
                      <a:pt x="5806" y="2607"/>
                    </a:lnTo>
                    <a:lnTo>
                      <a:pt x="5807" y="2596"/>
                    </a:lnTo>
                    <a:lnTo>
                      <a:pt x="5808" y="2585"/>
                    </a:lnTo>
                    <a:lnTo>
                      <a:pt x="5811" y="2575"/>
                    </a:lnTo>
                    <a:lnTo>
                      <a:pt x="5813" y="2566"/>
                    </a:lnTo>
                    <a:lnTo>
                      <a:pt x="5816" y="2558"/>
                    </a:lnTo>
                    <a:lnTo>
                      <a:pt x="5821" y="2550"/>
                    </a:lnTo>
                    <a:lnTo>
                      <a:pt x="5826" y="2543"/>
                    </a:lnTo>
                    <a:lnTo>
                      <a:pt x="5831" y="2536"/>
                    </a:lnTo>
                    <a:lnTo>
                      <a:pt x="5837" y="2530"/>
                    </a:lnTo>
                    <a:lnTo>
                      <a:pt x="5844" y="2526"/>
                    </a:lnTo>
                    <a:lnTo>
                      <a:pt x="5852" y="2520"/>
                    </a:lnTo>
                    <a:lnTo>
                      <a:pt x="5860" y="2516"/>
                    </a:lnTo>
                    <a:lnTo>
                      <a:pt x="5876" y="2508"/>
                    </a:lnTo>
                    <a:lnTo>
                      <a:pt x="5896" y="2503"/>
                    </a:lnTo>
                    <a:lnTo>
                      <a:pt x="5916" y="2498"/>
                    </a:lnTo>
                    <a:lnTo>
                      <a:pt x="5937" y="2495"/>
                    </a:lnTo>
                    <a:lnTo>
                      <a:pt x="5960" y="2491"/>
                    </a:lnTo>
                    <a:lnTo>
                      <a:pt x="5983" y="2489"/>
                    </a:lnTo>
                    <a:lnTo>
                      <a:pt x="6031" y="2485"/>
                    </a:lnTo>
                    <a:lnTo>
                      <a:pt x="6078" y="2482"/>
                    </a:lnTo>
                    <a:lnTo>
                      <a:pt x="6092" y="2477"/>
                    </a:lnTo>
                    <a:lnTo>
                      <a:pt x="6104" y="2473"/>
                    </a:lnTo>
                    <a:lnTo>
                      <a:pt x="6117" y="2466"/>
                    </a:lnTo>
                    <a:lnTo>
                      <a:pt x="6128" y="2457"/>
                    </a:lnTo>
                    <a:lnTo>
                      <a:pt x="6150" y="2438"/>
                    </a:lnTo>
                    <a:lnTo>
                      <a:pt x="6173" y="2417"/>
                    </a:lnTo>
                    <a:lnTo>
                      <a:pt x="6186" y="2406"/>
                    </a:lnTo>
                    <a:lnTo>
                      <a:pt x="6199" y="2397"/>
                    </a:lnTo>
                    <a:lnTo>
                      <a:pt x="6214" y="2388"/>
                    </a:lnTo>
                    <a:lnTo>
                      <a:pt x="6230" y="2380"/>
                    </a:lnTo>
                    <a:lnTo>
                      <a:pt x="6248" y="2373"/>
                    </a:lnTo>
                    <a:lnTo>
                      <a:pt x="6268" y="2367"/>
                    </a:lnTo>
                    <a:lnTo>
                      <a:pt x="6279" y="2366"/>
                    </a:lnTo>
                    <a:lnTo>
                      <a:pt x="6290" y="2364"/>
                    </a:lnTo>
                    <a:lnTo>
                      <a:pt x="6303" y="2364"/>
                    </a:lnTo>
                    <a:lnTo>
                      <a:pt x="6315" y="2363"/>
                    </a:lnTo>
                    <a:lnTo>
                      <a:pt x="6332" y="2364"/>
                    </a:lnTo>
                    <a:lnTo>
                      <a:pt x="6350" y="2365"/>
                    </a:lnTo>
                    <a:lnTo>
                      <a:pt x="6367" y="2367"/>
                    </a:lnTo>
                    <a:lnTo>
                      <a:pt x="6382" y="2371"/>
                    </a:lnTo>
                    <a:lnTo>
                      <a:pt x="6413" y="2379"/>
                    </a:lnTo>
                    <a:lnTo>
                      <a:pt x="6440" y="2388"/>
                    </a:lnTo>
                    <a:lnTo>
                      <a:pt x="6468" y="2396"/>
                    </a:lnTo>
                    <a:lnTo>
                      <a:pt x="6493" y="2404"/>
                    </a:lnTo>
                    <a:lnTo>
                      <a:pt x="6506" y="2407"/>
                    </a:lnTo>
                    <a:lnTo>
                      <a:pt x="6519" y="2410"/>
                    </a:lnTo>
                    <a:lnTo>
                      <a:pt x="6532" y="2411"/>
                    </a:lnTo>
                    <a:lnTo>
                      <a:pt x="6545" y="2412"/>
                    </a:lnTo>
                    <a:lnTo>
                      <a:pt x="6565" y="2411"/>
                    </a:lnTo>
                    <a:lnTo>
                      <a:pt x="6588" y="2407"/>
                    </a:lnTo>
                    <a:lnTo>
                      <a:pt x="6612" y="2402"/>
                    </a:lnTo>
                    <a:lnTo>
                      <a:pt x="6637" y="2394"/>
                    </a:lnTo>
                    <a:lnTo>
                      <a:pt x="6664" y="2385"/>
                    </a:lnTo>
                    <a:lnTo>
                      <a:pt x="6690" y="2373"/>
                    </a:lnTo>
                    <a:lnTo>
                      <a:pt x="6715" y="2360"/>
                    </a:lnTo>
                    <a:lnTo>
                      <a:pt x="6741" y="2348"/>
                    </a:lnTo>
                    <a:lnTo>
                      <a:pt x="6765" y="2333"/>
                    </a:lnTo>
                    <a:lnTo>
                      <a:pt x="6786" y="2319"/>
                    </a:lnTo>
                    <a:lnTo>
                      <a:pt x="6806" y="2304"/>
                    </a:lnTo>
                    <a:lnTo>
                      <a:pt x="6824" y="2288"/>
                    </a:lnTo>
                    <a:lnTo>
                      <a:pt x="6831" y="2281"/>
                    </a:lnTo>
                    <a:lnTo>
                      <a:pt x="6838" y="2273"/>
                    </a:lnTo>
                    <a:lnTo>
                      <a:pt x="6844" y="2266"/>
                    </a:lnTo>
                    <a:lnTo>
                      <a:pt x="6848" y="2258"/>
                    </a:lnTo>
                    <a:lnTo>
                      <a:pt x="6853" y="2251"/>
                    </a:lnTo>
                    <a:lnTo>
                      <a:pt x="6855" y="2245"/>
                    </a:lnTo>
                    <a:lnTo>
                      <a:pt x="6858" y="2238"/>
                    </a:lnTo>
                    <a:lnTo>
                      <a:pt x="6858" y="2231"/>
                    </a:lnTo>
                    <a:lnTo>
                      <a:pt x="6858" y="2230"/>
                    </a:lnTo>
                    <a:lnTo>
                      <a:pt x="6859" y="2225"/>
                    </a:lnTo>
                    <a:lnTo>
                      <a:pt x="6859" y="2218"/>
                    </a:lnTo>
                    <a:lnTo>
                      <a:pt x="6859" y="2209"/>
                    </a:lnTo>
                    <a:lnTo>
                      <a:pt x="6860" y="2199"/>
                    </a:lnTo>
                    <a:lnTo>
                      <a:pt x="6861" y="2187"/>
                    </a:lnTo>
                    <a:lnTo>
                      <a:pt x="6863" y="2175"/>
                    </a:lnTo>
                    <a:lnTo>
                      <a:pt x="6866" y="2161"/>
                    </a:lnTo>
                    <a:lnTo>
                      <a:pt x="6866" y="2154"/>
                    </a:lnTo>
                    <a:lnTo>
                      <a:pt x="6867" y="2147"/>
                    </a:lnTo>
                    <a:lnTo>
                      <a:pt x="6868" y="2141"/>
                    </a:lnTo>
                    <a:lnTo>
                      <a:pt x="6870" y="2136"/>
                    </a:lnTo>
                    <a:lnTo>
                      <a:pt x="6872" y="2131"/>
                    </a:lnTo>
                    <a:lnTo>
                      <a:pt x="6876" y="2128"/>
                    </a:lnTo>
                    <a:lnTo>
                      <a:pt x="6879" y="2124"/>
                    </a:lnTo>
                    <a:lnTo>
                      <a:pt x="6883" y="2121"/>
                    </a:lnTo>
                    <a:lnTo>
                      <a:pt x="6892" y="2116"/>
                    </a:lnTo>
                    <a:lnTo>
                      <a:pt x="6901" y="2113"/>
                    </a:lnTo>
                    <a:lnTo>
                      <a:pt x="6913" y="2110"/>
                    </a:lnTo>
                    <a:lnTo>
                      <a:pt x="6923" y="2108"/>
                    </a:lnTo>
                    <a:lnTo>
                      <a:pt x="6934" y="2106"/>
                    </a:lnTo>
                    <a:lnTo>
                      <a:pt x="6946" y="2102"/>
                    </a:lnTo>
                    <a:lnTo>
                      <a:pt x="6957" y="2099"/>
                    </a:lnTo>
                    <a:lnTo>
                      <a:pt x="6968" y="2093"/>
                    </a:lnTo>
                    <a:lnTo>
                      <a:pt x="6972" y="2090"/>
                    </a:lnTo>
                    <a:lnTo>
                      <a:pt x="6978" y="2086"/>
                    </a:lnTo>
                    <a:lnTo>
                      <a:pt x="6981" y="2082"/>
                    </a:lnTo>
                    <a:lnTo>
                      <a:pt x="6986" y="2077"/>
                    </a:lnTo>
                    <a:lnTo>
                      <a:pt x="6989" y="2071"/>
                    </a:lnTo>
                    <a:lnTo>
                      <a:pt x="6993" y="2065"/>
                    </a:lnTo>
                    <a:lnTo>
                      <a:pt x="6995" y="2058"/>
                    </a:lnTo>
                    <a:lnTo>
                      <a:pt x="6997" y="2050"/>
                    </a:lnTo>
                    <a:lnTo>
                      <a:pt x="6979" y="2043"/>
                    </a:lnTo>
                    <a:lnTo>
                      <a:pt x="6958" y="2037"/>
                    </a:lnTo>
                    <a:lnTo>
                      <a:pt x="6937" y="2032"/>
                    </a:lnTo>
                    <a:lnTo>
                      <a:pt x="6915" y="2026"/>
                    </a:lnTo>
                    <a:lnTo>
                      <a:pt x="6905" y="2021"/>
                    </a:lnTo>
                    <a:lnTo>
                      <a:pt x="6894" y="2016"/>
                    </a:lnTo>
                    <a:lnTo>
                      <a:pt x="6885" y="2009"/>
                    </a:lnTo>
                    <a:lnTo>
                      <a:pt x="6877" y="2003"/>
                    </a:lnTo>
                    <a:lnTo>
                      <a:pt x="6870" y="1995"/>
                    </a:lnTo>
                    <a:lnTo>
                      <a:pt x="6864" y="1984"/>
                    </a:lnTo>
                    <a:lnTo>
                      <a:pt x="6860" y="1973"/>
                    </a:lnTo>
                    <a:lnTo>
                      <a:pt x="6858" y="1959"/>
                    </a:lnTo>
                    <a:lnTo>
                      <a:pt x="6746" y="1959"/>
                    </a:lnTo>
                    <a:lnTo>
                      <a:pt x="6739" y="1967"/>
                    </a:lnTo>
                    <a:lnTo>
                      <a:pt x="6733" y="1975"/>
                    </a:lnTo>
                    <a:lnTo>
                      <a:pt x="6727" y="1984"/>
                    </a:lnTo>
                    <a:lnTo>
                      <a:pt x="6720" y="1991"/>
                    </a:lnTo>
                    <a:lnTo>
                      <a:pt x="6712" y="1998"/>
                    </a:lnTo>
                    <a:lnTo>
                      <a:pt x="6703" y="2004"/>
                    </a:lnTo>
                    <a:lnTo>
                      <a:pt x="6697" y="2005"/>
                    </a:lnTo>
                    <a:lnTo>
                      <a:pt x="6691" y="2007"/>
                    </a:lnTo>
                    <a:lnTo>
                      <a:pt x="6684" y="2007"/>
                    </a:lnTo>
                    <a:lnTo>
                      <a:pt x="6678" y="2008"/>
                    </a:lnTo>
                    <a:lnTo>
                      <a:pt x="6666" y="2007"/>
                    </a:lnTo>
                    <a:lnTo>
                      <a:pt x="6655" y="2006"/>
                    </a:lnTo>
                    <a:lnTo>
                      <a:pt x="6645" y="2004"/>
                    </a:lnTo>
                    <a:lnTo>
                      <a:pt x="6636" y="2000"/>
                    </a:lnTo>
                    <a:lnTo>
                      <a:pt x="6627" y="1997"/>
                    </a:lnTo>
                    <a:lnTo>
                      <a:pt x="6619" y="1992"/>
                    </a:lnTo>
                    <a:lnTo>
                      <a:pt x="6611" y="1987"/>
                    </a:lnTo>
                    <a:lnTo>
                      <a:pt x="6604" y="1981"/>
                    </a:lnTo>
                    <a:lnTo>
                      <a:pt x="6590" y="1967"/>
                    </a:lnTo>
                    <a:lnTo>
                      <a:pt x="6577" y="1952"/>
                    </a:lnTo>
                    <a:lnTo>
                      <a:pt x="6564" y="1935"/>
                    </a:lnTo>
                    <a:lnTo>
                      <a:pt x="6551" y="1918"/>
                    </a:lnTo>
                    <a:lnTo>
                      <a:pt x="6554" y="1909"/>
                    </a:lnTo>
                    <a:lnTo>
                      <a:pt x="6556" y="1898"/>
                    </a:lnTo>
                    <a:lnTo>
                      <a:pt x="6557" y="1888"/>
                    </a:lnTo>
                    <a:lnTo>
                      <a:pt x="6557" y="1879"/>
                    </a:lnTo>
                    <a:lnTo>
                      <a:pt x="6557" y="1868"/>
                    </a:lnTo>
                    <a:lnTo>
                      <a:pt x="6557" y="1858"/>
                    </a:lnTo>
                    <a:lnTo>
                      <a:pt x="6555" y="1849"/>
                    </a:lnTo>
                    <a:lnTo>
                      <a:pt x="6553" y="1839"/>
                    </a:lnTo>
                    <a:lnTo>
                      <a:pt x="6549" y="1831"/>
                    </a:lnTo>
                    <a:lnTo>
                      <a:pt x="6545" y="1821"/>
                    </a:lnTo>
                    <a:lnTo>
                      <a:pt x="6540" y="1815"/>
                    </a:lnTo>
                    <a:lnTo>
                      <a:pt x="6533" y="1808"/>
                    </a:lnTo>
                    <a:lnTo>
                      <a:pt x="6525" y="1802"/>
                    </a:lnTo>
                    <a:lnTo>
                      <a:pt x="6517" y="1797"/>
                    </a:lnTo>
                    <a:lnTo>
                      <a:pt x="6507" y="1794"/>
                    </a:lnTo>
                    <a:lnTo>
                      <a:pt x="6496" y="1792"/>
                    </a:lnTo>
                    <a:lnTo>
                      <a:pt x="6488" y="1793"/>
                    </a:lnTo>
                    <a:lnTo>
                      <a:pt x="6481" y="1796"/>
                    </a:lnTo>
                    <a:lnTo>
                      <a:pt x="6476" y="1800"/>
                    </a:lnTo>
                    <a:lnTo>
                      <a:pt x="6470" y="1805"/>
                    </a:lnTo>
                    <a:lnTo>
                      <a:pt x="6465" y="1811"/>
                    </a:lnTo>
                    <a:lnTo>
                      <a:pt x="6461" y="1818"/>
                    </a:lnTo>
                    <a:lnTo>
                      <a:pt x="6457" y="1826"/>
                    </a:lnTo>
                    <a:lnTo>
                      <a:pt x="6454" y="1834"/>
                    </a:lnTo>
                    <a:lnTo>
                      <a:pt x="6445" y="1829"/>
                    </a:lnTo>
                    <a:lnTo>
                      <a:pt x="6438" y="1824"/>
                    </a:lnTo>
                    <a:lnTo>
                      <a:pt x="6432" y="1817"/>
                    </a:lnTo>
                    <a:lnTo>
                      <a:pt x="6428" y="1810"/>
                    </a:lnTo>
                    <a:lnTo>
                      <a:pt x="6422" y="1794"/>
                    </a:lnTo>
                    <a:lnTo>
                      <a:pt x="6418" y="1778"/>
                    </a:lnTo>
                    <a:lnTo>
                      <a:pt x="6417" y="1770"/>
                    </a:lnTo>
                    <a:lnTo>
                      <a:pt x="6415" y="1762"/>
                    </a:lnTo>
                    <a:lnTo>
                      <a:pt x="6412" y="1755"/>
                    </a:lnTo>
                    <a:lnTo>
                      <a:pt x="6408" y="1749"/>
                    </a:lnTo>
                    <a:lnTo>
                      <a:pt x="6404" y="1743"/>
                    </a:lnTo>
                    <a:lnTo>
                      <a:pt x="6397" y="1740"/>
                    </a:lnTo>
                    <a:lnTo>
                      <a:pt x="6389" y="1738"/>
                    </a:lnTo>
                    <a:lnTo>
                      <a:pt x="6377" y="1737"/>
                    </a:lnTo>
                    <a:lnTo>
                      <a:pt x="6369" y="1738"/>
                    </a:lnTo>
                    <a:lnTo>
                      <a:pt x="6361" y="1740"/>
                    </a:lnTo>
                    <a:lnTo>
                      <a:pt x="6353" y="1743"/>
                    </a:lnTo>
                    <a:lnTo>
                      <a:pt x="6346" y="1748"/>
                    </a:lnTo>
                    <a:lnTo>
                      <a:pt x="6335" y="1761"/>
                    </a:lnTo>
                    <a:lnTo>
                      <a:pt x="6323" y="1774"/>
                    </a:lnTo>
                    <a:lnTo>
                      <a:pt x="6312" y="1789"/>
                    </a:lnTo>
                    <a:lnTo>
                      <a:pt x="6300" y="1801"/>
                    </a:lnTo>
                    <a:lnTo>
                      <a:pt x="6295" y="1805"/>
                    </a:lnTo>
                    <a:lnTo>
                      <a:pt x="6288" y="1810"/>
                    </a:lnTo>
                    <a:lnTo>
                      <a:pt x="6281" y="1812"/>
                    </a:lnTo>
                    <a:lnTo>
                      <a:pt x="6273" y="1813"/>
                    </a:lnTo>
                    <a:lnTo>
                      <a:pt x="6264" y="1811"/>
                    </a:lnTo>
                    <a:lnTo>
                      <a:pt x="6256" y="1808"/>
                    </a:lnTo>
                    <a:lnTo>
                      <a:pt x="6246" y="1803"/>
                    </a:lnTo>
                    <a:lnTo>
                      <a:pt x="6238" y="1796"/>
                    </a:lnTo>
                    <a:lnTo>
                      <a:pt x="6229" y="1789"/>
                    </a:lnTo>
                    <a:lnTo>
                      <a:pt x="6221" y="1782"/>
                    </a:lnTo>
                    <a:lnTo>
                      <a:pt x="6214" y="1773"/>
                    </a:lnTo>
                    <a:lnTo>
                      <a:pt x="6206" y="1765"/>
                    </a:lnTo>
                    <a:lnTo>
                      <a:pt x="6191" y="1747"/>
                    </a:lnTo>
                    <a:lnTo>
                      <a:pt x="6179" y="1730"/>
                    </a:lnTo>
                    <a:lnTo>
                      <a:pt x="6166" y="1714"/>
                    </a:lnTo>
                    <a:lnTo>
                      <a:pt x="6155" y="1701"/>
                    </a:lnTo>
                    <a:lnTo>
                      <a:pt x="6128" y="1675"/>
                    </a:lnTo>
                    <a:lnTo>
                      <a:pt x="6102" y="1649"/>
                    </a:lnTo>
                    <a:lnTo>
                      <a:pt x="6089" y="1637"/>
                    </a:lnTo>
                    <a:lnTo>
                      <a:pt x="6074" y="1626"/>
                    </a:lnTo>
                    <a:lnTo>
                      <a:pt x="6060" y="1615"/>
                    </a:lnTo>
                    <a:lnTo>
                      <a:pt x="6045" y="1605"/>
                    </a:lnTo>
                    <a:lnTo>
                      <a:pt x="6027" y="1595"/>
                    </a:lnTo>
                    <a:lnTo>
                      <a:pt x="6010" y="1585"/>
                    </a:lnTo>
                    <a:lnTo>
                      <a:pt x="5992" y="1576"/>
                    </a:lnTo>
                    <a:lnTo>
                      <a:pt x="5971" y="1567"/>
                    </a:lnTo>
                    <a:lnTo>
                      <a:pt x="5951" y="1559"/>
                    </a:lnTo>
                    <a:lnTo>
                      <a:pt x="5928" y="1551"/>
                    </a:lnTo>
                    <a:lnTo>
                      <a:pt x="5902" y="1543"/>
                    </a:lnTo>
                    <a:lnTo>
                      <a:pt x="5876" y="1535"/>
                    </a:lnTo>
                    <a:lnTo>
                      <a:pt x="5877" y="1521"/>
                    </a:lnTo>
                    <a:lnTo>
                      <a:pt x="5877" y="1508"/>
                    </a:lnTo>
                    <a:lnTo>
                      <a:pt x="5875" y="1497"/>
                    </a:lnTo>
                    <a:lnTo>
                      <a:pt x="5870" y="1487"/>
                    </a:lnTo>
                    <a:lnTo>
                      <a:pt x="5865" y="1476"/>
                    </a:lnTo>
                    <a:lnTo>
                      <a:pt x="5858" y="1468"/>
                    </a:lnTo>
                    <a:lnTo>
                      <a:pt x="5851" y="1460"/>
                    </a:lnTo>
                    <a:lnTo>
                      <a:pt x="5843" y="1452"/>
                    </a:lnTo>
                    <a:lnTo>
                      <a:pt x="5828" y="1439"/>
                    </a:lnTo>
                    <a:lnTo>
                      <a:pt x="5814" y="1427"/>
                    </a:lnTo>
                    <a:lnTo>
                      <a:pt x="5808" y="1421"/>
                    </a:lnTo>
                    <a:lnTo>
                      <a:pt x="5804" y="1414"/>
                    </a:lnTo>
                    <a:lnTo>
                      <a:pt x="5800" y="1409"/>
                    </a:lnTo>
                    <a:lnTo>
                      <a:pt x="5799" y="1402"/>
                    </a:lnTo>
                    <a:lnTo>
                      <a:pt x="5799" y="1392"/>
                    </a:lnTo>
                    <a:lnTo>
                      <a:pt x="5799" y="1383"/>
                    </a:lnTo>
                    <a:lnTo>
                      <a:pt x="5799" y="1375"/>
                    </a:lnTo>
                    <a:lnTo>
                      <a:pt x="5799" y="1367"/>
                    </a:lnTo>
                    <a:lnTo>
                      <a:pt x="5799" y="1359"/>
                    </a:lnTo>
                    <a:lnTo>
                      <a:pt x="5799" y="1351"/>
                    </a:lnTo>
                    <a:lnTo>
                      <a:pt x="5799" y="1342"/>
                    </a:lnTo>
                    <a:lnTo>
                      <a:pt x="5799" y="1333"/>
                    </a:lnTo>
                    <a:lnTo>
                      <a:pt x="5800" y="1328"/>
                    </a:lnTo>
                    <a:lnTo>
                      <a:pt x="5799" y="1324"/>
                    </a:lnTo>
                    <a:lnTo>
                      <a:pt x="5798" y="1320"/>
                    </a:lnTo>
                    <a:lnTo>
                      <a:pt x="5797" y="1317"/>
                    </a:lnTo>
                    <a:lnTo>
                      <a:pt x="5792" y="1310"/>
                    </a:lnTo>
                    <a:lnTo>
                      <a:pt x="5786" y="1304"/>
                    </a:lnTo>
                    <a:lnTo>
                      <a:pt x="5776" y="1300"/>
                    </a:lnTo>
                    <a:lnTo>
                      <a:pt x="5767" y="1295"/>
                    </a:lnTo>
                    <a:lnTo>
                      <a:pt x="5756" y="1292"/>
                    </a:lnTo>
                    <a:lnTo>
                      <a:pt x="5743" y="1289"/>
                    </a:lnTo>
                    <a:lnTo>
                      <a:pt x="5717" y="1285"/>
                    </a:lnTo>
                    <a:lnTo>
                      <a:pt x="5689" y="1281"/>
                    </a:lnTo>
                    <a:lnTo>
                      <a:pt x="5663" y="1279"/>
                    </a:lnTo>
                    <a:lnTo>
                      <a:pt x="5640" y="1277"/>
                    </a:lnTo>
                    <a:lnTo>
                      <a:pt x="5627" y="1280"/>
                    </a:lnTo>
                    <a:lnTo>
                      <a:pt x="5616" y="1281"/>
                    </a:lnTo>
                    <a:lnTo>
                      <a:pt x="5603" y="1282"/>
                    </a:lnTo>
                    <a:lnTo>
                      <a:pt x="5591" y="1284"/>
                    </a:lnTo>
                    <a:lnTo>
                      <a:pt x="5578" y="1284"/>
                    </a:lnTo>
                    <a:lnTo>
                      <a:pt x="5565" y="1282"/>
                    </a:lnTo>
                    <a:lnTo>
                      <a:pt x="5552" y="1280"/>
                    </a:lnTo>
                    <a:lnTo>
                      <a:pt x="5539" y="1278"/>
                    </a:lnTo>
                    <a:lnTo>
                      <a:pt x="5512" y="1272"/>
                    </a:lnTo>
                    <a:lnTo>
                      <a:pt x="5485" y="1264"/>
                    </a:lnTo>
                    <a:lnTo>
                      <a:pt x="5456" y="1254"/>
                    </a:lnTo>
                    <a:lnTo>
                      <a:pt x="5429" y="1242"/>
                    </a:lnTo>
                    <a:lnTo>
                      <a:pt x="5400" y="1228"/>
                    </a:lnTo>
                    <a:lnTo>
                      <a:pt x="5373" y="1215"/>
                    </a:lnTo>
                    <a:lnTo>
                      <a:pt x="5344" y="1200"/>
                    </a:lnTo>
                    <a:lnTo>
                      <a:pt x="5317" y="1185"/>
                    </a:lnTo>
                    <a:lnTo>
                      <a:pt x="5262" y="1154"/>
                    </a:lnTo>
                    <a:lnTo>
                      <a:pt x="5208" y="1123"/>
                    </a:lnTo>
                    <a:lnTo>
                      <a:pt x="5194" y="1124"/>
                    </a:lnTo>
                    <a:lnTo>
                      <a:pt x="5181" y="1128"/>
                    </a:lnTo>
                    <a:lnTo>
                      <a:pt x="5171" y="1131"/>
                    </a:lnTo>
                    <a:lnTo>
                      <a:pt x="5161" y="1137"/>
                    </a:lnTo>
                    <a:lnTo>
                      <a:pt x="5152" y="1142"/>
                    </a:lnTo>
                    <a:lnTo>
                      <a:pt x="5142" y="1149"/>
                    </a:lnTo>
                    <a:lnTo>
                      <a:pt x="5134" y="1157"/>
                    </a:lnTo>
                    <a:lnTo>
                      <a:pt x="5126" y="1165"/>
                    </a:lnTo>
                    <a:lnTo>
                      <a:pt x="5110" y="1180"/>
                    </a:lnTo>
                    <a:lnTo>
                      <a:pt x="5094" y="1194"/>
                    </a:lnTo>
                    <a:lnTo>
                      <a:pt x="5085" y="1200"/>
                    </a:lnTo>
                    <a:lnTo>
                      <a:pt x="5076" y="1203"/>
                    </a:lnTo>
                    <a:lnTo>
                      <a:pt x="5066" y="1206"/>
                    </a:lnTo>
                    <a:lnTo>
                      <a:pt x="5055" y="1207"/>
                    </a:lnTo>
                    <a:lnTo>
                      <a:pt x="5046" y="1207"/>
                    </a:lnTo>
                    <a:lnTo>
                      <a:pt x="5037" y="1206"/>
                    </a:lnTo>
                    <a:lnTo>
                      <a:pt x="5029" y="1204"/>
                    </a:lnTo>
                    <a:lnTo>
                      <a:pt x="5021" y="1202"/>
                    </a:lnTo>
                    <a:lnTo>
                      <a:pt x="5006" y="1197"/>
                    </a:lnTo>
                    <a:lnTo>
                      <a:pt x="4992" y="1191"/>
                    </a:lnTo>
                    <a:lnTo>
                      <a:pt x="4978" y="1183"/>
                    </a:lnTo>
                    <a:lnTo>
                      <a:pt x="4966" y="1175"/>
                    </a:lnTo>
                    <a:lnTo>
                      <a:pt x="4954" y="1164"/>
                    </a:lnTo>
                    <a:lnTo>
                      <a:pt x="4943" y="1155"/>
                    </a:lnTo>
                    <a:lnTo>
                      <a:pt x="4920" y="1136"/>
                    </a:lnTo>
                    <a:lnTo>
                      <a:pt x="4897" y="1118"/>
                    </a:lnTo>
                    <a:lnTo>
                      <a:pt x="4886" y="1113"/>
                    </a:lnTo>
                    <a:lnTo>
                      <a:pt x="4873" y="1107"/>
                    </a:lnTo>
                    <a:lnTo>
                      <a:pt x="4860" y="1103"/>
                    </a:lnTo>
                    <a:lnTo>
                      <a:pt x="4845" y="1102"/>
                    </a:lnTo>
                    <a:lnTo>
                      <a:pt x="4835" y="1102"/>
                    </a:lnTo>
                    <a:lnTo>
                      <a:pt x="4825" y="1103"/>
                    </a:lnTo>
                    <a:lnTo>
                      <a:pt x="4817" y="1106"/>
                    </a:lnTo>
                    <a:lnTo>
                      <a:pt x="4809" y="1109"/>
                    </a:lnTo>
                    <a:lnTo>
                      <a:pt x="4802" y="1114"/>
                    </a:lnTo>
                    <a:lnTo>
                      <a:pt x="4795" y="1120"/>
                    </a:lnTo>
                    <a:lnTo>
                      <a:pt x="4788" y="1125"/>
                    </a:lnTo>
                    <a:lnTo>
                      <a:pt x="4782" y="1131"/>
                    </a:lnTo>
                    <a:lnTo>
                      <a:pt x="4770" y="1144"/>
                    </a:lnTo>
                    <a:lnTo>
                      <a:pt x="4755" y="1154"/>
                    </a:lnTo>
                    <a:lnTo>
                      <a:pt x="4747" y="1158"/>
                    </a:lnTo>
                    <a:lnTo>
                      <a:pt x="4736" y="1162"/>
                    </a:lnTo>
                    <a:lnTo>
                      <a:pt x="4726" y="1164"/>
                    </a:lnTo>
                    <a:lnTo>
                      <a:pt x="4714" y="1165"/>
                    </a:lnTo>
                    <a:lnTo>
                      <a:pt x="4701" y="1162"/>
                    </a:lnTo>
                    <a:lnTo>
                      <a:pt x="4688" y="1156"/>
                    </a:lnTo>
                    <a:lnTo>
                      <a:pt x="4676" y="1149"/>
                    </a:lnTo>
                    <a:lnTo>
                      <a:pt x="4664" y="1141"/>
                    </a:lnTo>
                    <a:lnTo>
                      <a:pt x="4655" y="1131"/>
                    </a:lnTo>
                    <a:lnTo>
                      <a:pt x="4647" y="1121"/>
                    </a:lnTo>
                    <a:lnTo>
                      <a:pt x="4644" y="1115"/>
                    </a:lnTo>
                    <a:lnTo>
                      <a:pt x="4641" y="1108"/>
                    </a:lnTo>
                    <a:lnTo>
                      <a:pt x="4639" y="1102"/>
                    </a:lnTo>
                    <a:lnTo>
                      <a:pt x="4637" y="1095"/>
                    </a:lnTo>
                    <a:lnTo>
                      <a:pt x="4629" y="1097"/>
                    </a:lnTo>
                    <a:lnTo>
                      <a:pt x="4621" y="1100"/>
                    </a:lnTo>
                    <a:lnTo>
                      <a:pt x="4611" y="1105"/>
                    </a:lnTo>
                    <a:lnTo>
                      <a:pt x="4602" y="1109"/>
                    </a:lnTo>
                    <a:lnTo>
                      <a:pt x="4593" y="1115"/>
                    </a:lnTo>
                    <a:lnTo>
                      <a:pt x="4584" y="1120"/>
                    </a:lnTo>
                    <a:lnTo>
                      <a:pt x="4576" y="1122"/>
                    </a:lnTo>
                    <a:lnTo>
                      <a:pt x="4567" y="1123"/>
                    </a:lnTo>
                    <a:lnTo>
                      <a:pt x="4561" y="1123"/>
                    </a:lnTo>
                    <a:lnTo>
                      <a:pt x="4554" y="1122"/>
                    </a:lnTo>
                    <a:lnTo>
                      <a:pt x="4548" y="1121"/>
                    </a:lnTo>
                    <a:lnTo>
                      <a:pt x="4542" y="1117"/>
                    </a:lnTo>
                    <a:lnTo>
                      <a:pt x="4529" y="1110"/>
                    </a:lnTo>
                    <a:lnTo>
                      <a:pt x="4517" y="1101"/>
                    </a:lnTo>
                    <a:lnTo>
                      <a:pt x="4506" y="1090"/>
                    </a:lnTo>
                    <a:lnTo>
                      <a:pt x="4495" y="1077"/>
                    </a:lnTo>
                    <a:lnTo>
                      <a:pt x="4484" y="1062"/>
                    </a:lnTo>
                    <a:lnTo>
                      <a:pt x="4475" y="1047"/>
                    </a:lnTo>
                    <a:lnTo>
                      <a:pt x="4466" y="1030"/>
                    </a:lnTo>
                    <a:lnTo>
                      <a:pt x="4459" y="1013"/>
                    </a:lnTo>
                    <a:lnTo>
                      <a:pt x="4452" y="994"/>
                    </a:lnTo>
                    <a:lnTo>
                      <a:pt x="4446" y="976"/>
                    </a:lnTo>
                    <a:lnTo>
                      <a:pt x="4442" y="959"/>
                    </a:lnTo>
                    <a:lnTo>
                      <a:pt x="4438" y="941"/>
                    </a:lnTo>
                    <a:lnTo>
                      <a:pt x="4436" y="923"/>
                    </a:lnTo>
                    <a:lnTo>
                      <a:pt x="4435" y="907"/>
                    </a:lnTo>
                    <a:lnTo>
                      <a:pt x="4381" y="881"/>
                    </a:lnTo>
                    <a:lnTo>
                      <a:pt x="4329" y="855"/>
                    </a:lnTo>
                    <a:lnTo>
                      <a:pt x="4280" y="828"/>
                    </a:lnTo>
                    <a:lnTo>
                      <a:pt x="4235" y="802"/>
                    </a:lnTo>
                    <a:lnTo>
                      <a:pt x="4215" y="788"/>
                    </a:lnTo>
                    <a:lnTo>
                      <a:pt x="4195" y="775"/>
                    </a:lnTo>
                    <a:lnTo>
                      <a:pt x="4178" y="763"/>
                    </a:lnTo>
                    <a:lnTo>
                      <a:pt x="4162" y="751"/>
                    </a:lnTo>
                    <a:lnTo>
                      <a:pt x="4147" y="739"/>
                    </a:lnTo>
                    <a:lnTo>
                      <a:pt x="4135" y="727"/>
                    </a:lnTo>
                    <a:lnTo>
                      <a:pt x="4123" y="716"/>
                    </a:lnTo>
                    <a:lnTo>
                      <a:pt x="4115" y="705"/>
                    </a:lnTo>
                    <a:lnTo>
                      <a:pt x="4109" y="696"/>
                    </a:lnTo>
                    <a:lnTo>
                      <a:pt x="4105" y="686"/>
                    </a:lnTo>
                    <a:lnTo>
                      <a:pt x="4101" y="676"/>
                    </a:lnTo>
                    <a:lnTo>
                      <a:pt x="4098" y="664"/>
                    </a:lnTo>
                    <a:lnTo>
                      <a:pt x="4096" y="641"/>
                    </a:lnTo>
                    <a:lnTo>
                      <a:pt x="4094" y="617"/>
                    </a:lnTo>
                    <a:lnTo>
                      <a:pt x="4092" y="593"/>
                    </a:lnTo>
                    <a:lnTo>
                      <a:pt x="4090" y="569"/>
                    </a:lnTo>
                    <a:lnTo>
                      <a:pt x="4086" y="558"/>
                    </a:lnTo>
                    <a:lnTo>
                      <a:pt x="4083" y="546"/>
                    </a:lnTo>
                    <a:lnTo>
                      <a:pt x="4078" y="535"/>
                    </a:lnTo>
                    <a:lnTo>
                      <a:pt x="4073" y="524"/>
                    </a:lnTo>
                    <a:lnTo>
                      <a:pt x="4066" y="514"/>
                    </a:lnTo>
                    <a:lnTo>
                      <a:pt x="4058" y="505"/>
                    </a:lnTo>
                    <a:lnTo>
                      <a:pt x="4050" y="497"/>
                    </a:lnTo>
                    <a:lnTo>
                      <a:pt x="4041" y="491"/>
                    </a:lnTo>
                    <a:lnTo>
                      <a:pt x="4031" y="485"/>
                    </a:lnTo>
                    <a:lnTo>
                      <a:pt x="4021" y="481"/>
                    </a:lnTo>
                    <a:lnTo>
                      <a:pt x="4011" y="477"/>
                    </a:lnTo>
                    <a:lnTo>
                      <a:pt x="4000" y="473"/>
                    </a:lnTo>
                    <a:lnTo>
                      <a:pt x="3981" y="466"/>
                    </a:lnTo>
                    <a:lnTo>
                      <a:pt x="3963" y="457"/>
                    </a:lnTo>
                    <a:lnTo>
                      <a:pt x="3953" y="451"/>
                    </a:lnTo>
                    <a:lnTo>
                      <a:pt x="3947" y="445"/>
                    </a:lnTo>
                    <a:lnTo>
                      <a:pt x="3940" y="437"/>
                    </a:lnTo>
                    <a:lnTo>
                      <a:pt x="3934" y="427"/>
                    </a:lnTo>
                    <a:lnTo>
                      <a:pt x="3917" y="394"/>
                    </a:lnTo>
                    <a:lnTo>
                      <a:pt x="3896" y="350"/>
                    </a:lnTo>
                    <a:lnTo>
                      <a:pt x="3874" y="299"/>
                    </a:lnTo>
                    <a:lnTo>
                      <a:pt x="3850" y="247"/>
                    </a:lnTo>
                    <a:lnTo>
                      <a:pt x="3838" y="220"/>
                    </a:lnTo>
                    <a:lnTo>
                      <a:pt x="3825" y="195"/>
                    </a:lnTo>
                    <a:lnTo>
                      <a:pt x="3811" y="172"/>
                    </a:lnTo>
                    <a:lnTo>
                      <a:pt x="3799" y="149"/>
                    </a:lnTo>
                    <a:lnTo>
                      <a:pt x="3785" y="131"/>
                    </a:lnTo>
                    <a:lnTo>
                      <a:pt x="3772" y="114"/>
                    </a:lnTo>
                    <a:lnTo>
                      <a:pt x="3765" y="107"/>
                    </a:lnTo>
                    <a:lnTo>
                      <a:pt x="3758" y="101"/>
                    </a:lnTo>
                    <a:lnTo>
                      <a:pt x="3753" y="96"/>
                    </a:lnTo>
                    <a:lnTo>
                      <a:pt x="3746" y="93"/>
                    </a:lnTo>
                    <a:lnTo>
                      <a:pt x="3734" y="87"/>
                    </a:lnTo>
                    <a:lnTo>
                      <a:pt x="3719" y="84"/>
                    </a:lnTo>
                    <a:lnTo>
                      <a:pt x="3705" y="80"/>
                    </a:lnTo>
                    <a:lnTo>
                      <a:pt x="3686" y="77"/>
                    </a:lnTo>
                    <a:lnTo>
                      <a:pt x="3668" y="75"/>
                    </a:lnTo>
                    <a:lnTo>
                      <a:pt x="3647" y="74"/>
                    </a:lnTo>
                    <a:lnTo>
                      <a:pt x="3628" y="72"/>
                    </a:lnTo>
                    <a:lnTo>
                      <a:pt x="3606" y="71"/>
                    </a:lnTo>
                    <a:lnTo>
                      <a:pt x="3590" y="71"/>
                    </a:lnTo>
                    <a:lnTo>
                      <a:pt x="3575" y="72"/>
                    </a:lnTo>
                    <a:lnTo>
                      <a:pt x="3560" y="72"/>
                    </a:lnTo>
                    <a:lnTo>
                      <a:pt x="3545" y="75"/>
                    </a:lnTo>
                    <a:lnTo>
                      <a:pt x="3519" y="79"/>
                    </a:lnTo>
                    <a:lnTo>
                      <a:pt x="3492" y="86"/>
                    </a:lnTo>
                    <a:lnTo>
                      <a:pt x="3468" y="94"/>
                    </a:lnTo>
                    <a:lnTo>
                      <a:pt x="3444" y="103"/>
                    </a:lnTo>
                    <a:lnTo>
                      <a:pt x="3423" y="114"/>
                    </a:lnTo>
                    <a:lnTo>
                      <a:pt x="3400" y="124"/>
                    </a:lnTo>
                    <a:lnTo>
                      <a:pt x="3378" y="134"/>
                    </a:lnTo>
                    <a:lnTo>
                      <a:pt x="3356" y="145"/>
                    </a:lnTo>
                    <a:lnTo>
                      <a:pt x="3334" y="154"/>
                    </a:lnTo>
                    <a:lnTo>
                      <a:pt x="3311" y="162"/>
                    </a:lnTo>
                    <a:lnTo>
                      <a:pt x="3288" y="169"/>
                    </a:lnTo>
                    <a:lnTo>
                      <a:pt x="3263" y="173"/>
                    </a:lnTo>
                    <a:lnTo>
                      <a:pt x="3251" y="176"/>
                    </a:lnTo>
                    <a:lnTo>
                      <a:pt x="3237" y="176"/>
                    </a:lnTo>
                    <a:lnTo>
                      <a:pt x="3224" y="177"/>
                    </a:lnTo>
                    <a:lnTo>
                      <a:pt x="3209" y="177"/>
                    </a:lnTo>
                    <a:lnTo>
                      <a:pt x="3190" y="176"/>
                    </a:lnTo>
                    <a:lnTo>
                      <a:pt x="3170" y="173"/>
                    </a:lnTo>
                    <a:lnTo>
                      <a:pt x="3153" y="171"/>
                    </a:lnTo>
                    <a:lnTo>
                      <a:pt x="3137" y="168"/>
                    </a:lnTo>
                    <a:lnTo>
                      <a:pt x="3122" y="163"/>
                    </a:lnTo>
                    <a:lnTo>
                      <a:pt x="3108" y="158"/>
                    </a:lnTo>
                    <a:lnTo>
                      <a:pt x="3097" y="154"/>
                    </a:lnTo>
                    <a:lnTo>
                      <a:pt x="3085" y="148"/>
                    </a:lnTo>
                    <a:lnTo>
                      <a:pt x="3074" y="142"/>
                    </a:lnTo>
                    <a:lnTo>
                      <a:pt x="3065" y="135"/>
                    </a:lnTo>
                    <a:lnTo>
                      <a:pt x="3056" y="129"/>
                    </a:lnTo>
                    <a:lnTo>
                      <a:pt x="3048" y="122"/>
                    </a:lnTo>
                    <a:lnTo>
                      <a:pt x="3034" y="107"/>
                    </a:lnTo>
                    <a:lnTo>
                      <a:pt x="3022" y="92"/>
                    </a:lnTo>
                    <a:lnTo>
                      <a:pt x="3004" y="61"/>
                    </a:lnTo>
                    <a:lnTo>
                      <a:pt x="2987" y="35"/>
                    </a:lnTo>
                    <a:lnTo>
                      <a:pt x="2979" y="23"/>
                    </a:lnTo>
                    <a:lnTo>
                      <a:pt x="2970" y="13"/>
                    </a:lnTo>
                    <a:lnTo>
                      <a:pt x="2964" y="9"/>
                    </a:lnTo>
                    <a:lnTo>
                      <a:pt x="2958" y="6"/>
                    </a:lnTo>
                    <a:lnTo>
                      <a:pt x="2951" y="4"/>
                    </a:lnTo>
                    <a:lnTo>
                      <a:pt x="2944" y="2"/>
                    </a:lnTo>
                    <a:lnTo>
                      <a:pt x="2933" y="0"/>
                    </a:lnTo>
                    <a:lnTo>
                      <a:pt x="2922" y="1"/>
                    </a:lnTo>
                    <a:lnTo>
                      <a:pt x="2910" y="5"/>
                    </a:lnTo>
                    <a:lnTo>
                      <a:pt x="2897" y="9"/>
                    </a:lnTo>
                    <a:lnTo>
                      <a:pt x="2886" y="16"/>
                    </a:lnTo>
                    <a:lnTo>
                      <a:pt x="2875" y="25"/>
                    </a:lnTo>
                    <a:lnTo>
                      <a:pt x="2863" y="36"/>
                    </a:lnTo>
                    <a:lnTo>
                      <a:pt x="2850" y="47"/>
                    </a:lnTo>
                    <a:lnTo>
                      <a:pt x="2839" y="61"/>
                    </a:lnTo>
                    <a:lnTo>
                      <a:pt x="2827" y="76"/>
                    </a:lnTo>
                    <a:lnTo>
                      <a:pt x="2817" y="92"/>
                    </a:lnTo>
                    <a:lnTo>
                      <a:pt x="2806" y="108"/>
                    </a:lnTo>
                    <a:lnTo>
                      <a:pt x="2784" y="145"/>
                    </a:lnTo>
                    <a:lnTo>
                      <a:pt x="2762" y="184"/>
                    </a:lnTo>
                    <a:lnTo>
                      <a:pt x="2742" y="225"/>
                    </a:lnTo>
                    <a:lnTo>
                      <a:pt x="2722" y="266"/>
                    </a:lnTo>
                    <a:lnTo>
                      <a:pt x="2704" y="308"/>
                    </a:lnTo>
                    <a:lnTo>
                      <a:pt x="2686" y="348"/>
                    </a:lnTo>
                    <a:lnTo>
                      <a:pt x="2656" y="420"/>
                    </a:lnTo>
                    <a:lnTo>
                      <a:pt x="2631" y="476"/>
                    </a:lnTo>
                    <a:lnTo>
                      <a:pt x="2627" y="488"/>
                    </a:lnTo>
                    <a:lnTo>
                      <a:pt x="2623" y="499"/>
                    </a:lnTo>
                    <a:lnTo>
                      <a:pt x="2621" y="511"/>
                    </a:lnTo>
                    <a:lnTo>
                      <a:pt x="2620" y="522"/>
                    </a:lnTo>
                    <a:lnTo>
                      <a:pt x="2620" y="532"/>
                    </a:lnTo>
                    <a:lnTo>
                      <a:pt x="2621" y="544"/>
                    </a:lnTo>
                    <a:lnTo>
                      <a:pt x="2623" y="554"/>
                    </a:lnTo>
                    <a:lnTo>
                      <a:pt x="2626" y="564"/>
                    </a:lnTo>
                    <a:lnTo>
                      <a:pt x="2629" y="575"/>
                    </a:lnTo>
                    <a:lnTo>
                      <a:pt x="2633" y="585"/>
                    </a:lnTo>
                    <a:lnTo>
                      <a:pt x="2637" y="595"/>
                    </a:lnTo>
                    <a:lnTo>
                      <a:pt x="2643" y="605"/>
                    </a:lnTo>
                    <a:lnTo>
                      <a:pt x="2654" y="624"/>
                    </a:lnTo>
                    <a:lnTo>
                      <a:pt x="2667" y="642"/>
                    </a:lnTo>
                    <a:lnTo>
                      <a:pt x="2674" y="629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10" name="Freeform 529"/>
              <p:cNvSpPr>
                <a:spLocks/>
              </p:cNvSpPr>
              <p:nvPr/>
            </p:nvSpPr>
            <p:spPr bwMode="auto">
              <a:xfrm>
                <a:off x="450" y="1763"/>
                <a:ext cx="994" cy="921"/>
              </a:xfrm>
              <a:custGeom>
                <a:avLst/>
                <a:gdLst>
                  <a:gd name="T0" fmla="*/ 31 w 5382"/>
                  <a:gd name="T1" fmla="*/ 16 h 4995"/>
                  <a:gd name="T2" fmla="*/ 29 w 5382"/>
                  <a:gd name="T3" fmla="*/ 15 h 4995"/>
                  <a:gd name="T4" fmla="*/ 29 w 5382"/>
                  <a:gd name="T5" fmla="*/ 17 h 4995"/>
                  <a:gd name="T6" fmla="*/ 26 w 5382"/>
                  <a:gd name="T7" fmla="*/ 18 h 4995"/>
                  <a:gd name="T8" fmla="*/ 27 w 5382"/>
                  <a:gd name="T9" fmla="*/ 20 h 4995"/>
                  <a:gd name="T10" fmla="*/ 26 w 5382"/>
                  <a:gd name="T11" fmla="*/ 21 h 4995"/>
                  <a:gd name="T12" fmla="*/ 25 w 5382"/>
                  <a:gd name="T13" fmla="*/ 22 h 4995"/>
                  <a:gd name="T14" fmla="*/ 23 w 5382"/>
                  <a:gd name="T15" fmla="*/ 24 h 4995"/>
                  <a:gd name="T16" fmla="*/ 21 w 5382"/>
                  <a:gd name="T17" fmla="*/ 26 h 4995"/>
                  <a:gd name="T18" fmla="*/ 20 w 5382"/>
                  <a:gd name="T19" fmla="*/ 26 h 4995"/>
                  <a:gd name="T20" fmla="*/ 18 w 5382"/>
                  <a:gd name="T21" fmla="*/ 23 h 4995"/>
                  <a:gd name="T22" fmla="*/ 18 w 5382"/>
                  <a:gd name="T23" fmla="*/ 24 h 4995"/>
                  <a:gd name="T24" fmla="*/ 17 w 5382"/>
                  <a:gd name="T25" fmla="*/ 25 h 4995"/>
                  <a:gd name="T26" fmla="*/ 14 w 5382"/>
                  <a:gd name="T27" fmla="*/ 27 h 4995"/>
                  <a:gd name="T28" fmla="*/ 12 w 5382"/>
                  <a:gd name="T29" fmla="*/ 28 h 4995"/>
                  <a:gd name="T30" fmla="*/ 10 w 5382"/>
                  <a:gd name="T31" fmla="*/ 28 h 4995"/>
                  <a:gd name="T32" fmla="*/ 9 w 5382"/>
                  <a:gd name="T33" fmla="*/ 30 h 4995"/>
                  <a:gd name="T34" fmla="*/ 8 w 5382"/>
                  <a:gd name="T35" fmla="*/ 30 h 4995"/>
                  <a:gd name="T36" fmla="*/ 7 w 5382"/>
                  <a:gd name="T37" fmla="*/ 31 h 4995"/>
                  <a:gd name="T38" fmla="*/ 5 w 5382"/>
                  <a:gd name="T39" fmla="*/ 31 h 4995"/>
                  <a:gd name="T40" fmla="*/ 4 w 5382"/>
                  <a:gd name="T41" fmla="*/ 30 h 4995"/>
                  <a:gd name="T42" fmla="*/ 4 w 5382"/>
                  <a:gd name="T43" fmla="*/ 29 h 4995"/>
                  <a:gd name="T44" fmla="*/ 3 w 5382"/>
                  <a:gd name="T45" fmla="*/ 27 h 4995"/>
                  <a:gd name="T46" fmla="*/ 1 w 5382"/>
                  <a:gd name="T47" fmla="*/ 25 h 4995"/>
                  <a:gd name="T48" fmla="*/ 1 w 5382"/>
                  <a:gd name="T49" fmla="*/ 23 h 4995"/>
                  <a:gd name="T50" fmla="*/ 1 w 5382"/>
                  <a:gd name="T51" fmla="*/ 22 h 4995"/>
                  <a:gd name="T52" fmla="*/ 0 w 5382"/>
                  <a:gd name="T53" fmla="*/ 20 h 4995"/>
                  <a:gd name="T54" fmla="*/ 3 w 5382"/>
                  <a:gd name="T55" fmla="*/ 19 h 4995"/>
                  <a:gd name="T56" fmla="*/ 2 w 5382"/>
                  <a:gd name="T57" fmla="*/ 18 h 4995"/>
                  <a:gd name="T58" fmla="*/ 4 w 5382"/>
                  <a:gd name="T59" fmla="*/ 13 h 4995"/>
                  <a:gd name="T60" fmla="*/ 2 w 5382"/>
                  <a:gd name="T61" fmla="*/ 11 h 4995"/>
                  <a:gd name="T62" fmla="*/ 1 w 5382"/>
                  <a:gd name="T63" fmla="*/ 10 h 4995"/>
                  <a:gd name="T64" fmla="*/ 2 w 5382"/>
                  <a:gd name="T65" fmla="*/ 9 h 4995"/>
                  <a:gd name="T66" fmla="*/ 3 w 5382"/>
                  <a:gd name="T67" fmla="*/ 8 h 4995"/>
                  <a:gd name="T68" fmla="*/ 5 w 5382"/>
                  <a:gd name="T69" fmla="*/ 9 h 4995"/>
                  <a:gd name="T70" fmla="*/ 7 w 5382"/>
                  <a:gd name="T71" fmla="*/ 9 h 4995"/>
                  <a:gd name="T72" fmla="*/ 10 w 5382"/>
                  <a:gd name="T73" fmla="*/ 7 h 4995"/>
                  <a:gd name="T74" fmla="*/ 9 w 5382"/>
                  <a:gd name="T75" fmla="*/ 6 h 4995"/>
                  <a:gd name="T76" fmla="*/ 10 w 5382"/>
                  <a:gd name="T77" fmla="*/ 5 h 4995"/>
                  <a:gd name="T78" fmla="*/ 11 w 5382"/>
                  <a:gd name="T79" fmla="*/ 4 h 4995"/>
                  <a:gd name="T80" fmla="*/ 14 w 5382"/>
                  <a:gd name="T81" fmla="*/ 3 h 4995"/>
                  <a:gd name="T82" fmla="*/ 17 w 5382"/>
                  <a:gd name="T83" fmla="*/ 1 h 4995"/>
                  <a:gd name="T84" fmla="*/ 18 w 5382"/>
                  <a:gd name="T85" fmla="*/ 1 h 4995"/>
                  <a:gd name="T86" fmla="*/ 20 w 5382"/>
                  <a:gd name="T87" fmla="*/ 2 h 4995"/>
                  <a:gd name="T88" fmla="*/ 20 w 5382"/>
                  <a:gd name="T89" fmla="*/ 4 h 4995"/>
                  <a:gd name="T90" fmla="*/ 21 w 5382"/>
                  <a:gd name="T91" fmla="*/ 6 h 4995"/>
                  <a:gd name="T92" fmla="*/ 20 w 5382"/>
                  <a:gd name="T93" fmla="*/ 7 h 4995"/>
                  <a:gd name="T94" fmla="*/ 22 w 5382"/>
                  <a:gd name="T95" fmla="*/ 7 h 4995"/>
                  <a:gd name="T96" fmla="*/ 24 w 5382"/>
                  <a:gd name="T97" fmla="*/ 6 h 4995"/>
                  <a:gd name="T98" fmla="*/ 25 w 5382"/>
                  <a:gd name="T99" fmla="*/ 4 h 4995"/>
                  <a:gd name="T100" fmla="*/ 24 w 5382"/>
                  <a:gd name="T101" fmla="*/ 2 h 4995"/>
                  <a:gd name="T102" fmla="*/ 25 w 5382"/>
                  <a:gd name="T103" fmla="*/ 1 h 4995"/>
                  <a:gd name="T104" fmla="*/ 27 w 5382"/>
                  <a:gd name="T105" fmla="*/ 0 h 4995"/>
                  <a:gd name="T106" fmla="*/ 28 w 5382"/>
                  <a:gd name="T107" fmla="*/ 2 h 4995"/>
                  <a:gd name="T108" fmla="*/ 31 w 5382"/>
                  <a:gd name="T109" fmla="*/ 1 h 4995"/>
                  <a:gd name="T110" fmla="*/ 31 w 5382"/>
                  <a:gd name="T111" fmla="*/ 2 h 4995"/>
                  <a:gd name="T112" fmla="*/ 30 w 5382"/>
                  <a:gd name="T113" fmla="*/ 4 h 4995"/>
                  <a:gd name="T114" fmla="*/ 30 w 5382"/>
                  <a:gd name="T115" fmla="*/ 5 h 4995"/>
                  <a:gd name="T116" fmla="*/ 31 w 5382"/>
                  <a:gd name="T117" fmla="*/ 6 h 4995"/>
                  <a:gd name="T118" fmla="*/ 32 w 5382"/>
                  <a:gd name="T119" fmla="*/ 8 h 4995"/>
                  <a:gd name="T120" fmla="*/ 33 w 5382"/>
                  <a:gd name="T121" fmla="*/ 10 h 4995"/>
                  <a:gd name="T122" fmla="*/ 33 w 5382"/>
                  <a:gd name="T123" fmla="*/ 13 h 499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382"/>
                  <a:gd name="T187" fmla="*/ 0 h 4995"/>
                  <a:gd name="T188" fmla="*/ 5382 w 5382"/>
                  <a:gd name="T189" fmla="*/ 4995 h 499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382" h="4995">
                    <a:moveTo>
                      <a:pt x="5173" y="2167"/>
                    </a:moveTo>
                    <a:lnTo>
                      <a:pt x="5174" y="2182"/>
                    </a:lnTo>
                    <a:lnTo>
                      <a:pt x="5175" y="2196"/>
                    </a:lnTo>
                    <a:lnTo>
                      <a:pt x="5174" y="2211"/>
                    </a:lnTo>
                    <a:lnTo>
                      <a:pt x="5173" y="2227"/>
                    </a:lnTo>
                    <a:lnTo>
                      <a:pt x="5171" y="2243"/>
                    </a:lnTo>
                    <a:lnTo>
                      <a:pt x="5167" y="2260"/>
                    </a:lnTo>
                    <a:lnTo>
                      <a:pt x="5163" y="2276"/>
                    </a:lnTo>
                    <a:lnTo>
                      <a:pt x="5158" y="2293"/>
                    </a:lnTo>
                    <a:lnTo>
                      <a:pt x="5152" y="2309"/>
                    </a:lnTo>
                    <a:lnTo>
                      <a:pt x="5146" y="2325"/>
                    </a:lnTo>
                    <a:lnTo>
                      <a:pt x="5138" y="2341"/>
                    </a:lnTo>
                    <a:lnTo>
                      <a:pt x="5132" y="2357"/>
                    </a:lnTo>
                    <a:lnTo>
                      <a:pt x="5122" y="2373"/>
                    </a:lnTo>
                    <a:lnTo>
                      <a:pt x="5113" y="2388"/>
                    </a:lnTo>
                    <a:lnTo>
                      <a:pt x="5104" y="2404"/>
                    </a:lnTo>
                    <a:lnTo>
                      <a:pt x="5094" y="2419"/>
                    </a:lnTo>
                    <a:lnTo>
                      <a:pt x="5082" y="2433"/>
                    </a:lnTo>
                    <a:lnTo>
                      <a:pt x="5071" y="2446"/>
                    </a:lnTo>
                    <a:lnTo>
                      <a:pt x="5059" y="2459"/>
                    </a:lnTo>
                    <a:lnTo>
                      <a:pt x="5047" y="2472"/>
                    </a:lnTo>
                    <a:lnTo>
                      <a:pt x="5034" y="2484"/>
                    </a:lnTo>
                    <a:lnTo>
                      <a:pt x="5022" y="2495"/>
                    </a:lnTo>
                    <a:lnTo>
                      <a:pt x="5008" y="2505"/>
                    </a:lnTo>
                    <a:lnTo>
                      <a:pt x="4994" y="2514"/>
                    </a:lnTo>
                    <a:lnTo>
                      <a:pt x="4979" y="2523"/>
                    </a:lnTo>
                    <a:lnTo>
                      <a:pt x="4964" y="2530"/>
                    </a:lnTo>
                    <a:lnTo>
                      <a:pt x="4950" y="2537"/>
                    </a:lnTo>
                    <a:lnTo>
                      <a:pt x="4936" y="2542"/>
                    </a:lnTo>
                    <a:lnTo>
                      <a:pt x="4919" y="2545"/>
                    </a:lnTo>
                    <a:lnTo>
                      <a:pt x="4905" y="2549"/>
                    </a:lnTo>
                    <a:lnTo>
                      <a:pt x="4889" y="2550"/>
                    </a:lnTo>
                    <a:lnTo>
                      <a:pt x="4874" y="2550"/>
                    </a:lnTo>
                    <a:lnTo>
                      <a:pt x="4864" y="2550"/>
                    </a:lnTo>
                    <a:lnTo>
                      <a:pt x="4856" y="2549"/>
                    </a:lnTo>
                    <a:lnTo>
                      <a:pt x="4848" y="2546"/>
                    </a:lnTo>
                    <a:lnTo>
                      <a:pt x="4842" y="2544"/>
                    </a:lnTo>
                    <a:lnTo>
                      <a:pt x="4835" y="2541"/>
                    </a:lnTo>
                    <a:lnTo>
                      <a:pt x="4828" y="2537"/>
                    </a:lnTo>
                    <a:lnTo>
                      <a:pt x="4822" y="2532"/>
                    </a:lnTo>
                    <a:lnTo>
                      <a:pt x="4816" y="2528"/>
                    </a:lnTo>
                    <a:lnTo>
                      <a:pt x="4806" y="2518"/>
                    </a:lnTo>
                    <a:lnTo>
                      <a:pt x="4797" y="2505"/>
                    </a:lnTo>
                    <a:lnTo>
                      <a:pt x="4788" y="2492"/>
                    </a:lnTo>
                    <a:lnTo>
                      <a:pt x="4780" y="2480"/>
                    </a:lnTo>
                    <a:lnTo>
                      <a:pt x="4770" y="2466"/>
                    </a:lnTo>
                    <a:lnTo>
                      <a:pt x="4762" y="2453"/>
                    </a:lnTo>
                    <a:lnTo>
                      <a:pt x="4752" y="2441"/>
                    </a:lnTo>
                    <a:lnTo>
                      <a:pt x="4742" y="2429"/>
                    </a:lnTo>
                    <a:lnTo>
                      <a:pt x="4736" y="2425"/>
                    </a:lnTo>
                    <a:lnTo>
                      <a:pt x="4730" y="2420"/>
                    </a:lnTo>
                    <a:lnTo>
                      <a:pt x="4725" y="2416"/>
                    </a:lnTo>
                    <a:lnTo>
                      <a:pt x="4718" y="2412"/>
                    </a:lnTo>
                    <a:lnTo>
                      <a:pt x="4710" y="2409"/>
                    </a:lnTo>
                    <a:lnTo>
                      <a:pt x="4703" y="2406"/>
                    </a:lnTo>
                    <a:lnTo>
                      <a:pt x="4694" y="2405"/>
                    </a:lnTo>
                    <a:lnTo>
                      <a:pt x="4686" y="2404"/>
                    </a:lnTo>
                    <a:lnTo>
                      <a:pt x="4675" y="2404"/>
                    </a:lnTo>
                    <a:lnTo>
                      <a:pt x="4664" y="2405"/>
                    </a:lnTo>
                    <a:lnTo>
                      <a:pt x="4653" y="2406"/>
                    </a:lnTo>
                    <a:lnTo>
                      <a:pt x="4642" y="2409"/>
                    </a:lnTo>
                    <a:lnTo>
                      <a:pt x="4632" y="2412"/>
                    </a:lnTo>
                    <a:lnTo>
                      <a:pt x="4621" y="2416"/>
                    </a:lnTo>
                    <a:lnTo>
                      <a:pt x="4611" y="2420"/>
                    </a:lnTo>
                    <a:lnTo>
                      <a:pt x="4602" y="2425"/>
                    </a:lnTo>
                    <a:lnTo>
                      <a:pt x="4593" y="2430"/>
                    </a:lnTo>
                    <a:lnTo>
                      <a:pt x="4585" y="2436"/>
                    </a:lnTo>
                    <a:lnTo>
                      <a:pt x="4578" y="2443"/>
                    </a:lnTo>
                    <a:lnTo>
                      <a:pt x="4572" y="2451"/>
                    </a:lnTo>
                    <a:lnTo>
                      <a:pt x="4566" y="2459"/>
                    </a:lnTo>
                    <a:lnTo>
                      <a:pt x="4563" y="2467"/>
                    </a:lnTo>
                    <a:lnTo>
                      <a:pt x="4561" y="2477"/>
                    </a:lnTo>
                    <a:lnTo>
                      <a:pt x="4559" y="2487"/>
                    </a:lnTo>
                    <a:lnTo>
                      <a:pt x="4561" y="2499"/>
                    </a:lnTo>
                    <a:lnTo>
                      <a:pt x="4563" y="2511"/>
                    </a:lnTo>
                    <a:lnTo>
                      <a:pt x="4566" y="2522"/>
                    </a:lnTo>
                    <a:lnTo>
                      <a:pt x="4571" y="2531"/>
                    </a:lnTo>
                    <a:lnTo>
                      <a:pt x="4577" y="2541"/>
                    </a:lnTo>
                    <a:lnTo>
                      <a:pt x="4582" y="2549"/>
                    </a:lnTo>
                    <a:lnTo>
                      <a:pt x="4588" y="2557"/>
                    </a:lnTo>
                    <a:lnTo>
                      <a:pt x="4595" y="2563"/>
                    </a:lnTo>
                    <a:lnTo>
                      <a:pt x="4608" y="2577"/>
                    </a:lnTo>
                    <a:lnTo>
                      <a:pt x="4619" y="2591"/>
                    </a:lnTo>
                    <a:lnTo>
                      <a:pt x="4624" y="2598"/>
                    </a:lnTo>
                    <a:lnTo>
                      <a:pt x="4627" y="2605"/>
                    </a:lnTo>
                    <a:lnTo>
                      <a:pt x="4628" y="2612"/>
                    </a:lnTo>
                    <a:lnTo>
                      <a:pt x="4629" y="2620"/>
                    </a:lnTo>
                    <a:lnTo>
                      <a:pt x="4629" y="2627"/>
                    </a:lnTo>
                    <a:lnTo>
                      <a:pt x="4628" y="2633"/>
                    </a:lnTo>
                    <a:lnTo>
                      <a:pt x="4626" y="2640"/>
                    </a:lnTo>
                    <a:lnTo>
                      <a:pt x="4623" y="2646"/>
                    </a:lnTo>
                    <a:lnTo>
                      <a:pt x="4619" y="2651"/>
                    </a:lnTo>
                    <a:lnTo>
                      <a:pt x="4615" y="2656"/>
                    </a:lnTo>
                    <a:lnTo>
                      <a:pt x="4609" y="2660"/>
                    </a:lnTo>
                    <a:lnTo>
                      <a:pt x="4603" y="2663"/>
                    </a:lnTo>
                    <a:lnTo>
                      <a:pt x="4590" y="2670"/>
                    </a:lnTo>
                    <a:lnTo>
                      <a:pt x="4574" y="2675"/>
                    </a:lnTo>
                    <a:lnTo>
                      <a:pt x="4557" y="2678"/>
                    </a:lnTo>
                    <a:lnTo>
                      <a:pt x="4539" y="2680"/>
                    </a:lnTo>
                    <a:lnTo>
                      <a:pt x="4500" y="2683"/>
                    </a:lnTo>
                    <a:lnTo>
                      <a:pt x="4460" y="2684"/>
                    </a:lnTo>
                    <a:lnTo>
                      <a:pt x="4439" y="2685"/>
                    </a:lnTo>
                    <a:lnTo>
                      <a:pt x="4421" y="2685"/>
                    </a:lnTo>
                    <a:lnTo>
                      <a:pt x="4402" y="2687"/>
                    </a:lnTo>
                    <a:lnTo>
                      <a:pt x="4386" y="2690"/>
                    </a:lnTo>
                    <a:lnTo>
                      <a:pt x="4358" y="2694"/>
                    </a:lnTo>
                    <a:lnTo>
                      <a:pt x="4329" y="2699"/>
                    </a:lnTo>
                    <a:lnTo>
                      <a:pt x="4300" y="2706"/>
                    </a:lnTo>
                    <a:lnTo>
                      <a:pt x="4273" y="2715"/>
                    </a:lnTo>
                    <a:lnTo>
                      <a:pt x="4245" y="2724"/>
                    </a:lnTo>
                    <a:lnTo>
                      <a:pt x="4219" y="2734"/>
                    </a:lnTo>
                    <a:lnTo>
                      <a:pt x="4195" y="2747"/>
                    </a:lnTo>
                    <a:lnTo>
                      <a:pt x="4172" y="2761"/>
                    </a:lnTo>
                    <a:lnTo>
                      <a:pt x="4160" y="2768"/>
                    </a:lnTo>
                    <a:lnTo>
                      <a:pt x="4150" y="2776"/>
                    </a:lnTo>
                    <a:lnTo>
                      <a:pt x="4141" y="2784"/>
                    </a:lnTo>
                    <a:lnTo>
                      <a:pt x="4132" y="2793"/>
                    </a:lnTo>
                    <a:lnTo>
                      <a:pt x="4123" y="2801"/>
                    </a:lnTo>
                    <a:lnTo>
                      <a:pt x="4115" y="2810"/>
                    </a:lnTo>
                    <a:lnTo>
                      <a:pt x="4107" y="2820"/>
                    </a:lnTo>
                    <a:lnTo>
                      <a:pt x="4100" y="2831"/>
                    </a:lnTo>
                    <a:lnTo>
                      <a:pt x="4094" y="2841"/>
                    </a:lnTo>
                    <a:lnTo>
                      <a:pt x="4088" y="2851"/>
                    </a:lnTo>
                    <a:lnTo>
                      <a:pt x="4084" y="2863"/>
                    </a:lnTo>
                    <a:lnTo>
                      <a:pt x="4080" y="2874"/>
                    </a:lnTo>
                    <a:lnTo>
                      <a:pt x="4077" y="2887"/>
                    </a:lnTo>
                    <a:lnTo>
                      <a:pt x="4074" y="2899"/>
                    </a:lnTo>
                    <a:lnTo>
                      <a:pt x="4073" y="2912"/>
                    </a:lnTo>
                    <a:lnTo>
                      <a:pt x="4072" y="2926"/>
                    </a:lnTo>
                    <a:lnTo>
                      <a:pt x="4073" y="2935"/>
                    </a:lnTo>
                    <a:lnTo>
                      <a:pt x="4076" y="2944"/>
                    </a:lnTo>
                    <a:lnTo>
                      <a:pt x="4080" y="2955"/>
                    </a:lnTo>
                    <a:lnTo>
                      <a:pt x="4086" y="2965"/>
                    </a:lnTo>
                    <a:lnTo>
                      <a:pt x="4092" y="2974"/>
                    </a:lnTo>
                    <a:lnTo>
                      <a:pt x="4099" y="2982"/>
                    </a:lnTo>
                    <a:lnTo>
                      <a:pt x="4103" y="2984"/>
                    </a:lnTo>
                    <a:lnTo>
                      <a:pt x="4107" y="2987"/>
                    </a:lnTo>
                    <a:lnTo>
                      <a:pt x="4110" y="2988"/>
                    </a:lnTo>
                    <a:lnTo>
                      <a:pt x="4115" y="2989"/>
                    </a:lnTo>
                    <a:lnTo>
                      <a:pt x="4125" y="2988"/>
                    </a:lnTo>
                    <a:lnTo>
                      <a:pt x="4134" y="2987"/>
                    </a:lnTo>
                    <a:lnTo>
                      <a:pt x="4143" y="2984"/>
                    </a:lnTo>
                    <a:lnTo>
                      <a:pt x="4152" y="2981"/>
                    </a:lnTo>
                    <a:lnTo>
                      <a:pt x="4171" y="2973"/>
                    </a:lnTo>
                    <a:lnTo>
                      <a:pt x="4188" y="2964"/>
                    </a:lnTo>
                    <a:lnTo>
                      <a:pt x="4204" y="2956"/>
                    </a:lnTo>
                    <a:lnTo>
                      <a:pt x="4222" y="2948"/>
                    </a:lnTo>
                    <a:lnTo>
                      <a:pt x="4232" y="2944"/>
                    </a:lnTo>
                    <a:lnTo>
                      <a:pt x="4241" y="2942"/>
                    </a:lnTo>
                    <a:lnTo>
                      <a:pt x="4250" y="2941"/>
                    </a:lnTo>
                    <a:lnTo>
                      <a:pt x="4260" y="2940"/>
                    </a:lnTo>
                    <a:lnTo>
                      <a:pt x="4268" y="2965"/>
                    </a:lnTo>
                    <a:lnTo>
                      <a:pt x="4276" y="2988"/>
                    </a:lnTo>
                    <a:lnTo>
                      <a:pt x="4283" y="3011"/>
                    </a:lnTo>
                    <a:lnTo>
                      <a:pt x="4289" y="3034"/>
                    </a:lnTo>
                    <a:lnTo>
                      <a:pt x="4295" y="3058"/>
                    </a:lnTo>
                    <a:lnTo>
                      <a:pt x="4299" y="3085"/>
                    </a:lnTo>
                    <a:lnTo>
                      <a:pt x="4302" y="3115"/>
                    </a:lnTo>
                    <a:lnTo>
                      <a:pt x="4303" y="3148"/>
                    </a:lnTo>
                    <a:lnTo>
                      <a:pt x="4302" y="3158"/>
                    </a:lnTo>
                    <a:lnTo>
                      <a:pt x="4299" y="3166"/>
                    </a:lnTo>
                    <a:lnTo>
                      <a:pt x="4297" y="3172"/>
                    </a:lnTo>
                    <a:lnTo>
                      <a:pt x="4292" y="3179"/>
                    </a:lnTo>
                    <a:lnTo>
                      <a:pt x="4282" y="3192"/>
                    </a:lnTo>
                    <a:lnTo>
                      <a:pt x="4271" y="3203"/>
                    </a:lnTo>
                    <a:lnTo>
                      <a:pt x="4258" y="3215"/>
                    </a:lnTo>
                    <a:lnTo>
                      <a:pt x="4246" y="3226"/>
                    </a:lnTo>
                    <a:lnTo>
                      <a:pt x="4242" y="3232"/>
                    </a:lnTo>
                    <a:lnTo>
                      <a:pt x="4237" y="3239"/>
                    </a:lnTo>
                    <a:lnTo>
                      <a:pt x="4235" y="3246"/>
                    </a:lnTo>
                    <a:lnTo>
                      <a:pt x="4233" y="3253"/>
                    </a:lnTo>
                    <a:lnTo>
                      <a:pt x="4233" y="3266"/>
                    </a:lnTo>
                    <a:lnTo>
                      <a:pt x="4233" y="3279"/>
                    </a:lnTo>
                    <a:lnTo>
                      <a:pt x="4233" y="3291"/>
                    </a:lnTo>
                    <a:lnTo>
                      <a:pt x="4233" y="3301"/>
                    </a:lnTo>
                    <a:lnTo>
                      <a:pt x="4233" y="3310"/>
                    </a:lnTo>
                    <a:lnTo>
                      <a:pt x="4233" y="3317"/>
                    </a:lnTo>
                    <a:lnTo>
                      <a:pt x="4233" y="3322"/>
                    </a:lnTo>
                    <a:lnTo>
                      <a:pt x="4233" y="3323"/>
                    </a:lnTo>
                    <a:lnTo>
                      <a:pt x="4232" y="3327"/>
                    </a:lnTo>
                    <a:lnTo>
                      <a:pt x="4230" y="3333"/>
                    </a:lnTo>
                    <a:lnTo>
                      <a:pt x="4226" y="3341"/>
                    </a:lnTo>
                    <a:lnTo>
                      <a:pt x="4220" y="3350"/>
                    </a:lnTo>
                    <a:lnTo>
                      <a:pt x="4217" y="3354"/>
                    </a:lnTo>
                    <a:lnTo>
                      <a:pt x="4213" y="3358"/>
                    </a:lnTo>
                    <a:lnTo>
                      <a:pt x="4209" y="3362"/>
                    </a:lnTo>
                    <a:lnTo>
                      <a:pt x="4203" y="3365"/>
                    </a:lnTo>
                    <a:lnTo>
                      <a:pt x="4197" y="3367"/>
                    </a:lnTo>
                    <a:lnTo>
                      <a:pt x="4191" y="3370"/>
                    </a:lnTo>
                    <a:lnTo>
                      <a:pt x="4185" y="3371"/>
                    </a:lnTo>
                    <a:lnTo>
                      <a:pt x="4177" y="3372"/>
                    </a:lnTo>
                    <a:lnTo>
                      <a:pt x="4151" y="3370"/>
                    </a:lnTo>
                    <a:lnTo>
                      <a:pt x="4126" y="3367"/>
                    </a:lnTo>
                    <a:lnTo>
                      <a:pt x="4103" y="3366"/>
                    </a:lnTo>
                    <a:lnTo>
                      <a:pt x="4081" y="3365"/>
                    </a:lnTo>
                    <a:lnTo>
                      <a:pt x="4062" y="3365"/>
                    </a:lnTo>
                    <a:lnTo>
                      <a:pt x="4044" y="3365"/>
                    </a:lnTo>
                    <a:lnTo>
                      <a:pt x="4029" y="3365"/>
                    </a:lnTo>
                    <a:lnTo>
                      <a:pt x="4017" y="3365"/>
                    </a:lnTo>
                    <a:lnTo>
                      <a:pt x="4007" y="3365"/>
                    </a:lnTo>
                    <a:lnTo>
                      <a:pt x="3999" y="3366"/>
                    </a:lnTo>
                    <a:lnTo>
                      <a:pt x="3995" y="3367"/>
                    </a:lnTo>
                    <a:lnTo>
                      <a:pt x="3992" y="3370"/>
                    </a:lnTo>
                    <a:lnTo>
                      <a:pt x="3988" y="3372"/>
                    </a:lnTo>
                    <a:lnTo>
                      <a:pt x="3985" y="3374"/>
                    </a:lnTo>
                    <a:lnTo>
                      <a:pt x="3983" y="3378"/>
                    </a:lnTo>
                    <a:lnTo>
                      <a:pt x="3980" y="3381"/>
                    </a:lnTo>
                    <a:lnTo>
                      <a:pt x="3979" y="3386"/>
                    </a:lnTo>
                    <a:lnTo>
                      <a:pt x="3978" y="3392"/>
                    </a:lnTo>
                    <a:lnTo>
                      <a:pt x="3976" y="3404"/>
                    </a:lnTo>
                    <a:lnTo>
                      <a:pt x="3975" y="3420"/>
                    </a:lnTo>
                    <a:lnTo>
                      <a:pt x="3974" y="3425"/>
                    </a:lnTo>
                    <a:lnTo>
                      <a:pt x="3971" y="3428"/>
                    </a:lnTo>
                    <a:lnTo>
                      <a:pt x="3967" y="3432"/>
                    </a:lnTo>
                    <a:lnTo>
                      <a:pt x="3961" y="3434"/>
                    </a:lnTo>
                    <a:lnTo>
                      <a:pt x="3956" y="3437"/>
                    </a:lnTo>
                    <a:lnTo>
                      <a:pt x="3952" y="3440"/>
                    </a:lnTo>
                    <a:lnTo>
                      <a:pt x="3948" y="3444"/>
                    </a:lnTo>
                    <a:lnTo>
                      <a:pt x="3947" y="3449"/>
                    </a:lnTo>
                    <a:lnTo>
                      <a:pt x="3947" y="3455"/>
                    </a:lnTo>
                    <a:lnTo>
                      <a:pt x="3948" y="3460"/>
                    </a:lnTo>
                    <a:lnTo>
                      <a:pt x="3950" y="3465"/>
                    </a:lnTo>
                    <a:lnTo>
                      <a:pt x="3952" y="3469"/>
                    </a:lnTo>
                    <a:lnTo>
                      <a:pt x="3956" y="3479"/>
                    </a:lnTo>
                    <a:lnTo>
                      <a:pt x="3961" y="3486"/>
                    </a:lnTo>
                    <a:lnTo>
                      <a:pt x="3967" y="3492"/>
                    </a:lnTo>
                    <a:lnTo>
                      <a:pt x="3971" y="3500"/>
                    </a:lnTo>
                    <a:lnTo>
                      <a:pt x="3974" y="3508"/>
                    </a:lnTo>
                    <a:lnTo>
                      <a:pt x="3975" y="3518"/>
                    </a:lnTo>
                    <a:lnTo>
                      <a:pt x="3974" y="3529"/>
                    </a:lnTo>
                    <a:lnTo>
                      <a:pt x="3971" y="3542"/>
                    </a:lnTo>
                    <a:lnTo>
                      <a:pt x="3968" y="3554"/>
                    </a:lnTo>
                    <a:lnTo>
                      <a:pt x="3964" y="3567"/>
                    </a:lnTo>
                    <a:lnTo>
                      <a:pt x="3959" y="3581"/>
                    </a:lnTo>
                    <a:lnTo>
                      <a:pt x="3952" y="3594"/>
                    </a:lnTo>
                    <a:lnTo>
                      <a:pt x="3945" y="3609"/>
                    </a:lnTo>
                    <a:lnTo>
                      <a:pt x="3937" y="3623"/>
                    </a:lnTo>
                    <a:lnTo>
                      <a:pt x="3920" y="3653"/>
                    </a:lnTo>
                    <a:lnTo>
                      <a:pt x="3899" y="3683"/>
                    </a:lnTo>
                    <a:lnTo>
                      <a:pt x="3876" y="3711"/>
                    </a:lnTo>
                    <a:lnTo>
                      <a:pt x="3852" y="3740"/>
                    </a:lnTo>
                    <a:lnTo>
                      <a:pt x="3826" y="3767"/>
                    </a:lnTo>
                    <a:lnTo>
                      <a:pt x="3798" y="3792"/>
                    </a:lnTo>
                    <a:lnTo>
                      <a:pt x="3784" y="3803"/>
                    </a:lnTo>
                    <a:lnTo>
                      <a:pt x="3771" y="3815"/>
                    </a:lnTo>
                    <a:lnTo>
                      <a:pt x="3756" y="3825"/>
                    </a:lnTo>
                    <a:lnTo>
                      <a:pt x="3742" y="3834"/>
                    </a:lnTo>
                    <a:lnTo>
                      <a:pt x="3728" y="3843"/>
                    </a:lnTo>
                    <a:lnTo>
                      <a:pt x="3714" y="3850"/>
                    </a:lnTo>
                    <a:lnTo>
                      <a:pt x="3700" y="3857"/>
                    </a:lnTo>
                    <a:lnTo>
                      <a:pt x="3686" y="3863"/>
                    </a:lnTo>
                    <a:lnTo>
                      <a:pt x="3673" y="3867"/>
                    </a:lnTo>
                    <a:lnTo>
                      <a:pt x="3659" y="3871"/>
                    </a:lnTo>
                    <a:lnTo>
                      <a:pt x="3647" y="3872"/>
                    </a:lnTo>
                    <a:lnTo>
                      <a:pt x="3634" y="3873"/>
                    </a:lnTo>
                    <a:lnTo>
                      <a:pt x="3628" y="3873"/>
                    </a:lnTo>
                    <a:lnTo>
                      <a:pt x="3624" y="3872"/>
                    </a:lnTo>
                    <a:lnTo>
                      <a:pt x="3619" y="3870"/>
                    </a:lnTo>
                    <a:lnTo>
                      <a:pt x="3615" y="3867"/>
                    </a:lnTo>
                    <a:lnTo>
                      <a:pt x="3606" y="3862"/>
                    </a:lnTo>
                    <a:lnTo>
                      <a:pt x="3599" y="3854"/>
                    </a:lnTo>
                    <a:lnTo>
                      <a:pt x="3592" y="3846"/>
                    </a:lnTo>
                    <a:lnTo>
                      <a:pt x="3586" y="3838"/>
                    </a:lnTo>
                    <a:lnTo>
                      <a:pt x="3581" y="3831"/>
                    </a:lnTo>
                    <a:lnTo>
                      <a:pt x="3578" y="3824"/>
                    </a:lnTo>
                    <a:lnTo>
                      <a:pt x="3555" y="3846"/>
                    </a:lnTo>
                    <a:lnTo>
                      <a:pt x="3525" y="3872"/>
                    </a:lnTo>
                    <a:lnTo>
                      <a:pt x="3490" y="3903"/>
                    </a:lnTo>
                    <a:lnTo>
                      <a:pt x="3454" y="3936"/>
                    </a:lnTo>
                    <a:lnTo>
                      <a:pt x="3437" y="3953"/>
                    </a:lnTo>
                    <a:lnTo>
                      <a:pt x="3421" y="3971"/>
                    </a:lnTo>
                    <a:lnTo>
                      <a:pt x="3406" y="3988"/>
                    </a:lnTo>
                    <a:lnTo>
                      <a:pt x="3392" y="4005"/>
                    </a:lnTo>
                    <a:lnTo>
                      <a:pt x="3381" y="4021"/>
                    </a:lnTo>
                    <a:lnTo>
                      <a:pt x="3372" y="4037"/>
                    </a:lnTo>
                    <a:lnTo>
                      <a:pt x="3368" y="4045"/>
                    </a:lnTo>
                    <a:lnTo>
                      <a:pt x="3366" y="4053"/>
                    </a:lnTo>
                    <a:lnTo>
                      <a:pt x="3364" y="4061"/>
                    </a:lnTo>
                    <a:lnTo>
                      <a:pt x="3362" y="4068"/>
                    </a:lnTo>
                    <a:lnTo>
                      <a:pt x="3364" y="4083"/>
                    </a:lnTo>
                    <a:lnTo>
                      <a:pt x="3367" y="4097"/>
                    </a:lnTo>
                    <a:lnTo>
                      <a:pt x="3372" y="4111"/>
                    </a:lnTo>
                    <a:lnTo>
                      <a:pt x="3376" y="4123"/>
                    </a:lnTo>
                    <a:lnTo>
                      <a:pt x="3381" y="4136"/>
                    </a:lnTo>
                    <a:lnTo>
                      <a:pt x="3385" y="4147"/>
                    </a:lnTo>
                    <a:lnTo>
                      <a:pt x="3389" y="4160"/>
                    </a:lnTo>
                    <a:lnTo>
                      <a:pt x="3390" y="4173"/>
                    </a:lnTo>
                    <a:lnTo>
                      <a:pt x="3390" y="4185"/>
                    </a:lnTo>
                    <a:lnTo>
                      <a:pt x="3389" y="4197"/>
                    </a:lnTo>
                    <a:lnTo>
                      <a:pt x="3387" y="4207"/>
                    </a:lnTo>
                    <a:lnTo>
                      <a:pt x="3383" y="4216"/>
                    </a:lnTo>
                    <a:lnTo>
                      <a:pt x="3380" y="4225"/>
                    </a:lnTo>
                    <a:lnTo>
                      <a:pt x="3376" y="4233"/>
                    </a:lnTo>
                    <a:lnTo>
                      <a:pt x="3372" y="4240"/>
                    </a:lnTo>
                    <a:lnTo>
                      <a:pt x="3367" y="4247"/>
                    </a:lnTo>
                    <a:lnTo>
                      <a:pt x="3358" y="4259"/>
                    </a:lnTo>
                    <a:lnTo>
                      <a:pt x="3349" y="4268"/>
                    </a:lnTo>
                    <a:lnTo>
                      <a:pt x="3341" y="4276"/>
                    </a:lnTo>
                    <a:lnTo>
                      <a:pt x="3335" y="4284"/>
                    </a:lnTo>
                    <a:lnTo>
                      <a:pt x="3321" y="4284"/>
                    </a:lnTo>
                    <a:lnTo>
                      <a:pt x="3309" y="4283"/>
                    </a:lnTo>
                    <a:lnTo>
                      <a:pt x="3296" y="4280"/>
                    </a:lnTo>
                    <a:lnTo>
                      <a:pt x="3283" y="4278"/>
                    </a:lnTo>
                    <a:lnTo>
                      <a:pt x="3272" y="4275"/>
                    </a:lnTo>
                    <a:lnTo>
                      <a:pt x="3260" y="4271"/>
                    </a:lnTo>
                    <a:lnTo>
                      <a:pt x="3250" y="4267"/>
                    </a:lnTo>
                    <a:lnTo>
                      <a:pt x="3240" y="4262"/>
                    </a:lnTo>
                    <a:lnTo>
                      <a:pt x="3231" y="4256"/>
                    </a:lnTo>
                    <a:lnTo>
                      <a:pt x="3221" y="4251"/>
                    </a:lnTo>
                    <a:lnTo>
                      <a:pt x="3212" y="4245"/>
                    </a:lnTo>
                    <a:lnTo>
                      <a:pt x="3204" y="4238"/>
                    </a:lnTo>
                    <a:lnTo>
                      <a:pt x="3189" y="4223"/>
                    </a:lnTo>
                    <a:lnTo>
                      <a:pt x="3176" y="4207"/>
                    </a:lnTo>
                    <a:lnTo>
                      <a:pt x="3163" y="4191"/>
                    </a:lnTo>
                    <a:lnTo>
                      <a:pt x="3153" y="4174"/>
                    </a:lnTo>
                    <a:lnTo>
                      <a:pt x="3145" y="4155"/>
                    </a:lnTo>
                    <a:lnTo>
                      <a:pt x="3138" y="4137"/>
                    </a:lnTo>
                    <a:lnTo>
                      <a:pt x="3132" y="4119"/>
                    </a:lnTo>
                    <a:lnTo>
                      <a:pt x="3129" y="4101"/>
                    </a:lnTo>
                    <a:lnTo>
                      <a:pt x="3126" y="4084"/>
                    </a:lnTo>
                    <a:lnTo>
                      <a:pt x="3125" y="4068"/>
                    </a:lnTo>
                    <a:lnTo>
                      <a:pt x="3125" y="4058"/>
                    </a:lnTo>
                    <a:lnTo>
                      <a:pt x="3125" y="4049"/>
                    </a:lnTo>
                    <a:lnTo>
                      <a:pt x="3125" y="4038"/>
                    </a:lnTo>
                    <a:lnTo>
                      <a:pt x="3125" y="4027"/>
                    </a:lnTo>
                    <a:lnTo>
                      <a:pt x="3125" y="4013"/>
                    </a:lnTo>
                    <a:lnTo>
                      <a:pt x="3125" y="3997"/>
                    </a:lnTo>
                    <a:lnTo>
                      <a:pt x="3125" y="3975"/>
                    </a:lnTo>
                    <a:lnTo>
                      <a:pt x="3125" y="3950"/>
                    </a:lnTo>
                    <a:lnTo>
                      <a:pt x="3113" y="3947"/>
                    </a:lnTo>
                    <a:lnTo>
                      <a:pt x="3099" y="3942"/>
                    </a:lnTo>
                    <a:lnTo>
                      <a:pt x="3084" y="3935"/>
                    </a:lnTo>
                    <a:lnTo>
                      <a:pt x="3068" y="3927"/>
                    </a:lnTo>
                    <a:lnTo>
                      <a:pt x="3051" y="3919"/>
                    </a:lnTo>
                    <a:lnTo>
                      <a:pt x="3035" y="3909"/>
                    </a:lnTo>
                    <a:lnTo>
                      <a:pt x="3017" y="3898"/>
                    </a:lnTo>
                    <a:lnTo>
                      <a:pt x="3001" y="3886"/>
                    </a:lnTo>
                    <a:lnTo>
                      <a:pt x="2985" y="3874"/>
                    </a:lnTo>
                    <a:lnTo>
                      <a:pt x="2972" y="3861"/>
                    </a:lnTo>
                    <a:lnTo>
                      <a:pt x="2958" y="3847"/>
                    </a:lnTo>
                    <a:lnTo>
                      <a:pt x="2946" y="3833"/>
                    </a:lnTo>
                    <a:lnTo>
                      <a:pt x="2937" y="3819"/>
                    </a:lnTo>
                    <a:lnTo>
                      <a:pt x="2930" y="3804"/>
                    </a:lnTo>
                    <a:lnTo>
                      <a:pt x="2927" y="3797"/>
                    </a:lnTo>
                    <a:lnTo>
                      <a:pt x="2926" y="3791"/>
                    </a:lnTo>
                    <a:lnTo>
                      <a:pt x="2925" y="3783"/>
                    </a:lnTo>
                    <a:lnTo>
                      <a:pt x="2923" y="3776"/>
                    </a:lnTo>
                    <a:lnTo>
                      <a:pt x="2925" y="3772"/>
                    </a:lnTo>
                    <a:lnTo>
                      <a:pt x="2927" y="3767"/>
                    </a:lnTo>
                    <a:lnTo>
                      <a:pt x="2930" y="3759"/>
                    </a:lnTo>
                    <a:lnTo>
                      <a:pt x="2935" y="3750"/>
                    </a:lnTo>
                    <a:lnTo>
                      <a:pt x="2939" y="3741"/>
                    </a:lnTo>
                    <a:lnTo>
                      <a:pt x="2944" y="3733"/>
                    </a:lnTo>
                    <a:lnTo>
                      <a:pt x="2949" y="3726"/>
                    </a:lnTo>
                    <a:lnTo>
                      <a:pt x="2952" y="3720"/>
                    </a:lnTo>
                    <a:lnTo>
                      <a:pt x="2946" y="3716"/>
                    </a:lnTo>
                    <a:lnTo>
                      <a:pt x="2941" y="3711"/>
                    </a:lnTo>
                    <a:lnTo>
                      <a:pt x="2935" y="3706"/>
                    </a:lnTo>
                    <a:lnTo>
                      <a:pt x="2929" y="3699"/>
                    </a:lnTo>
                    <a:lnTo>
                      <a:pt x="2922" y="3693"/>
                    </a:lnTo>
                    <a:lnTo>
                      <a:pt x="2914" y="3686"/>
                    </a:lnTo>
                    <a:lnTo>
                      <a:pt x="2906" y="3682"/>
                    </a:lnTo>
                    <a:lnTo>
                      <a:pt x="2896" y="3678"/>
                    </a:lnTo>
                    <a:lnTo>
                      <a:pt x="2883" y="3678"/>
                    </a:lnTo>
                    <a:lnTo>
                      <a:pt x="2872" y="3679"/>
                    </a:lnTo>
                    <a:lnTo>
                      <a:pt x="2860" y="3682"/>
                    </a:lnTo>
                    <a:lnTo>
                      <a:pt x="2851" y="3685"/>
                    </a:lnTo>
                    <a:lnTo>
                      <a:pt x="2844" y="3689"/>
                    </a:lnTo>
                    <a:lnTo>
                      <a:pt x="2836" y="3692"/>
                    </a:lnTo>
                    <a:lnTo>
                      <a:pt x="2831" y="3697"/>
                    </a:lnTo>
                    <a:lnTo>
                      <a:pt x="2826" y="3702"/>
                    </a:lnTo>
                    <a:lnTo>
                      <a:pt x="2821" y="3708"/>
                    </a:lnTo>
                    <a:lnTo>
                      <a:pt x="2819" y="3714"/>
                    </a:lnTo>
                    <a:lnTo>
                      <a:pt x="2816" y="3721"/>
                    </a:lnTo>
                    <a:lnTo>
                      <a:pt x="2814" y="3728"/>
                    </a:lnTo>
                    <a:lnTo>
                      <a:pt x="2812" y="3744"/>
                    </a:lnTo>
                    <a:lnTo>
                      <a:pt x="2811" y="3760"/>
                    </a:lnTo>
                    <a:lnTo>
                      <a:pt x="2813" y="3795"/>
                    </a:lnTo>
                    <a:lnTo>
                      <a:pt x="2817" y="3831"/>
                    </a:lnTo>
                    <a:lnTo>
                      <a:pt x="2817" y="3848"/>
                    </a:lnTo>
                    <a:lnTo>
                      <a:pt x="2816" y="3865"/>
                    </a:lnTo>
                    <a:lnTo>
                      <a:pt x="2813" y="3873"/>
                    </a:lnTo>
                    <a:lnTo>
                      <a:pt x="2812" y="3880"/>
                    </a:lnTo>
                    <a:lnTo>
                      <a:pt x="2809" y="3887"/>
                    </a:lnTo>
                    <a:lnTo>
                      <a:pt x="2805" y="3894"/>
                    </a:lnTo>
                    <a:lnTo>
                      <a:pt x="2802" y="3901"/>
                    </a:lnTo>
                    <a:lnTo>
                      <a:pt x="2797" y="3905"/>
                    </a:lnTo>
                    <a:lnTo>
                      <a:pt x="2793" y="3910"/>
                    </a:lnTo>
                    <a:lnTo>
                      <a:pt x="2788" y="3914"/>
                    </a:lnTo>
                    <a:lnTo>
                      <a:pt x="2779" y="3920"/>
                    </a:lnTo>
                    <a:lnTo>
                      <a:pt x="2769" y="3924"/>
                    </a:lnTo>
                    <a:lnTo>
                      <a:pt x="2759" y="3926"/>
                    </a:lnTo>
                    <a:lnTo>
                      <a:pt x="2749" y="3926"/>
                    </a:lnTo>
                    <a:lnTo>
                      <a:pt x="2739" y="3927"/>
                    </a:lnTo>
                    <a:lnTo>
                      <a:pt x="2730" y="3926"/>
                    </a:lnTo>
                    <a:lnTo>
                      <a:pt x="2720" y="3926"/>
                    </a:lnTo>
                    <a:lnTo>
                      <a:pt x="2711" y="3926"/>
                    </a:lnTo>
                    <a:lnTo>
                      <a:pt x="2703" y="3927"/>
                    </a:lnTo>
                    <a:lnTo>
                      <a:pt x="2696" y="3931"/>
                    </a:lnTo>
                    <a:lnTo>
                      <a:pt x="2693" y="3933"/>
                    </a:lnTo>
                    <a:lnTo>
                      <a:pt x="2691" y="3935"/>
                    </a:lnTo>
                    <a:lnTo>
                      <a:pt x="2688" y="3937"/>
                    </a:lnTo>
                    <a:lnTo>
                      <a:pt x="2686" y="3942"/>
                    </a:lnTo>
                    <a:lnTo>
                      <a:pt x="2683" y="3951"/>
                    </a:lnTo>
                    <a:lnTo>
                      <a:pt x="2680" y="3964"/>
                    </a:lnTo>
                    <a:lnTo>
                      <a:pt x="2680" y="3972"/>
                    </a:lnTo>
                    <a:lnTo>
                      <a:pt x="2680" y="3979"/>
                    </a:lnTo>
                    <a:lnTo>
                      <a:pt x="2680" y="3982"/>
                    </a:lnTo>
                    <a:lnTo>
                      <a:pt x="2680" y="3987"/>
                    </a:lnTo>
                    <a:lnTo>
                      <a:pt x="2680" y="3991"/>
                    </a:lnTo>
                    <a:lnTo>
                      <a:pt x="2680" y="3997"/>
                    </a:lnTo>
                    <a:lnTo>
                      <a:pt x="2680" y="4006"/>
                    </a:lnTo>
                    <a:lnTo>
                      <a:pt x="2680" y="4019"/>
                    </a:lnTo>
                    <a:lnTo>
                      <a:pt x="2679" y="4027"/>
                    </a:lnTo>
                    <a:lnTo>
                      <a:pt x="2677" y="4035"/>
                    </a:lnTo>
                    <a:lnTo>
                      <a:pt x="2672" y="4043"/>
                    </a:lnTo>
                    <a:lnTo>
                      <a:pt x="2667" y="4050"/>
                    </a:lnTo>
                    <a:lnTo>
                      <a:pt x="2659" y="4058"/>
                    </a:lnTo>
                    <a:lnTo>
                      <a:pt x="2650" y="4065"/>
                    </a:lnTo>
                    <a:lnTo>
                      <a:pt x="2640" y="4072"/>
                    </a:lnTo>
                    <a:lnTo>
                      <a:pt x="2629" y="4078"/>
                    </a:lnTo>
                    <a:lnTo>
                      <a:pt x="2603" y="4092"/>
                    </a:lnTo>
                    <a:lnTo>
                      <a:pt x="2575" y="4105"/>
                    </a:lnTo>
                    <a:lnTo>
                      <a:pt x="2545" y="4116"/>
                    </a:lnTo>
                    <a:lnTo>
                      <a:pt x="2512" y="4128"/>
                    </a:lnTo>
                    <a:lnTo>
                      <a:pt x="2479" y="4137"/>
                    </a:lnTo>
                    <a:lnTo>
                      <a:pt x="2445" y="4146"/>
                    </a:lnTo>
                    <a:lnTo>
                      <a:pt x="2413" y="4154"/>
                    </a:lnTo>
                    <a:lnTo>
                      <a:pt x="2383" y="4160"/>
                    </a:lnTo>
                    <a:lnTo>
                      <a:pt x="2356" y="4166"/>
                    </a:lnTo>
                    <a:lnTo>
                      <a:pt x="2332" y="4169"/>
                    </a:lnTo>
                    <a:lnTo>
                      <a:pt x="2311" y="4171"/>
                    </a:lnTo>
                    <a:lnTo>
                      <a:pt x="2297" y="4173"/>
                    </a:lnTo>
                    <a:lnTo>
                      <a:pt x="2287" y="4174"/>
                    </a:lnTo>
                    <a:lnTo>
                      <a:pt x="2278" y="4175"/>
                    </a:lnTo>
                    <a:lnTo>
                      <a:pt x="2270" y="4176"/>
                    </a:lnTo>
                    <a:lnTo>
                      <a:pt x="2262" y="4178"/>
                    </a:lnTo>
                    <a:lnTo>
                      <a:pt x="2254" y="4178"/>
                    </a:lnTo>
                    <a:lnTo>
                      <a:pt x="2246" y="4178"/>
                    </a:lnTo>
                    <a:lnTo>
                      <a:pt x="2238" y="4177"/>
                    </a:lnTo>
                    <a:lnTo>
                      <a:pt x="2227" y="4173"/>
                    </a:lnTo>
                    <a:lnTo>
                      <a:pt x="2221" y="4181"/>
                    </a:lnTo>
                    <a:lnTo>
                      <a:pt x="2215" y="4190"/>
                    </a:lnTo>
                    <a:lnTo>
                      <a:pt x="2211" y="4198"/>
                    </a:lnTo>
                    <a:lnTo>
                      <a:pt x="2208" y="4208"/>
                    </a:lnTo>
                    <a:lnTo>
                      <a:pt x="2204" y="4228"/>
                    </a:lnTo>
                    <a:lnTo>
                      <a:pt x="2203" y="4248"/>
                    </a:lnTo>
                    <a:lnTo>
                      <a:pt x="2201" y="4270"/>
                    </a:lnTo>
                    <a:lnTo>
                      <a:pt x="2198" y="4293"/>
                    </a:lnTo>
                    <a:lnTo>
                      <a:pt x="2195" y="4304"/>
                    </a:lnTo>
                    <a:lnTo>
                      <a:pt x="2191" y="4316"/>
                    </a:lnTo>
                    <a:lnTo>
                      <a:pt x="2186" y="4328"/>
                    </a:lnTo>
                    <a:lnTo>
                      <a:pt x="2178" y="4340"/>
                    </a:lnTo>
                    <a:lnTo>
                      <a:pt x="2174" y="4348"/>
                    </a:lnTo>
                    <a:lnTo>
                      <a:pt x="2167" y="4355"/>
                    </a:lnTo>
                    <a:lnTo>
                      <a:pt x="2160" y="4359"/>
                    </a:lnTo>
                    <a:lnTo>
                      <a:pt x="2153" y="4364"/>
                    </a:lnTo>
                    <a:lnTo>
                      <a:pt x="2146" y="4366"/>
                    </a:lnTo>
                    <a:lnTo>
                      <a:pt x="2138" y="4367"/>
                    </a:lnTo>
                    <a:lnTo>
                      <a:pt x="2129" y="4369"/>
                    </a:lnTo>
                    <a:lnTo>
                      <a:pt x="2121" y="4369"/>
                    </a:lnTo>
                    <a:lnTo>
                      <a:pt x="2102" y="4367"/>
                    </a:lnTo>
                    <a:lnTo>
                      <a:pt x="2084" y="4364"/>
                    </a:lnTo>
                    <a:lnTo>
                      <a:pt x="2065" y="4362"/>
                    </a:lnTo>
                    <a:lnTo>
                      <a:pt x="2046" y="4361"/>
                    </a:lnTo>
                    <a:lnTo>
                      <a:pt x="2038" y="4361"/>
                    </a:lnTo>
                    <a:lnTo>
                      <a:pt x="2030" y="4361"/>
                    </a:lnTo>
                    <a:lnTo>
                      <a:pt x="2022" y="4361"/>
                    </a:lnTo>
                    <a:lnTo>
                      <a:pt x="2013" y="4361"/>
                    </a:lnTo>
                    <a:lnTo>
                      <a:pt x="2002" y="4361"/>
                    </a:lnTo>
                    <a:lnTo>
                      <a:pt x="1990" y="4361"/>
                    </a:lnTo>
                    <a:lnTo>
                      <a:pt x="1977" y="4361"/>
                    </a:lnTo>
                    <a:lnTo>
                      <a:pt x="1963" y="4361"/>
                    </a:lnTo>
                    <a:lnTo>
                      <a:pt x="1951" y="4361"/>
                    </a:lnTo>
                    <a:lnTo>
                      <a:pt x="1940" y="4362"/>
                    </a:lnTo>
                    <a:lnTo>
                      <a:pt x="1930" y="4365"/>
                    </a:lnTo>
                    <a:lnTo>
                      <a:pt x="1922" y="4370"/>
                    </a:lnTo>
                    <a:lnTo>
                      <a:pt x="1908" y="4382"/>
                    </a:lnTo>
                    <a:lnTo>
                      <a:pt x="1894" y="4395"/>
                    </a:lnTo>
                    <a:lnTo>
                      <a:pt x="1887" y="4402"/>
                    </a:lnTo>
                    <a:lnTo>
                      <a:pt x="1880" y="4408"/>
                    </a:lnTo>
                    <a:lnTo>
                      <a:pt x="1871" y="4412"/>
                    </a:lnTo>
                    <a:lnTo>
                      <a:pt x="1862" y="4416"/>
                    </a:lnTo>
                    <a:lnTo>
                      <a:pt x="1851" y="4417"/>
                    </a:lnTo>
                    <a:lnTo>
                      <a:pt x="1840" y="4417"/>
                    </a:lnTo>
                    <a:lnTo>
                      <a:pt x="1825" y="4415"/>
                    </a:lnTo>
                    <a:lnTo>
                      <a:pt x="1810" y="4410"/>
                    </a:lnTo>
                    <a:lnTo>
                      <a:pt x="1807" y="4417"/>
                    </a:lnTo>
                    <a:lnTo>
                      <a:pt x="1802" y="4424"/>
                    </a:lnTo>
                    <a:lnTo>
                      <a:pt x="1797" y="4429"/>
                    </a:lnTo>
                    <a:lnTo>
                      <a:pt x="1792" y="4435"/>
                    </a:lnTo>
                    <a:lnTo>
                      <a:pt x="1785" y="4439"/>
                    </a:lnTo>
                    <a:lnTo>
                      <a:pt x="1779" y="4442"/>
                    </a:lnTo>
                    <a:lnTo>
                      <a:pt x="1773" y="4443"/>
                    </a:lnTo>
                    <a:lnTo>
                      <a:pt x="1768" y="4444"/>
                    </a:lnTo>
                    <a:lnTo>
                      <a:pt x="1765" y="4444"/>
                    </a:lnTo>
                    <a:lnTo>
                      <a:pt x="1762" y="4444"/>
                    </a:lnTo>
                    <a:lnTo>
                      <a:pt x="1758" y="4444"/>
                    </a:lnTo>
                    <a:lnTo>
                      <a:pt x="1755" y="4444"/>
                    </a:lnTo>
                    <a:lnTo>
                      <a:pt x="1749" y="4444"/>
                    </a:lnTo>
                    <a:lnTo>
                      <a:pt x="1744" y="4444"/>
                    </a:lnTo>
                    <a:lnTo>
                      <a:pt x="1736" y="4444"/>
                    </a:lnTo>
                    <a:lnTo>
                      <a:pt x="1726" y="4444"/>
                    </a:lnTo>
                    <a:lnTo>
                      <a:pt x="1716" y="4444"/>
                    </a:lnTo>
                    <a:lnTo>
                      <a:pt x="1708" y="4445"/>
                    </a:lnTo>
                    <a:lnTo>
                      <a:pt x="1700" y="4448"/>
                    </a:lnTo>
                    <a:lnTo>
                      <a:pt x="1693" y="4451"/>
                    </a:lnTo>
                    <a:lnTo>
                      <a:pt x="1681" y="4462"/>
                    </a:lnTo>
                    <a:lnTo>
                      <a:pt x="1669" y="4473"/>
                    </a:lnTo>
                    <a:lnTo>
                      <a:pt x="1658" y="4486"/>
                    </a:lnTo>
                    <a:lnTo>
                      <a:pt x="1645" y="4496"/>
                    </a:lnTo>
                    <a:lnTo>
                      <a:pt x="1637" y="4501"/>
                    </a:lnTo>
                    <a:lnTo>
                      <a:pt x="1629" y="4504"/>
                    </a:lnTo>
                    <a:lnTo>
                      <a:pt x="1619" y="4506"/>
                    </a:lnTo>
                    <a:lnTo>
                      <a:pt x="1608" y="4507"/>
                    </a:lnTo>
                    <a:lnTo>
                      <a:pt x="1592" y="4509"/>
                    </a:lnTo>
                    <a:lnTo>
                      <a:pt x="1573" y="4512"/>
                    </a:lnTo>
                    <a:lnTo>
                      <a:pt x="1561" y="4515"/>
                    </a:lnTo>
                    <a:lnTo>
                      <a:pt x="1551" y="4519"/>
                    </a:lnTo>
                    <a:lnTo>
                      <a:pt x="1540" y="4523"/>
                    </a:lnTo>
                    <a:lnTo>
                      <a:pt x="1528" y="4528"/>
                    </a:lnTo>
                    <a:lnTo>
                      <a:pt x="1518" y="4534"/>
                    </a:lnTo>
                    <a:lnTo>
                      <a:pt x="1509" y="4540"/>
                    </a:lnTo>
                    <a:lnTo>
                      <a:pt x="1499" y="4546"/>
                    </a:lnTo>
                    <a:lnTo>
                      <a:pt x="1491" y="4554"/>
                    </a:lnTo>
                    <a:lnTo>
                      <a:pt x="1484" y="4562"/>
                    </a:lnTo>
                    <a:lnTo>
                      <a:pt x="1480" y="4570"/>
                    </a:lnTo>
                    <a:lnTo>
                      <a:pt x="1476" y="4581"/>
                    </a:lnTo>
                    <a:lnTo>
                      <a:pt x="1475" y="4590"/>
                    </a:lnTo>
                    <a:lnTo>
                      <a:pt x="1476" y="4611"/>
                    </a:lnTo>
                    <a:lnTo>
                      <a:pt x="1479" y="4635"/>
                    </a:lnTo>
                    <a:lnTo>
                      <a:pt x="1479" y="4647"/>
                    </a:lnTo>
                    <a:lnTo>
                      <a:pt x="1480" y="4660"/>
                    </a:lnTo>
                    <a:lnTo>
                      <a:pt x="1479" y="4673"/>
                    </a:lnTo>
                    <a:lnTo>
                      <a:pt x="1478" y="4685"/>
                    </a:lnTo>
                    <a:lnTo>
                      <a:pt x="1475" y="4697"/>
                    </a:lnTo>
                    <a:lnTo>
                      <a:pt x="1472" y="4708"/>
                    </a:lnTo>
                    <a:lnTo>
                      <a:pt x="1467" y="4718"/>
                    </a:lnTo>
                    <a:lnTo>
                      <a:pt x="1460" y="4726"/>
                    </a:lnTo>
                    <a:lnTo>
                      <a:pt x="1457" y="4730"/>
                    </a:lnTo>
                    <a:lnTo>
                      <a:pt x="1452" y="4733"/>
                    </a:lnTo>
                    <a:lnTo>
                      <a:pt x="1447" y="4737"/>
                    </a:lnTo>
                    <a:lnTo>
                      <a:pt x="1441" y="4739"/>
                    </a:lnTo>
                    <a:lnTo>
                      <a:pt x="1435" y="4741"/>
                    </a:lnTo>
                    <a:lnTo>
                      <a:pt x="1428" y="4743"/>
                    </a:lnTo>
                    <a:lnTo>
                      <a:pt x="1421" y="4744"/>
                    </a:lnTo>
                    <a:lnTo>
                      <a:pt x="1412" y="4744"/>
                    </a:lnTo>
                    <a:lnTo>
                      <a:pt x="1405" y="4741"/>
                    </a:lnTo>
                    <a:lnTo>
                      <a:pt x="1398" y="4739"/>
                    </a:lnTo>
                    <a:lnTo>
                      <a:pt x="1392" y="4734"/>
                    </a:lnTo>
                    <a:lnTo>
                      <a:pt x="1386" y="4730"/>
                    </a:lnTo>
                    <a:lnTo>
                      <a:pt x="1374" y="4718"/>
                    </a:lnTo>
                    <a:lnTo>
                      <a:pt x="1363" y="4706"/>
                    </a:lnTo>
                    <a:lnTo>
                      <a:pt x="1351" y="4692"/>
                    </a:lnTo>
                    <a:lnTo>
                      <a:pt x="1339" y="4681"/>
                    </a:lnTo>
                    <a:lnTo>
                      <a:pt x="1332" y="4676"/>
                    </a:lnTo>
                    <a:lnTo>
                      <a:pt x="1325" y="4673"/>
                    </a:lnTo>
                    <a:lnTo>
                      <a:pt x="1317" y="4669"/>
                    </a:lnTo>
                    <a:lnTo>
                      <a:pt x="1308" y="4667"/>
                    </a:lnTo>
                    <a:lnTo>
                      <a:pt x="1303" y="4668"/>
                    </a:lnTo>
                    <a:lnTo>
                      <a:pt x="1298" y="4669"/>
                    </a:lnTo>
                    <a:lnTo>
                      <a:pt x="1293" y="4670"/>
                    </a:lnTo>
                    <a:lnTo>
                      <a:pt x="1288" y="4673"/>
                    </a:lnTo>
                    <a:lnTo>
                      <a:pt x="1278" y="4679"/>
                    </a:lnTo>
                    <a:lnTo>
                      <a:pt x="1270" y="4689"/>
                    </a:lnTo>
                    <a:lnTo>
                      <a:pt x="1263" y="4699"/>
                    </a:lnTo>
                    <a:lnTo>
                      <a:pt x="1257" y="4712"/>
                    </a:lnTo>
                    <a:lnTo>
                      <a:pt x="1255" y="4717"/>
                    </a:lnTo>
                    <a:lnTo>
                      <a:pt x="1254" y="4724"/>
                    </a:lnTo>
                    <a:lnTo>
                      <a:pt x="1253" y="4730"/>
                    </a:lnTo>
                    <a:lnTo>
                      <a:pt x="1253" y="4737"/>
                    </a:lnTo>
                    <a:lnTo>
                      <a:pt x="1252" y="4748"/>
                    </a:lnTo>
                    <a:lnTo>
                      <a:pt x="1253" y="4760"/>
                    </a:lnTo>
                    <a:lnTo>
                      <a:pt x="1255" y="4770"/>
                    </a:lnTo>
                    <a:lnTo>
                      <a:pt x="1259" y="4782"/>
                    </a:lnTo>
                    <a:lnTo>
                      <a:pt x="1267" y="4802"/>
                    </a:lnTo>
                    <a:lnTo>
                      <a:pt x="1277" y="4824"/>
                    </a:lnTo>
                    <a:lnTo>
                      <a:pt x="1287" y="4847"/>
                    </a:lnTo>
                    <a:lnTo>
                      <a:pt x="1295" y="4872"/>
                    </a:lnTo>
                    <a:lnTo>
                      <a:pt x="1299" y="4886"/>
                    </a:lnTo>
                    <a:lnTo>
                      <a:pt x="1301" y="4900"/>
                    </a:lnTo>
                    <a:lnTo>
                      <a:pt x="1302" y="4916"/>
                    </a:lnTo>
                    <a:lnTo>
                      <a:pt x="1301" y="4932"/>
                    </a:lnTo>
                    <a:lnTo>
                      <a:pt x="1301" y="4940"/>
                    </a:lnTo>
                    <a:lnTo>
                      <a:pt x="1300" y="4947"/>
                    </a:lnTo>
                    <a:lnTo>
                      <a:pt x="1299" y="4954"/>
                    </a:lnTo>
                    <a:lnTo>
                      <a:pt x="1296" y="4959"/>
                    </a:lnTo>
                    <a:lnTo>
                      <a:pt x="1293" y="4965"/>
                    </a:lnTo>
                    <a:lnTo>
                      <a:pt x="1290" y="4970"/>
                    </a:lnTo>
                    <a:lnTo>
                      <a:pt x="1285" y="4974"/>
                    </a:lnTo>
                    <a:lnTo>
                      <a:pt x="1280" y="4979"/>
                    </a:lnTo>
                    <a:lnTo>
                      <a:pt x="1275" y="4982"/>
                    </a:lnTo>
                    <a:lnTo>
                      <a:pt x="1269" y="4986"/>
                    </a:lnTo>
                    <a:lnTo>
                      <a:pt x="1262" y="4988"/>
                    </a:lnTo>
                    <a:lnTo>
                      <a:pt x="1254" y="4990"/>
                    </a:lnTo>
                    <a:lnTo>
                      <a:pt x="1237" y="4994"/>
                    </a:lnTo>
                    <a:lnTo>
                      <a:pt x="1217" y="4995"/>
                    </a:lnTo>
                    <a:lnTo>
                      <a:pt x="1208" y="4994"/>
                    </a:lnTo>
                    <a:lnTo>
                      <a:pt x="1199" y="4993"/>
                    </a:lnTo>
                    <a:lnTo>
                      <a:pt x="1192" y="4990"/>
                    </a:lnTo>
                    <a:lnTo>
                      <a:pt x="1185" y="4987"/>
                    </a:lnTo>
                    <a:lnTo>
                      <a:pt x="1178" y="4981"/>
                    </a:lnTo>
                    <a:lnTo>
                      <a:pt x="1173" y="4974"/>
                    </a:lnTo>
                    <a:lnTo>
                      <a:pt x="1167" y="4965"/>
                    </a:lnTo>
                    <a:lnTo>
                      <a:pt x="1162" y="4952"/>
                    </a:lnTo>
                    <a:lnTo>
                      <a:pt x="1152" y="4954"/>
                    </a:lnTo>
                    <a:lnTo>
                      <a:pt x="1143" y="4956"/>
                    </a:lnTo>
                    <a:lnTo>
                      <a:pt x="1135" y="4960"/>
                    </a:lnTo>
                    <a:lnTo>
                      <a:pt x="1127" y="4965"/>
                    </a:lnTo>
                    <a:lnTo>
                      <a:pt x="1121" y="4971"/>
                    </a:lnTo>
                    <a:lnTo>
                      <a:pt x="1118" y="4976"/>
                    </a:lnTo>
                    <a:lnTo>
                      <a:pt x="1114" y="4982"/>
                    </a:lnTo>
                    <a:lnTo>
                      <a:pt x="1113" y="4988"/>
                    </a:lnTo>
                    <a:lnTo>
                      <a:pt x="1065" y="4988"/>
                    </a:lnTo>
                    <a:lnTo>
                      <a:pt x="1060" y="4979"/>
                    </a:lnTo>
                    <a:lnTo>
                      <a:pt x="1057" y="4966"/>
                    </a:lnTo>
                    <a:lnTo>
                      <a:pt x="1053" y="4954"/>
                    </a:lnTo>
                    <a:lnTo>
                      <a:pt x="1049" y="4941"/>
                    </a:lnTo>
                    <a:lnTo>
                      <a:pt x="1047" y="4935"/>
                    </a:lnTo>
                    <a:lnTo>
                      <a:pt x="1043" y="4929"/>
                    </a:lnTo>
                    <a:lnTo>
                      <a:pt x="1038" y="4925"/>
                    </a:lnTo>
                    <a:lnTo>
                      <a:pt x="1033" y="4920"/>
                    </a:lnTo>
                    <a:lnTo>
                      <a:pt x="1027" y="4916"/>
                    </a:lnTo>
                    <a:lnTo>
                      <a:pt x="1020" y="4913"/>
                    </a:lnTo>
                    <a:lnTo>
                      <a:pt x="1012" y="4911"/>
                    </a:lnTo>
                    <a:lnTo>
                      <a:pt x="1002" y="4911"/>
                    </a:lnTo>
                    <a:lnTo>
                      <a:pt x="990" y="4911"/>
                    </a:lnTo>
                    <a:lnTo>
                      <a:pt x="980" y="4913"/>
                    </a:lnTo>
                    <a:lnTo>
                      <a:pt x="970" y="4917"/>
                    </a:lnTo>
                    <a:lnTo>
                      <a:pt x="961" y="4921"/>
                    </a:lnTo>
                    <a:lnTo>
                      <a:pt x="943" y="4933"/>
                    </a:lnTo>
                    <a:lnTo>
                      <a:pt x="926" y="4946"/>
                    </a:lnTo>
                    <a:lnTo>
                      <a:pt x="910" y="4958"/>
                    </a:lnTo>
                    <a:lnTo>
                      <a:pt x="893" y="4970"/>
                    </a:lnTo>
                    <a:lnTo>
                      <a:pt x="885" y="4974"/>
                    </a:lnTo>
                    <a:lnTo>
                      <a:pt x="876" y="4978"/>
                    </a:lnTo>
                    <a:lnTo>
                      <a:pt x="865" y="4980"/>
                    </a:lnTo>
                    <a:lnTo>
                      <a:pt x="856" y="4981"/>
                    </a:lnTo>
                    <a:lnTo>
                      <a:pt x="845" y="4980"/>
                    </a:lnTo>
                    <a:lnTo>
                      <a:pt x="836" y="4976"/>
                    </a:lnTo>
                    <a:lnTo>
                      <a:pt x="826" y="4972"/>
                    </a:lnTo>
                    <a:lnTo>
                      <a:pt x="819" y="4965"/>
                    </a:lnTo>
                    <a:lnTo>
                      <a:pt x="813" y="4958"/>
                    </a:lnTo>
                    <a:lnTo>
                      <a:pt x="807" y="4950"/>
                    </a:lnTo>
                    <a:lnTo>
                      <a:pt x="801" y="4941"/>
                    </a:lnTo>
                    <a:lnTo>
                      <a:pt x="794" y="4932"/>
                    </a:lnTo>
                    <a:lnTo>
                      <a:pt x="789" y="4923"/>
                    </a:lnTo>
                    <a:lnTo>
                      <a:pt x="783" y="4913"/>
                    </a:lnTo>
                    <a:lnTo>
                      <a:pt x="776" y="4905"/>
                    </a:lnTo>
                    <a:lnTo>
                      <a:pt x="768" y="4898"/>
                    </a:lnTo>
                    <a:lnTo>
                      <a:pt x="759" y="4892"/>
                    </a:lnTo>
                    <a:lnTo>
                      <a:pt x="748" y="4887"/>
                    </a:lnTo>
                    <a:lnTo>
                      <a:pt x="737" y="4884"/>
                    </a:lnTo>
                    <a:lnTo>
                      <a:pt x="723" y="4884"/>
                    </a:lnTo>
                    <a:lnTo>
                      <a:pt x="721" y="4884"/>
                    </a:lnTo>
                    <a:lnTo>
                      <a:pt x="721" y="4886"/>
                    </a:lnTo>
                    <a:lnTo>
                      <a:pt x="720" y="4889"/>
                    </a:lnTo>
                    <a:lnTo>
                      <a:pt x="719" y="4894"/>
                    </a:lnTo>
                    <a:lnTo>
                      <a:pt x="719" y="4897"/>
                    </a:lnTo>
                    <a:lnTo>
                      <a:pt x="716" y="4901"/>
                    </a:lnTo>
                    <a:lnTo>
                      <a:pt x="714" y="4903"/>
                    </a:lnTo>
                    <a:lnTo>
                      <a:pt x="709" y="4904"/>
                    </a:lnTo>
                    <a:lnTo>
                      <a:pt x="696" y="4903"/>
                    </a:lnTo>
                    <a:lnTo>
                      <a:pt x="681" y="4900"/>
                    </a:lnTo>
                    <a:lnTo>
                      <a:pt x="673" y="4897"/>
                    </a:lnTo>
                    <a:lnTo>
                      <a:pt x="666" y="4894"/>
                    </a:lnTo>
                    <a:lnTo>
                      <a:pt x="658" y="4890"/>
                    </a:lnTo>
                    <a:lnTo>
                      <a:pt x="651" y="4887"/>
                    </a:lnTo>
                    <a:lnTo>
                      <a:pt x="644" y="4881"/>
                    </a:lnTo>
                    <a:lnTo>
                      <a:pt x="638" y="4876"/>
                    </a:lnTo>
                    <a:lnTo>
                      <a:pt x="633" y="4870"/>
                    </a:lnTo>
                    <a:lnTo>
                      <a:pt x="628" y="4863"/>
                    </a:lnTo>
                    <a:lnTo>
                      <a:pt x="625" y="4855"/>
                    </a:lnTo>
                    <a:lnTo>
                      <a:pt x="621" y="4847"/>
                    </a:lnTo>
                    <a:lnTo>
                      <a:pt x="620" y="4838"/>
                    </a:lnTo>
                    <a:lnTo>
                      <a:pt x="619" y="4827"/>
                    </a:lnTo>
                    <a:lnTo>
                      <a:pt x="620" y="4823"/>
                    </a:lnTo>
                    <a:lnTo>
                      <a:pt x="621" y="4819"/>
                    </a:lnTo>
                    <a:lnTo>
                      <a:pt x="623" y="4815"/>
                    </a:lnTo>
                    <a:lnTo>
                      <a:pt x="626" y="4810"/>
                    </a:lnTo>
                    <a:lnTo>
                      <a:pt x="633" y="4800"/>
                    </a:lnTo>
                    <a:lnTo>
                      <a:pt x="641" y="4791"/>
                    </a:lnTo>
                    <a:lnTo>
                      <a:pt x="650" y="4782"/>
                    </a:lnTo>
                    <a:lnTo>
                      <a:pt x="657" y="4775"/>
                    </a:lnTo>
                    <a:lnTo>
                      <a:pt x="664" y="4769"/>
                    </a:lnTo>
                    <a:lnTo>
                      <a:pt x="668" y="4764"/>
                    </a:lnTo>
                    <a:lnTo>
                      <a:pt x="675" y="4687"/>
                    </a:lnTo>
                    <a:lnTo>
                      <a:pt x="660" y="4687"/>
                    </a:lnTo>
                    <a:lnTo>
                      <a:pt x="648" y="4685"/>
                    </a:lnTo>
                    <a:lnTo>
                      <a:pt x="637" y="4682"/>
                    </a:lnTo>
                    <a:lnTo>
                      <a:pt x="629" y="4678"/>
                    </a:lnTo>
                    <a:lnTo>
                      <a:pt x="622" y="4673"/>
                    </a:lnTo>
                    <a:lnTo>
                      <a:pt x="617" y="4667"/>
                    </a:lnTo>
                    <a:lnTo>
                      <a:pt x="612" y="4660"/>
                    </a:lnTo>
                    <a:lnTo>
                      <a:pt x="609" y="4653"/>
                    </a:lnTo>
                    <a:lnTo>
                      <a:pt x="603" y="4638"/>
                    </a:lnTo>
                    <a:lnTo>
                      <a:pt x="598" y="4623"/>
                    </a:lnTo>
                    <a:lnTo>
                      <a:pt x="596" y="4616"/>
                    </a:lnTo>
                    <a:lnTo>
                      <a:pt x="592" y="4609"/>
                    </a:lnTo>
                    <a:lnTo>
                      <a:pt x="589" y="4603"/>
                    </a:lnTo>
                    <a:lnTo>
                      <a:pt x="584" y="4598"/>
                    </a:lnTo>
                    <a:lnTo>
                      <a:pt x="574" y="4590"/>
                    </a:lnTo>
                    <a:lnTo>
                      <a:pt x="563" y="4583"/>
                    </a:lnTo>
                    <a:lnTo>
                      <a:pt x="551" y="4579"/>
                    </a:lnTo>
                    <a:lnTo>
                      <a:pt x="537" y="4575"/>
                    </a:lnTo>
                    <a:lnTo>
                      <a:pt x="510" y="4569"/>
                    </a:lnTo>
                    <a:lnTo>
                      <a:pt x="482" y="4562"/>
                    </a:lnTo>
                    <a:lnTo>
                      <a:pt x="470" y="4558"/>
                    </a:lnTo>
                    <a:lnTo>
                      <a:pt x="457" y="4552"/>
                    </a:lnTo>
                    <a:lnTo>
                      <a:pt x="451" y="4549"/>
                    </a:lnTo>
                    <a:lnTo>
                      <a:pt x="446" y="4545"/>
                    </a:lnTo>
                    <a:lnTo>
                      <a:pt x="441" y="4540"/>
                    </a:lnTo>
                    <a:lnTo>
                      <a:pt x="437" y="4535"/>
                    </a:lnTo>
                    <a:lnTo>
                      <a:pt x="432" y="4529"/>
                    </a:lnTo>
                    <a:lnTo>
                      <a:pt x="429" y="4522"/>
                    </a:lnTo>
                    <a:lnTo>
                      <a:pt x="425" y="4515"/>
                    </a:lnTo>
                    <a:lnTo>
                      <a:pt x="423" y="4507"/>
                    </a:lnTo>
                    <a:lnTo>
                      <a:pt x="420" y="4498"/>
                    </a:lnTo>
                    <a:lnTo>
                      <a:pt x="418" y="4488"/>
                    </a:lnTo>
                    <a:lnTo>
                      <a:pt x="417" y="4478"/>
                    </a:lnTo>
                    <a:lnTo>
                      <a:pt x="417" y="4465"/>
                    </a:lnTo>
                    <a:lnTo>
                      <a:pt x="417" y="4460"/>
                    </a:lnTo>
                    <a:lnTo>
                      <a:pt x="418" y="4456"/>
                    </a:lnTo>
                    <a:lnTo>
                      <a:pt x="420" y="4451"/>
                    </a:lnTo>
                    <a:lnTo>
                      <a:pt x="422" y="4447"/>
                    </a:lnTo>
                    <a:lnTo>
                      <a:pt x="429" y="4436"/>
                    </a:lnTo>
                    <a:lnTo>
                      <a:pt x="435" y="4426"/>
                    </a:lnTo>
                    <a:lnTo>
                      <a:pt x="456" y="4405"/>
                    </a:lnTo>
                    <a:lnTo>
                      <a:pt x="479" y="4384"/>
                    </a:lnTo>
                    <a:lnTo>
                      <a:pt x="503" y="4361"/>
                    </a:lnTo>
                    <a:lnTo>
                      <a:pt x="526" y="4338"/>
                    </a:lnTo>
                    <a:lnTo>
                      <a:pt x="535" y="4326"/>
                    </a:lnTo>
                    <a:lnTo>
                      <a:pt x="544" y="4315"/>
                    </a:lnTo>
                    <a:lnTo>
                      <a:pt x="551" y="4303"/>
                    </a:lnTo>
                    <a:lnTo>
                      <a:pt x="557" y="4291"/>
                    </a:lnTo>
                    <a:lnTo>
                      <a:pt x="543" y="4290"/>
                    </a:lnTo>
                    <a:lnTo>
                      <a:pt x="526" y="4288"/>
                    </a:lnTo>
                    <a:lnTo>
                      <a:pt x="505" y="4287"/>
                    </a:lnTo>
                    <a:lnTo>
                      <a:pt x="482" y="4287"/>
                    </a:lnTo>
                    <a:lnTo>
                      <a:pt x="459" y="4286"/>
                    </a:lnTo>
                    <a:lnTo>
                      <a:pt x="438" y="4284"/>
                    </a:lnTo>
                    <a:lnTo>
                      <a:pt x="427" y="4283"/>
                    </a:lnTo>
                    <a:lnTo>
                      <a:pt x="418" y="4281"/>
                    </a:lnTo>
                    <a:lnTo>
                      <a:pt x="410" y="4279"/>
                    </a:lnTo>
                    <a:lnTo>
                      <a:pt x="403" y="4277"/>
                    </a:lnTo>
                    <a:lnTo>
                      <a:pt x="401" y="4273"/>
                    </a:lnTo>
                    <a:lnTo>
                      <a:pt x="398" y="4267"/>
                    </a:lnTo>
                    <a:lnTo>
                      <a:pt x="394" y="4256"/>
                    </a:lnTo>
                    <a:lnTo>
                      <a:pt x="392" y="4244"/>
                    </a:lnTo>
                    <a:lnTo>
                      <a:pt x="385" y="4212"/>
                    </a:lnTo>
                    <a:lnTo>
                      <a:pt x="377" y="4175"/>
                    </a:lnTo>
                    <a:lnTo>
                      <a:pt x="369" y="4137"/>
                    </a:lnTo>
                    <a:lnTo>
                      <a:pt x="360" y="4103"/>
                    </a:lnTo>
                    <a:lnTo>
                      <a:pt x="355" y="4089"/>
                    </a:lnTo>
                    <a:lnTo>
                      <a:pt x="351" y="4076"/>
                    </a:lnTo>
                    <a:lnTo>
                      <a:pt x="346" y="4067"/>
                    </a:lnTo>
                    <a:lnTo>
                      <a:pt x="340" y="4061"/>
                    </a:lnTo>
                    <a:lnTo>
                      <a:pt x="332" y="4056"/>
                    </a:lnTo>
                    <a:lnTo>
                      <a:pt x="322" y="4051"/>
                    </a:lnTo>
                    <a:lnTo>
                      <a:pt x="310" y="4049"/>
                    </a:lnTo>
                    <a:lnTo>
                      <a:pt x="299" y="4046"/>
                    </a:lnTo>
                    <a:lnTo>
                      <a:pt x="274" y="4043"/>
                    </a:lnTo>
                    <a:lnTo>
                      <a:pt x="247" y="4038"/>
                    </a:lnTo>
                    <a:lnTo>
                      <a:pt x="235" y="4036"/>
                    </a:lnTo>
                    <a:lnTo>
                      <a:pt x="223" y="4031"/>
                    </a:lnTo>
                    <a:lnTo>
                      <a:pt x="212" y="4026"/>
                    </a:lnTo>
                    <a:lnTo>
                      <a:pt x="203" y="4018"/>
                    </a:lnTo>
                    <a:lnTo>
                      <a:pt x="198" y="4013"/>
                    </a:lnTo>
                    <a:lnTo>
                      <a:pt x="195" y="4009"/>
                    </a:lnTo>
                    <a:lnTo>
                      <a:pt x="190" y="4003"/>
                    </a:lnTo>
                    <a:lnTo>
                      <a:pt x="188" y="3996"/>
                    </a:lnTo>
                    <a:lnTo>
                      <a:pt x="185" y="3989"/>
                    </a:lnTo>
                    <a:lnTo>
                      <a:pt x="183" y="3982"/>
                    </a:lnTo>
                    <a:lnTo>
                      <a:pt x="181" y="3973"/>
                    </a:lnTo>
                    <a:lnTo>
                      <a:pt x="181" y="3964"/>
                    </a:lnTo>
                    <a:lnTo>
                      <a:pt x="175" y="3943"/>
                    </a:lnTo>
                    <a:lnTo>
                      <a:pt x="172" y="3927"/>
                    </a:lnTo>
                    <a:lnTo>
                      <a:pt x="168" y="3914"/>
                    </a:lnTo>
                    <a:lnTo>
                      <a:pt x="166" y="3904"/>
                    </a:lnTo>
                    <a:lnTo>
                      <a:pt x="166" y="3894"/>
                    </a:lnTo>
                    <a:lnTo>
                      <a:pt x="167" y="3885"/>
                    </a:lnTo>
                    <a:lnTo>
                      <a:pt x="169" y="3873"/>
                    </a:lnTo>
                    <a:lnTo>
                      <a:pt x="173" y="3859"/>
                    </a:lnTo>
                    <a:lnTo>
                      <a:pt x="179" y="3854"/>
                    </a:lnTo>
                    <a:lnTo>
                      <a:pt x="182" y="3848"/>
                    </a:lnTo>
                    <a:lnTo>
                      <a:pt x="185" y="3841"/>
                    </a:lnTo>
                    <a:lnTo>
                      <a:pt x="188" y="3834"/>
                    </a:lnTo>
                    <a:lnTo>
                      <a:pt x="190" y="3819"/>
                    </a:lnTo>
                    <a:lnTo>
                      <a:pt x="191" y="3803"/>
                    </a:lnTo>
                    <a:lnTo>
                      <a:pt x="192" y="3788"/>
                    </a:lnTo>
                    <a:lnTo>
                      <a:pt x="192" y="3773"/>
                    </a:lnTo>
                    <a:lnTo>
                      <a:pt x="192" y="3760"/>
                    </a:lnTo>
                    <a:lnTo>
                      <a:pt x="195" y="3748"/>
                    </a:lnTo>
                    <a:lnTo>
                      <a:pt x="200" y="3747"/>
                    </a:lnTo>
                    <a:lnTo>
                      <a:pt x="208" y="3747"/>
                    </a:lnTo>
                    <a:lnTo>
                      <a:pt x="215" y="3746"/>
                    </a:lnTo>
                    <a:lnTo>
                      <a:pt x="222" y="3744"/>
                    </a:lnTo>
                    <a:lnTo>
                      <a:pt x="229" y="3740"/>
                    </a:lnTo>
                    <a:lnTo>
                      <a:pt x="236" y="3737"/>
                    </a:lnTo>
                    <a:lnTo>
                      <a:pt x="243" y="3732"/>
                    </a:lnTo>
                    <a:lnTo>
                      <a:pt x="250" y="3726"/>
                    </a:lnTo>
                    <a:lnTo>
                      <a:pt x="255" y="3721"/>
                    </a:lnTo>
                    <a:lnTo>
                      <a:pt x="261" y="3713"/>
                    </a:lnTo>
                    <a:lnTo>
                      <a:pt x="266" y="3705"/>
                    </a:lnTo>
                    <a:lnTo>
                      <a:pt x="269" y="3695"/>
                    </a:lnTo>
                    <a:lnTo>
                      <a:pt x="273" y="3684"/>
                    </a:lnTo>
                    <a:lnTo>
                      <a:pt x="276" y="3671"/>
                    </a:lnTo>
                    <a:lnTo>
                      <a:pt x="277" y="3659"/>
                    </a:lnTo>
                    <a:lnTo>
                      <a:pt x="278" y="3644"/>
                    </a:lnTo>
                    <a:lnTo>
                      <a:pt x="277" y="3630"/>
                    </a:lnTo>
                    <a:lnTo>
                      <a:pt x="274" y="3617"/>
                    </a:lnTo>
                    <a:lnTo>
                      <a:pt x="270" y="3607"/>
                    </a:lnTo>
                    <a:lnTo>
                      <a:pt x="265" y="3597"/>
                    </a:lnTo>
                    <a:lnTo>
                      <a:pt x="259" y="3589"/>
                    </a:lnTo>
                    <a:lnTo>
                      <a:pt x="252" y="3581"/>
                    </a:lnTo>
                    <a:lnTo>
                      <a:pt x="244" y="3574"/>
                    </a:lnTo>
                    <a:lnTo>
                      <a:pt x="237" y="3568"/>
                    </a:lnTo>
                    <a:lnTo>
                      <a:pt x="222" y="3556"/>
                    </a:lnTo>
                    <a:lnTo>
                      <a:pt x="211" y="3544"/>
                    </a:lnTo>
                    <a:lnTo>
                      <a:pt x="206" y="3538"/>
                    </a:lnTo>
                    <a:lnTo>
                      <a:pt x="203" y="3533"/>
                    </a:lnTo>
                    <a:lnTo>
                      <a:pt x="202" y="3526"/>
                    </a:lnTo>
                    <a:lnTo>
                      <a:pt x="202" y="3518"/>
                    </a:lnTo>
                    <a:lnTo>
                      <a:pt x="202" y="3513"/>
                    </a:lnTo>
                    <a:lnTo>
                      <a:pt x="203" y="3508"/>
                    </a:lnTo>
                    <a:lnTo>
                      <a:pt x="205" y="3505"/>
                    </a:lnTo>
                    <a:lnTo>
                      <a:pt x="207" y="3502"/>
                    </a:lnTo>
                    <a:lnTo>
                      <a:pt x="214" y="3496"/>
                    </a:lnTo>
                    <a:lnTo>
                      <a:pt x="222" y="3490"/>
                    </a:lnTo>
                    <a:lnTo>
                      <a:pt x="230" y="3484"/>
                    </a:lnTo>
                    <a:lnTo>
                      <a:pt x="237" y="3479"/>
                    </a:lnTo>
                    <a:lnTo>
                      <a:pt x="239" y="3475"/>
                    </a:lnTo>
                    <a:lnTo>
                      <a:pt x="242" y="3472"/>
                    </a:lnTo>
                    <a:lnTo>
                      <a:pt x="243" y="3467"/>
                    </a:lnTo>
                    <a:lnTo>
                      <a:pt x="243" y="3463"/>
                    </a:lnTo>
                    <a:lnTo>
                      <a:pt x="215" y="3455"/>
                    </a:lnTo>
                    <a:lnTo>
                      <a:pt x="190" y="3448"/>
                    </a:lnTo>
                    <a:lnTo>
                      <a:pt x="165" y="3442"/>
                    </a:lnTo>
                    <a:lnTo>
                      <a:pt x="141" y="3437"/>
                    </a:lnTo>
                    <a:lnTo>
                      <a:pt x="116" y="3433"/>
                    </a:lnTo>
                    <a:lnTo>
                      <a:pt x="88" y="3429"/>
                    </a:lnTo>
                    <a:lnTo>
                      <a:pt x="59" y="3428"/>
                    </a:lnTo>
                    <a:lnTo>
                      <a:pt x="27" y="3427"/>
                    </a:lnTo>
                    <a:lnTo>
                      <a:pt x="28" y="3416"/>
                    </a:lnTo>
                    <a:lnTo>
                      <a:pt x="28" y="3405"/>
                    </a:lnTo>
                    <a:lnTo>
                      <a:pt x="27" y="3394"/>
                    </a:lnTo>
                    <a:lnTo>
                      <a:pt x="26" y="3383"/>
                    </a:lnTo>
                    <a:lnTo>
                      <a:pt x="22" y="3365"/>
                    </a:lnTo>
                    <a:lnTo>
                      <a:pt x="16" y="3347"/>
                    </a:lnTo>
                    <a:lnTo>
                      <a:pt x="10" y="3330"/>
                    </a:lnTo>
                    <a:lnTo>
                      <a:pt x="4" y="3312"/>
                    </a:lnTo>
                    <a:lnTo>
                      <a:pt x="2" y="3304"/>
                    </a:lnTo>
                    <a:lnTo>
                      <a:pt x="1" y="3296"/>
                    </a:lnTo>
                    <a:lnTo>
                      <a:pt x="0" y="3289"/>
                    </a:lnTo>
                    <a:lnTo>
                      <a:pt x="0" y="3281"/>
                    </a:lnTo>
                    <a:lnTo>
                      <a:pt x="0" y="3276"/>
                    </a:lnTo>
                    <a:lnTo>
                      <a:pt x="1" y="3271"/>
                    </a:lnTo>
                    <a:lnTo>
                      <a:pt x="3" y="3266"/>
                    </a:lnTo>
                    <a:lnTo>
                      <a:pt x="7" y="3263"/>
                    </a:lnTo>
                    <a:lnTo>
                      <a:pt x="13" y="3255"/>
                    </a:lnTo>
                    <a:lnTo>
                      <a:pt x="24" y="3248"/>
                    </a:lnTo>
                    <a:lnTo>
                      <a:pt x="34" y="3242"/>
                    </a:lnTo>
                    <a:lnTo>
                      <a:pt x="47" y="3236"/>
                    </a:lnTo>
                    <a:lnTo>
                      <a:pt x="58" y="3231"/>
                    </a:lnTo>
                    <a:lnTo>
                      <a:pt x="69" y="3225"/>
                    </a:lnTo>
                    <a:lnTo>
                      <a:pt x="70" y="3237"/>
                    </a:lnTo>
                    <a:lnTo>
                      <a:pt x="71" y="3247"/>
                    </a:lnTo>
                    <a:lnTo>
                      <a:pt x="72" y="3256"/>
                    </a:lnTo>
                    <a:lnTo>
                      <a:pt x="75" y="3264"/>
                    </a:lnTo>
                    <a:lnTo>
                      <a:pt x="78" y="3271"/>
                    </a:lnTo>
                    <a:lnTo>
                      <a:pt x="81" y="3278"/>
                    </a:lnTo>
                    <a:lnTo>
                      <a:pt x="86" y="3284"/>
                    </a:lnTo>
                    <a:lnTo>
                      <a:pt x="90" y="3289"/>
                    </a:lnTo>
                    <a:lnTo>
                      <a:pt x="99" y="3297"/>
                    </a:lnTo>
                    <a:lnTo>
                      <a:pt x="110" y="3304"/>
                    </a:lnTo>
                    <a:lnTo>
                      <a:pt x="121" y="3311"/>
                    </a:lnTo>
                    <a:lnTo>
                      <a:pt x="132" y="3316"/>
                    </a:lnTo>
                    <a:lnTo>
                      <a:pt x="142" y="3294"/>
                    </a:lnTo>
                    <a:lnTo>
                      <a:pt x="152" y="3275"/>
                    </a:lnTo>
                    <a:lnTo>
                      <a:pt x="161" y="3258"/>
                    </a:lnTo>
                    <a:lnTo>
                      <a:pt x="171" y="3244"/>
                    </a:lnTo>
                    <a:lnTo>
                      <a:pt x="180" y="3231"/>
                    </a:lnTo>
                    <a:lnTo>
                      <a:pt x="189" y="3219"/>
                    </a:lnTo>
                    <a:lnTo>
                      <a:pt x="198" y="3209"/>
                    </a:lnTo>
                    <a:lnTo>
                      <a:pt x="208" y="3200"/>
                    </a:lnTo>
                    <a:lnTo>
                      <a:pt x="229" y="3183"/>
                    </a:lnTo>
                    <a:lnTo>
                      <a:pt x="251" y="3166"/>
                    </a:lnTo>
                    <a:lnTo>
                      <a:pt x="276" y="3146"/>
                    </a:lnTo>
                    <a:lnTo>
                      <a:pt x="306" y="3121"/>
                    </a:lnTo>
                    <a:lnTo>
                      <a:pt x="332" y="3099"/>
                    </a:lnTo>
                    <a:lnTo>
                      <a:pt x="360" y="3080"/>
                    </a:lnTo>
                    <a:lnTo>
                      <a:pt x="385" y="3062"/>
                    </a:lnTo>
                    <a:lnTo>
                      <a:pt x="410" y="3044"/>
                    </a:lnTo>
                    <a:lnTo>
                      <a:pt x="422" y="3035"/>
                    </a:lnTo>
                    <a:lnTo>
                      <a:pt x="432" y="3026"/>
                    </a:lnTo>
                    <a:lnTo>
                      <a:pt x="442" y="3014"/>
                    </a:lnTo>
                    <a:lnTo>
                      <a:pt x="450" y="3004"/>
                    </a:lnTo>
                    <a:lnTo>
                      <a:pt x="458" y="2991"/>
                    </a:lnTo>
                    <a:lnTo>
                      <a:pt x="464" y="2977"/>
                    </a:lnTo>
                    <a:lnTo>
                      <a:pt x="470" y="2963"/>
                    </a:lnTo>
                    <a:lnTo>
                      <a:pt x="473" y="2947"/>
                    </a:lnTo>
                    <a:lnTo>
                      <a:pt x="424" y="2947"/>
                    </a:lnTo>
                    <a:lnTo>
                      <a:pt x="414" y="2955"/>
                    </a:lnTo>
                    <a:lnTo>
                      <a:pt x="404" y="2963"/>
                    </a:lnTo>
                    <a:lnTo>
                      <a:pt x="394" y="2969"/>
                    </a:lnTo>
                    <a:lnTo>
                      <a:pt x="385" y="2975"/>
                    </a:lnTo>
                    <a:lnTo>
                      <a:pt x="375" y="2981"/>
                    </a:lnTo>
                    <a:lnTo>
                      <a:pt x="364" y="2986"/>
                    </a:lnTo>
                    <a:lnTo>
                      <a:pt x="353" y="2988"/>
                    </a:lnTo>
                    <a:lnTo>
                      <a:pt x="340" y="2989"/>
                    </a:lnTo>
                    <a:lnTo>
                      <a:pt x="337" y="2988"/>
                    </a:lnTo>
                    <a:lnTo>
                      <a:pt x="333" y="2987"/>
                    </a:lnTo>
                    <a:lnTo>
                      <a:pt x="331" y="2984"/>
                    </a:lnTo>
                    <a:lnTo>
                      <a:pt x="329" y="2982"/>
                    </a:lnTo>
                    <a:lnTo>
                      <a:pt x="325" y="2977"/>
                    </a:lnTo>
                    <a:lnTo>
                      <a:pt x="323" y="2971"/>
                    </a:lnTo>
                    <a:lnTo>
                      <a:pt x="322" y="2963"/>
                    </a:lnTo>
                    <a:lnTo>
                      <a:pt x="322" y="2955"/>
                    </a:lnTo>
                    <a:lnTo>
                      <a:pt x="323" y="2947"/>
                    </a:lnTo>
                    <a:lnTo>
                      <a:pt x="325" y="2937"/>
                    </a:lnTo>
                    <a:lnTo>
                      <a:pt x="330" y="2920"/>
                    </a:lnTo>
                    <a:lnTo>
                      <a:pt x="335" y="2905"/>
                    </a:lnTo>
                    <a:lnTo>
                      <a:pt x="339" y="2895"/>
                    </a:lnTo>
                    <a:lnTo>
                      <a:pt x="340" y="2891"/>
                    </a:lnTo>
                    <a:lnTo>
                      <a:pt x="341" y="2879"/>
                    </a:lnTo>
                    <a:lnTo>
                      <a:pt x="344" y="2867"/>
                    </a:lnTo>
                    <a:lnTo>
                      <a:pt x="346" y="2855"/>
                    </a:lnTo>
                    <a:lnTo>
                      <a:pt x="348" y="2844"/>
                    </a:lnTo>
                    <a:lnTo>
                      <a:pt x="355" y="2823"/>
                    </a:lnTo>
                    <a:lnTo>
                      <a:pt x="365" y="2801"/>
                    </a:lnTo>
                    <a:lnTo>
                      <a:pt x="376" y="2781"/>
                    </a:lnTo>
                    <a:lnTo>
                      <a:pt x="388" y="2762"/>
                    </a:lnTo>
                    <a:lnTo>
                      <a:pt x="402" y="2744"/>
                    </a:lnTo>
                    <a:lnTo>
                      <a:pt x="417" y="2725"/>
                    </a:lnTo>
                    <a:lnTo>
                      <a:pt x="448" y="2690"/>
                    </a:lnTo>
                    <a:lnTo>
                      <a:pt x="479" y="2655"/>
                    </a:lnTo>
                    <a:lnTo>
                      <a:pt x="495" y="2638"/>
                    </a:lnTo>
                    <a:lnTo>
                      <a:pt x="510" y="2621"/>
                    </a:lnTo>
                    <a:lnTo>
                      <a:pt x="523" y="2602"/>
                    </a:lnTo>
                    <a:lnTo>
                      <a:pt x="535" y="2584"/>
                    </a:lnTo>
                    <a:lnTo>
                      <a:pt x="541" y="2575"/>
                    </a:lnTo>
                    <a:lnTo>
                      <a:pt x="547" y="2560"/>
                    </a:lnTo>
                    <a:lnTo>
                      <a:pt x="551" y="2541"/>
                    </a:lnTo>
                    <a:lnTo>
                      <a:pt x="557" y="2519"/>
                    </a:lnTo>
                    <a:lnTo>
                      <a:pt x="567" y="2468"/>
                    </a:lnTo>
                    <a:lnTo>
                      <a:pt x="578" y="2413"/>
                    </a:lnTo>
                    <a:lnTo>
                      <a:pt x="586" y="2359"/>
                    </a:lnTo>
                    <a:lnTo>
                      <a:pt x="592" y="2311"/>
                    </a:lnTo>
                    <a:lnTo>
                      <a:pt x="597" y="2276"/>
                    </a:lnTo>
                    <a:lnTo>
                      <a:pt x="598" y="2257"/>
                    </a:lnTo>
                    <a:lnTo>
                      <a:pt x="598" y="2247"/>
                    </a:lnTo>
                    <a:lnTo>
                      <a:pt x="597" y="2237"/>
                    </a:lnTo>
                    <a:lnTo>
                      <a:pt x="596" y="2227"/>
                    </a:lnTo>
                    <a:lnTo>
                      <a:pt x="594" y="2217"/>
                    </a:lnTo>
                    <a:lnTo>
                      <a:pt x="590" y="2208"/>
                    </a:lnTo>
                    <a:lnTo>
                      <a:pt x="586" y="2198"/>
                    </a:lnTo>
                    <a:lnTo>
                      <a:pt x="581" y="2188"/>
                    </a:lnTo>
                    <a:lnTo>
                      <a:pt x="576" y="2179"/>
                    </a:lnTo>
                    <a:lnTo>
                      <a:pt x="564" y="2161"/>
                    </a:lnTo>
                    <a:lnTo>
                      <a:pt x="551" y="2143"/>
                    </a:lnTo>
                    <a:lnTo>
                      <a:pt x="536" y="2124"/>
                    </a:lnTo>
                    <a:lnTo>
                      <a:pt x="521" y="2107"/>
                    </a:lnTo>
                    <a:lnTo>
                      <a:pt x="506" y="2089"/>
                    </a:lnTo>
                    <a:lnTo>
                      <a:pt x="493" y="2070"/>
                    </a:lnTo>
                    <a:lnTo>
                      <a:pt x="479" y="2052"/>
                    </a:lnTo>
                    <a:lnTo>
                      <a:pt x="466" y="2034"/>
                    </a:lnTo>
                    <a:lnTo>
                      <a:pt x="462" y="2023"/>
                    </a:lnTo>
                    <a:lnTo>
                      <a:pt x="457" y="2014"/>
                    </a:lnTo>
                    <a:lnTo>
                      <a:pt x="453" y="2004"/>
                    </a:lnTo>
                    <a:lnTo>
                      <a:pt x="450" y="1993"/>
                    </a:lnTo>
                    <a:lnTo>
                      <a:pt x="447" y="1983"/>
                    </a:lnTo>
                    <a:lnTo>
                      <a:pt x="446" y="1973"/>
                    </a:lnTo>
                    <a:lnTo>
                      <a:pt x="445" y="1961"/>
                    </a:lnTo>
                    <a:lnTo>
                      <a:pt x="445" y="1951"/>
                    </a:lnTo>
                    <a:lnTo>
                      <a:pt x="446" y="1941"/>
                    </a:lnTo>
                    <a:lnTo>
                      <a:pt x="448" y="1933"/>
                    </a:lnTo>
                    <a:lnTo>
                      <a:pt x="451" y="1925"/>
                    </a:lnTo>
                    <a:lnTo>
                      <a:pt x="456" y="1919"/>
                    </a:lnTo>
                    <a:lnTo>
                      <a:pt x="461" y="1913"/>
                    </a:lnTo>
                    <a:lnTo>
                      <a:pt x="465" y="1909"/>
                    </a:lnTo>
                    <a:lnTo>
                      <a:pt x="470" y="1905"/>
                    </a:lnTo>
                    <a:lnTo>
                      <a:pt x="473" y="1902"/>
                    </a:lnTo>
                    <a:lnTo>
                      <a:pt x="465" y="1893"/>
                    </a:lnTo>
                    <a:lnTo>
                      <a:pt x="456" y="1885"/>
                    </a:lnTo>
                    <a:lnTo>
                      <a:pt x="447" y="1878"/>
                    </a:lnTo>
                    <a:lnTo>
                      <a:pt x="435" y="1871"/>
                    </a:lnTo>
                    <a:lnTo>
                      <a:pt x="411" y="1860"/>
                    </a:lnTo>
                    <a:lnTo>
                      <a:pt x="387" y="1851"/>
                    </a:lnTo>
                    <a:lnTo>
                      <a:pt x="376" y="1846"/>
                    </a:lnTo>
                    <a:lnTo>
                      <a:pt x="365" y="1840"/>
                    </a:lnTo>
                    <a:lnTo>
                      <a:pt x="355" y="1834"/>
                    </a:lnTo>
                    <a:lnTo>
                      <a:pt x="347" y="1827"/>
                    </a:lnTo>
                    <a:lnTo>
                      <a:pt x="344" y="1823"/>
                    </a:lnTo>
                    <a:lnTo>
                      <a:pt x="340" y="1818"/>
                    </a:lnTo>
                    <a:lnTo>
                      <a:pt x="338" y="1813"/>
                    </a:lnTo>
                    <a:lnTo>
                      <a:pt x="336" y="1809"/>
                    </a:lnTo>
                    <a:lnTo>
                      <a:pt x="335" y="1803"/>
                    </a:lnTo>
                    <a:lnTo>
                      <a:pt x="333" y="1797"/>
                    </a:lnTo>
                    <a:lnTo>
                      <a:pt x="333" y="1790"/>
                    </a:lnTo>
                    <a:lnTo>
                      <a:pt x="333" y="1784"/>
                    </a:lnTo>
                    <a:lnTo>
                      <a:pt x="335" y="1778"/>
                    </a:lnTo>
                    <a:lnTo>
                      <a:pt x="336" y="1772"/>
                    </a:lnTo>
                    <a:lnTo>
                      <a:pt x="339" y="1766"/>
                    </a:lnTo>
                    <a:lnTo>
                      <a:pt x="343" y="1759"/>
                    </a:lnTo>
                    <a:lnTo>
                      <a:pt x="346" y="1753"/>
                    </a:lnTo>
                    <a:lnTo>
                      <a:pt x="352" y="1747"/>
                    </a:lnTo>
                    <a:lnTo>
                      <a:pt x="356" y="1740"/>
                    </a:lnTo>
                    <a:lnTo>
                      <a:pt x="361" y="1735"/>
                    </a:lnTo>
                    <a:lnTo>
                      <a:pt x="353" y="1727"/>
                    </a:lnTo>
                    <a:lnTo>
                      <a:pt x="344" y="1721"/>
                    </a:lnTo>
                    <a:lnTo>
                      <a:pt x="333" y="1715"/>
                    </a:lnTo>
                    <a:lnTo>
                      <a:pt x="323" y="1709"/>
                    </a:lnTo>
                    <a:lnTo>
                      <a:pt x="301" y="1699"/>
                    </a:lnTo>
                    <a:lnTo>
                      <a:pt x="279" y="1690"/>
                    </a:lnTo>
                    <a:lnTo>
                      <a:pt x="269" y="1685"/>
                    </a:lnTo>
                    <a:lnTo>
                      <a:pt x="260" y="1680"/>
                    </a:lnTo>
                    <a:lnTo>
                      <a:pt x="251" y="1676"/>
                    </a:lnTo>
                    <a:lnTo>
                      <a:pt x="244" y="1670"/>
                    </a:lnTo>
                    <a:lnTo>
                      <a:pt x="238" y="1664"/>
                    </a:lnTo>
                    <a:lnTo>
                      <a:pt x="234" y="1659"/>
                    </a:lnTo>
                    <a:lnTo>
                      <a:pt x="230" y="1652"/>
                    </a:lnTo>
                    <a:lnTo>
                      <a:pt x="229" y="1645"/>
                    </a:lnTo>
                    <a:lnTo>
                      <a:pt x="230" y="1639"/>
                    </a:lnTo>
                    <a:lnTo>
                      <a:pt x="231" y="1634"/>
                    </a:lnTo>
                    <a:lnTo>
                      <a:pt x="235" y="1631"/>
                    </a:lnTo>
                    <a:lnTo>
                      <a:pt x="239" y="1626"/>
                    </a:lnTo>
                    <a:lnTo>
                      <a:pt x="249" y="1618"/>
                    </a:lnTo>
                    <a:lnTo>
                      <a:pt x="260" y="1612"/>
                    </a:lnTo>
                    <a:lnTo>
                      <a:pt x="271" y="1604"/>
                    </a:lnTo>
                    <a:lnTo>
                      <a:pt x="282" y="1593"/>
                    </a:lnTo>
                    <a:lnTo>
                      <a:pt x="286" y="1589"/>
                    </a:lnTo>
                    <a:lnTo>
                      <a:pt x="289" y="1582"/>
                    </a:lnTo>
                    <a:lnTo>
                      <a:pt x="291" y="1575"/>
                    </a:lnTo>
                    <a:lnTo>
                      <a:pt x="292" y="1568"/>
                    </a:lnTo>
                    <a:lnTo>
                      <a:pt x="291" y="1553"/>
                    </a:lnTo>
                    <a:lnTo>
                      <a:pt x="290" y="1540"/>
                    </a:lnTo>
                    <a:lnTo>
                      <a:pt x="286" y="1528"/>
                    </a:lnTo>
                    <a:lnTo>
                      <a:pt x="282" y="1518"/>
                    </a:lnTo>
                    <a:lnTo>
                      <a:pt x="277" y="1507"/>
                    </a:lnTo>
                    <a:lnTo>
                      <a:pt x="271" y="1497"/>
                    </a:lnTo>
                    <a:lnTo>
                      <a:pt x="265" y="1488"/>
                    </a:lnTo>
                    <a:lnTo>
                      <a:pt x="257" y="1477"/>
                    </a:lnTo>
                    <a:lnTo>
                      <a:pt x="263" y="1435"/>
                    </a:lnTo>
                    <a:lnTo>
                      <a:pt x="281" y="1435"/>
                    </a:lnTo>
                    <a:lnTo>
                      <a:pt x="294" y="1435"/>
                    </a:lnTo>
                    <a:lnTo>
                      <a:pt x="306" y="1435"/>
                    </a:lnTo>
                    <a:lnTo>
                      <a:pt x="316" y="1435"/>
                    </a:lnTo>
                    <a:lnTo>
                      <a:pt x="324" y="1435"/>
                    </a:lnTo>
                    <a:lnTo>
                      <a:pt x="332" y="1435"/>
                    </a:lnTo>
                    <a:lnTo>
                      <a:pt x="340" y="1435"/>
                    </a:lnTo>
                    <a:lnTo>
                      <a:pt x="347" y="1435"/>
                    </a:lnTo>
                    <a:lnTo>
                      <a:pt x="353" y="1435"/>
                    </a:lnTo>
                    <a:lnTo>
                      <a:pt x="357" y="1434"/>
                    </a:lnTo>
                    <a:lnTo>
                      <a:pt x="361" y="1431"/>
                    </a:lnTo>
                    <a:lnTo>
                      <a:pt x="365" y="1428"/>
                    </a:lnTo>
                    <a:lnTo>
                      <a:pt x="372" y="1420"/>
                    </a:lnTo>
                    <a:lnTo>
                      <a:pt x="378" y="1411"/>
                    </a:lnTo>
                    <a:lnTo>
                      <a:pt x="384" y="1402"/>
                    </a:lnTo>
                    <a:lnTo>
                      <a:pt x="390" y="1395"/>
                    </a:lnTo>
                    <a:lnTo>
                      <a:pt x="393" y="1391"/>
                    </a:lnTo>
                    <a:lnTo>
                      <a:pt x="396" y="1389"/>
                    </a:lnTo>
                    <a:lnTo>
                      <a:pt x="400" y="1387"/>
                    </a:lnTo>
                    <a:lnTo>
                      <a:pt x="403" y="1387"/>
                    </a:lnTo>
                    <a:lnTo>
                      <a:pt x="415" y="1387"/>
                    </a:lnTo>
                    <a:lnTo>
                      <a:pt x="425" y="1389"/>
                    </a:lnTo>
                    <a:lnTo>
                      <a:pt x="435" y="1390"/>
                    </a:lnTo>
                    <a:lnTo>
                      <a:pt x="445" y="1394"/>
                    </a:lnTo>
                    <a:lnTo>
                      <a:pt x="463" y="1401"/>
                    </a:lnTo>
                    <a:lnTo>
                      <a:pt x="480" y="1410"/>
                    </a:lnTo>
                    <a:lnTo>
                      <a:pt x="497" y="1419"/>
                    </a:lnTo>
                    <a:lnTo>
                      <a:pt x="515" y="1428"/>
                    </a:lnTo>
                    <a:lnTo>
                      <a:pt x="525" y="1433"/>
                    </a:lnTo>
                    <a:lnTo>
                      <a:pt x="534" y="1436"/>
                    </a:lnTo>
                    <a:lnTo>
                      <a:pt x="545" y="1440"/>
                    </a:lnTo>
                    <a:lnTo>
                      <a:pt x="557" y="1443"/>
                    </a:lnTo>
                    <a:lnTo>
                      <a:pt x="555" y="1429"/>
                    </a:lnTo>
                    <a:lnTo>
                      <a:pt x="552" y="1417"/>
                    </a:lnTo>
                    <a:lnTo>
                      <a:pt x="550" y="1405"/>
                    </a:lnTo>
                    <a:lnTo>
                      <a:pt x="548" y="1395"/>
                    </a:lnTo>
                    <a:lnTo>
                      <a:pt x="541" y="1375"/>
                    </a:lnTo>
                    <a:lnTo>
                      <a:pt x="533" y="1359"/>
                    </a:lnTo>
                    <a:lnTo>
                      <a:pt x="524" y="1345"/>
                    </a:lnTo>
                    <a:lnTo>
                      <a:pt x="515" y="1332"/>
                    </a:lnTo>
                    <a:lnTo>
                      <a:pt x="504" y="1318"/>
                    </a:lnTo>
                    <a:lnTo>
                      <a:pt x="494" y="1303"/>
                    </a:lnTo>
                    <a:lnTo>
                      <a:pt x="498" y="1301"/>
                    </a:lnTo>
                    <a:lnTo>
                      <a:pt x="504" y="1300"/>
                    </a:lnTo>
                    <a:lnTo>
                      <a:pt x="510" y="1297"/>
                    </a:lnTo>
                    <a:lnTo>
                      <a:pt x="516" y="1297"/>
                    </a:lnTo>
                    <a:lnTo>
                      <a:pt x="521" y="1296"/>
                    </a:lnTo>
                    <a:lnTo>
                      <a:pt x="528" y="1296"/>
                    </a:lnTo>
                    <a:lnTo>
                      <a:pt x="535" y="1296"/>
                    </a:lnTo>
                    <a:lnTo>
                      <a:pt x="542" y="1296"/>
                    </a:lnTo>
                    <a:lnTo>
                      <a:pt x="551" y="1297"/>
                    </a:lnTo>
                    <a:lnTo>
                      <a:pt x="559" y="1300"/>
                    </a:lnTo>
                    <a:lnTo>
                      <a:pt x="566" y="1304"/>
                    </a:lnTo>
                    <a:lnTo>
                      <a:pt x="573" y="1310"/>
                    </a:lnTo>
                    <a:lnTo>
                      <a:pt x="584" y="1325"/>
                    </a:lnTo>
                    <a:lnTo>
                      <a:pt x="596" y="1341"/>
                    </a:lnTo>
                    <a:lnTo>
                      <a:pt x="602" y="1350"/>
                    </a:lnTo>
                    <a:lnTo>
                      <a:pt x="607" y="1358"/>
                    </a:lnTo>
                    <a:lnTo>
                      <a:pt x="613" y="1366"/>
                    </a:lnTo>
                    <a:lnTo>
                      <a:pt x="620" y="1373"/>
                    </a:lnTo>
                    <a:lnTo>
                      <a:pt x="627" y="1379"/>
                    </a:lnTo>
                    <a:lnTo>
                      <a:pt x="635" y="1383"/>
                    </a:lnTo>
                    <a:lnTo>
                      <a:pt x="644" y="1386"/>
                    </a:lnTo>
                    <a:lnTo>
                      <a:pt x="654" y="1387"/>
                    </a:lnTo>
                    <a:lnTo>
                      <a:pt x="668" y="1387"/>
                    </a:lnTo>
                    <a:lnTo>
                      <a:pt x="678" y="1387"/>
                    </a:lnTo>
                    <a:lnTo>
                      <a:pt x="686" y="1387"/>
                    </a:lnTo>
                    <a:lnTo>
                      <a:pt x="692" y="1387"/>
                    </a:lnTo>
                    <a:lnTo>
                      <a:pt x="697" y="1387"/>
                    </a:lnTo>
                    <a:lnTo>
                      <a:pt x="701" y="1387"/>
                    </a:lnTo>
                    <a:lnTo>
                      <a:pt x="705" y="1387"/>
                    </a:lnTo>
                    <a:lnTo>
                      <a:pt x="709" y="1387"/>
                    </a:lnTo>
                    <a:lnTo>
                      <a:pt x="721" y="1388"/>
                    </a:lnTo>
                    <a:lnTo>
                      <a:pt x="732" y="1391"/>
                    </a:lnTo>
                    <a:lnTo>
                      <a:pt x="743" y="1396"/>
                    </a:lnTo>
                    <a:lnTo>
                      <a:pt x="753" y="1403"/>
                    </a:lnTo>
                    <a:lnTo>
                      <a:pt x="772" y="1420"/>
                    </a:lnTo>
                    <a:lnTo>
                      <a:pt x="793" y="1441"/>
                    </a:lnTo>
                    <a:lnTo>
                      <a:pt x="803" y="1451"/>
                    </a:lnTo>
                    <a:lnTo>
                      <a:pt x="815" y="1461"/>
                    </a:lnTo>
                    <a:lnTo>
                      <a:pt x="826" y="1472"/>
                    </a:lnTo>
                    <a:lnTo>
                      <a:pt x="839" y="1481"/>
                    </a:lnTo>
                    <a:lnTo>
                      <a:pt x="852" y="1489"/>
                    </a:lnTo>
                    <a:lnTo>
                      <a:pt x="866" y="1496"/>
                    </a:lnTo>
                    <a:lnTo>
                      <a:pt x="881" y="1501"/>
                    </a:lnTo>
                    <a:lnTo>
                      <a:pt x="897" y="1505"/>
                    </a:lnTo>
                    <a:lnTo>
                      <a:pt x="900" y="1488"/>
                    </a:lnTo>
                    <a:lnTo>
                      <a:pt x="902" y="1472"/>
                    </a:lnTo>
                    <a:lnTo>
                      <a:pt x="903" y="1458"/>
                    </a:lnTo>
                    <a:lnTo>
                      <a:pt x="904" y="1444"/>
                    </a:lnTo>
                    <a:lnTo>
                      <a:pt x="905" y="1431"/>
                    </a:lnTo>
                    <a:lnTo>
                      <a:pt x="908" y="1419"/>
                    </a:lnTo>
                    <a:lnTo>
                      <a:pt x="909" y="1406"/>
                    </a:lnTo>
                    <a:lnTo>
                      <a:pt x="911" y="1394"/>
                    </a:lnTo>
                    <a:lnTo>
                      <a:pt x="924" y="1402"/>
                    </a:lnTo>
                    <a:lnTo>
                      <a:pt x="934" y="1409"/>
                    </a:lnTo>
                    <a:lnTo>
                      <a:pt x="944" y="1417"/>
                    </a:lnTo>
                    <a:lnTo>
                      <a:pt x="954" y="1422"/>
                    </a:lnTo>
                    <a:lnTo>
                      <a:pt x="963" y="1428"/>
                    </a:lnTo>
                    <a:lnTo>
                      <a:pt x="972" y="1431"/>
                    </a:lnTo>
                    <a:lnTo>
                      <a:pt x="982" y="1435"/>
                    </a:lnTo>
                    <a:lnTo>
                      <a:pt x="995" y="1435"/>
                    </a:lnTo>
                    <a:lnTo>
                      <a:pt x="1018" y="1435"/>
                    </a:lnTo>
                    <a:lnTo>
                      <a:pt x="1041" y="1431"/>
                    </a:lnTo>
                    <a:lnTo>
                      <a:pt x="1063" y="1427"/>
                    </a:lnTo>
                    <a:lnTo>
                      <a:pt x="1083" y="1420"/>
                    </a:lnTo>
                    <a:lnTo>
                      <a:pt x="1105" y="1413"/>
                    </a:lnTo>
                    <a:lnTo>
                      <a:pt x="1126" y="1404"/>
                    </a:lnTo>
                    <a:lnTo>
                      <a:pt x="1146" y="1395"/>
                    </a:lnTo>
                    <a:lnTo>
                      <a:pt x="1167" y="1386"/>
                    </a:lnTo>
                    <a:lnTo>
                      <a:pt x="1208" y="1367"/>
                    </a:lnTo>
                    <a:lnTo>
                      <a:pt x="1251" y="1350"/>
                    </a:lnTo>
                    <a:lnTo>
                      <a:pt x="1272" y="1343"/>
                    </a:lnTo>
                    <a:lnTo>
                      <a:pt x="1295" y="1337"/>
                    </a:lnTo>
                    <a:lnTo>
                      <a:pt x="1318" y="1333"/>
                    </a:lnTo>
                    <a:lnTo>
                      <a:pt x="1343" y="1331"/>
                    </a:lnTo>
                    <a:lnTo>
                      <a:pt x="1345" y="1341"/>
                    </a:lnTo>
                    <a:lnTo>
                      <a:pt x="1347" y="1350"/>
                    </a:lnTo>
                    <a:lnTo>
                      <a:pt x="1350" y="1359"/>
                    </a:lnTo>
                    <a:lnTo>
                      <a:pt x="1356" y="1366"/>
                    </a:lnTo>
                    <a:lnTo>
                      <a:pt x="1363" y="1372"/>
                    </a:lnTo>
                    <a:lnTo>
                      <a:pt x="1370" y="1376"/>
                    </a:lnTo>
                    <a:lnTo>
                      <a:pt x="1377" y="1379"/>
                    </a:lnTo>
                    <a:lnTo>
                      <a:pt x="1385" y="1380"/>
                    </a:lnTo>
                    <a:lnTo>
                      <a:pt x="1388" y="1379"/>
                    </a:lnTo>
                    <a:lnTo>
                      <a:pt x="1393" y="1378"/>
                    </a:lnTo>
                    <a:lnTo>
                      <a:pt x="1397" y="1375"/>
                    </a:lnTo>
                    <a:lnTo>
                      <a:pt x="1402" y="1372"/>
                    </a:lnTo>
                    <a:lnTo>
                      <a:pt x="1413" y="1364"/>
                    </a:lnTo>
                    <a:lnTo>
                      <a:pt x="1426" y="1352"/>
                    </a:lnTo>
                    <a:lnTo>
                      <a:pt x="1439" y="1339"/>
                    </a:lnTo>
                    <a:lnTo>
                      <a:pt x="1454" y="1323"/>
                    </a:lnTo>
                    <a:lnTo>
                      <a:pt x="1467" y="1305"/>
                    </a:lnTo>
                    <a:lnTo>
                      <a:pt x="1481" y="1287"/>
                    </a:lnTo>
                    <a:lnTo>
                      <a:pt x="1495" y="1269"/>
                    </a:lnTo>
                    <a:lnTo>
                      <a:pt x="1509" y="1250"/>
                    </a:lnTo>
                    <a:lnTo>
                      <a:pt x="1520" y="1232"/>
                    </a:lnTo>
                    <a:lnTo>
                      <a:pt x="1530" y="1215"/>
                    </a:lnTo>
                    <a:lnTo>
                      <a:pt x="1540" y="1200"/>
                    </a:lnTo>
                    <a:lnTo>
                      <a:pt x="1546" y="1185"/>
                    </a:lnTo>
                    <a:lnTo>
                      <a:pt x="1551" y="1173"/>
                    </a:lnTo>
                    <a:lnTo>
                      <a:pt x="1552" y="1164"/>
                    </a:lnTo>
                    <a:lnTo>
                      <a:pt x="1551" y="1153"/>
                    </a:lnTo>
                    <a:lnTo>
                      <a:pt x="1550" y="1144"/>
                    </a:lnTo>
                    <a:lnTo>
                      <a:pt x="1546" y="1134"/>
                    </a:lnTo>
                    <a:lnTo>
                      <a:pt x="1543" y="1126"/>
                    </a:lnTo>
                    <a:lnTo>
                      <a:pt x="1537" y="1120"/>
                    </a:lnTo>
                    <a:lnTo>
                      <a:pt x="1531" y="1113"/>
                    </a:lnTo>
                    <a:lnTo>
                      <a:pt x="1525" y="1107"/>
                    </a:lnTo>
                    <a:lnTo>
                      <a:pt x="1518" y="1101"/>
                    </a:lnTo>
                    <a:lnTo>
                      <a:pt x="1501" y="1092"/>
                    </a:lnTo>
                    <a:lnTo>
                      <a:pt x="1482" y="1084"/>
                    </a:lnTo>
                    <a:lnTo>
                      <a:pt x="1462" y="1077"/>
                    </a:lnTo>
                    <a:lnTo>
                      <a:pt x="1442" y="1070"/>
                    </a:lnTo>
                    <a:lnTo>
                      <a:pt x="1421" y="1064"/>
                    </a:lnTo>
                    <a:lnTo>
                      <a:pt x="1402" y="1058"/>
                    </a:lnTo>
                    <a:lnTo>
                      <a:pt x="1384" y="1051"/>
                    </a:lnTo>
                    <a:lnTo>
                      <a:pt x="1368" y="1042"/>
                    </a:lnTo>
                    <a:lnTo>
                      <a:pt x="1360" y="1036"/>
                    </a:lnTo>
                    <a:lnTo>
                      <a:pt x="1354" y="1031"/>
                    </a:lnTo>
                    <a:lnTo>
                      <a:pt x="1348" y="1024"/>
                    </a:lnTo>
                    <a:lnTo>
                      <a:pt x="1343" y="1017"/>
                    </a:lnTo>
                    <a:lnTo>
                      <a:pt x="1340" y="1011"/>
                    </a:lnTo>
                    <a:lnTo>
                      <a:pt x="1338" y="1001"/>
                    </a:lnTo>
                    <a:lnTo>
                      <a:pt x="1337" y="992"/>
                    </a:lnTo>
                    <a:lnTo>
                      <a:pt x="1337" y="983"/>
                    </a:lnTo>
                    <a:lnTo>
                      <a:pt x="1338" y="976"/>
                    </a:lnTo>
                    <a:lnTo>
                      <a:pt x="1341" y="970"/>
                    </a:lnTo>
                    <a:lnTo>
                      <a:pt x="1346" y="966"/>
                    </a:lnTo>
                    <a:lnTo>
                      <a:pt x="1353" y="961"/>
                    </a:lnTo>
                    <a:lnTo>
                      <a:pt x="1369" y="953"/>
                    </a:lnTo>
                    <a:lnTo>
                      <a:pt x="1388" y="948"/>
                    </a:lnTo>
                    <a:lnTo>
                      <a:pt x="1408" y="942"/>
                    </a:lnTo>
                    <a:lnTo>
                      <a:pt x="1425" y="937"/>
                    </a:lnTo>
                    <a:lnTo>
                      <a:pt x="1431" y="935"/>
                    </a:lnTo>
                    <a:lnTo>
                      <a:pt x="1436" y="931"/>
                    </a:lnTo>
                    <a:lnTo>
                      <a:pt x="1440" y="929"/>
                    </a:lnTo>
                    <a:lnTo>
                      <a:pt x="1441" y="927"/>
                    </a:lnTo>
                    <a:lnTo>
                      <a:pt x="1444" y="919"/>
                    </a:lnTo>
                    <a:lnTo>
                      <a:pt x="1447" y="911"/>
                    </a:lnTo>
                    <a:lnTo>
                      <a:pt x="1447" y="902"/>
                    </a:lnTo>
                    <a:lnTo>
                      <a:pt x="1447" y="892"/>
                    </a:lnTo>
                    <a:lnTo>
                      <a:pt x="1445" y="883"/>
                    </a:lnTo>
                    <a:lnTo>
                      <a:pt x="1445" y="874"/>
                    </a:lnTo>
                    <a:lnTo>
                      <a:pt x="1445" y="866"/>
                    </a:lnTo>
                    <a:lnTo>
                      <a:pt x="1448" y="857"/>
                    </a:lnTo>
                    <a:lnTo>
                      <a:pt x="1450" y="853"/>
                    </a:lnTo>
                    <a:lnTo>
                      <a:pt x="1452" y="850"/>
                    </a:lnTo>
                    <a:lnTo>
                      <a:pt x="1456" y="848"/>
                    </a:lnTo>
                    <a:lnTo>
                      <a:pt x="1459" y="845"/>
                    </a:lnTo>
                    <a:lnTo>
                      <a:pt x="1467" y="841"/>
                    </a:lnTo>
                    <a:lnTo>
                      <a:pt x="1478" y="839"/>
                    </a:lnTo>
                    <a:lnTo>
                      <a:pt x="1488" y="837"/>
                    </a:lnTo>
                    <a:lnTo>
                      <a:pt x="1499" y="836"/>
                    </a:lnTo>
                    <a:lnTo>
                      <a:pt x="1511" y="836"/>
                    </a:lnTo>
                    <a:lnTo>
                      <a:pt x="1523" y="836"/>
                    </a:lnTo>
                    <a:lnTo>
                      <a:pt x="1546" y="839"/>
                    </a:lnTo>
                    <a:lnTo>
                      <a:pt x="1568" y="840"/>
                    </a:lnTo>
                    <a:lnTo>
                      <a:pt x="1577" y="840"/>
                    </a:lnTo>
                    <a:lnTo>
                      <a:pt x="1584" y="840"/>
                    </a:lnTo>
                    <a:lnTo>
                      <a:pt x="1590" y="839"/>
                    </a:lnTo>
                    <a:lnTo>
                      <a:pt x="1593" y="836"/>
                    </a:lnTo>
                    <a:lnTo>
                      <a:pt x="1606" y="829"/>
                    </a:lnTo>
                    <a:lnTo>
                      <a:pt x="1615" y="823"/>
                    </a:lnTo>
                    <a:lnTo>
                      <a:pt x="1622" y="813"/>
                    </a:lnTo>
                    <a:lnTo>
                      <a:pt x="1628" y="805"/>
                    </a:lnTo>
                    <a:lnTo>
                      <a:pt x="1632" y="796"/>
                    </a:lnTo>
                    <a:lnTo>
                      <a:pt x="1636" y="787"/>
                    </a:lnTo>
                    <a:lnTo>
                      <a:pt x="1638" y="778"/>
                    </a:lnTo>
                    <a:lnTo>
                      <a:pt x="1639" y="767"/>
                    </a:lnTo>
                    <a:lnTo>
                      <a:pt x="1642" y="749"/>
                    </a:lnTo>
                    <a:lnTo>
                      <a:pt x="1645" y="732"/>
                    </a:lnTo>
                    <a:lnTo>
                      <a:pt x="1647" y="724"/>
                    </a:lnTo>
                    <a:lnTo>
                      <a:pt x="1652" y="717"/>
                    </a:lnTo>
                    <a:lnTo>
                      <a:pt x="1656" y="710"/>
                    </a:lnTo>
                    <a:lnTo>
                      <a:pt x="1663" y="704"/>
                    </a:lnTo>
                    <a:lnTo>
                      <a:pt x="1669" y="702"/>
                    </a:lnTo>
                    <a:lnTo>
                      <a:pt x="1674" y="701"/>
                    </a:lnTo>
                    <a:lnTo>
                      <a:pt x="1679" y="701"/>
                    </a:lnTo>
                    <a:lnTo>
                      <a:pt x="1684" y="701"/>
                    </a:lnTo>
                    <a:lnTo>
                      <a:pt x="1694" y="704"/>
                    </a:lnTo>
                    <a:lnTo>
                      <a:pt x="1705" y="709"/>
                    </a:lnTo>
                    <a:lnTo>
                      <a:pt x="1714" y="714"/>
                    </a:lnTo>
                    <a:lnTo>
                      <a:pt x="1723" y="717"/>
                    </a:lnTo>
                    <a:lnTo>
                      <a:pt x="1728" y="718"/>
                    </a:lnTo>
                    <a:lnTo>
                      <a:pt x="1732" y="719"/>
                    </a:lnTo>
                    <a:lnTo>
                      <a:pt x="1736" y="719"/>
                    </a:lnTo>
                    <a:lnTo>
                      <a:pt x="1740" y="718"/>
                    </a:lnTo>
                    <a:lnTo>
                      <a:pt x="1749" y="716"/>
                    </a:lnTo>
                    <a:lnTo>
                      <a:pt x="1758" y="714"/>
                    </a:lnTo>
                    <a:lnTo>
                      <a:pt x="1765" y="709"/>
                    </a:lnTo>
                    <a:lnTo>
                      <a:pt x="1771" y="703"/>
                    </a:lnTo>
                    <a:lnTo>
                      <a:pt x="1776" y="697"/>
                    </a:lnTo>
                    <a:lnTo>
                      <a:pt x="1780" y="691"/>
                    </a:lnTo>
                    <a:lnTo>
                      <a:pt x="1784" y="683"/>
                    </a:lnTo>
                    <a:lnTo>
                      <a:pt x="1786" y="675"/>
                    </a:lnTo>
                    <a:lnTo>
                      <a:pt x="1789" y="657"/>
                    </a:lnTo>
                    <a:lnTo>
                      <a:pt x="1792" y="638"/>
                    </a:lnTo>
                    <a:lnTo>
                      <a:pt x="1794" y="618"/>
                    </a:lnTo>
                    <a:lnTo>
                      <a:pt x="1795" y="600"/>
                    </a:lnTo>
                    <a:lnTo>
                      <a:pt x="1819" y="599"/>
                    </a:lnTo>
                    <a:lnTo>
                      <a:pt x="1838" y="599"/>
                    </a:lnTo>
                    <a:lnTo>
                      <a:pt x="1853" y="597"/>
                    </a:lnTo>
                    <a:lnTo>
                      <a:pt x="1864" y="593"/>
                    </a:lnTo>
                    <a:lnTo>
                      <a:pt x="1875" y="590"/>
                    </a:lnTo>
                    <a:lnTo>
                      <a:pt x="1885" y="585"/>
                    </a:lnTo>
                    <a:lnTo>
                      <a:pt x="1895" y="579"/>
                    </a:lnTo>
                    <a:lnTo>
                      <a:pt x="1908" y="571"/>
                    </a:lnTo>
                    <a:lnTo>
                      <a:pt x="1916" y="570"/>
                    </a:lnTo>
                    <a:lnTo>
                      <a:pt x="1924" y="568"/>
                    </a:lnTo>
                    <a:lnTo>
                      <a:pt x="1932" y="564"/>
                    </a:lnTo>
                    <a:lnTo>
                      <a:pt x="1939" y="561"/>
                    </a:lnTo>
                    <a:lnTo>
                      <a:pt x="1950" y="553"/>
                    </a:lnTo>
                    <a:lnTo>
                      <a:pt x="1960" y="544"/>
                    </a:lnTo>
                    <a:lnTo>
                      <a:pt x="1969" y="535"/>
                    </a:lnTo>
                    <a:lnTo>
                      <a:pt x="1979" y="527"/>
                    </a:lnTo>
                    <a:lnTo>
                      <a:pt x="1983" y="523"/>
                    </a:lnTo>
                    <a:lnTo>
                      <a:pt x="1988" y="520"/>
                    </a:lnTo>
                    <a:lnTo>
                      <a:pt x="1992" y="517"/>
                    </a:lnTo>
                    <a:lnTo>
                      <a:pt x="1998" y="516"/>
                    </a:lnTo>
                    <a:lnTo>
                      <a:pt x="2011" y="513"/>
                    </a:lnTo>
                    <a:lnTo>
                      <a:pt x="2023" y="511"/>
                    </a:lnTo>
                    <a:lnTo>
                      <a:pt x="2036" y="509"/>
                    </a:lnTo>
                    <a:lnTo>
                      <a:pt x="2047" y="508"/>
                    </a:lnTo>
                    <a:lnTo>
                      <a:pt x="2072" y="509"/>
                    </a:lnTo>
                    <a:lnTo>
                      <a:pt x="2096" y="512"/>
                    </a:lnTo>
                    <a:lnTo>
                      <a:pt x="2119" y="515"/>
                    </a:lnTo>
                    <a:lnTo>
                      <a:pt x="2143" y="519"/>
                    </a:lnTo>
                    <a:lnTo>
                      <a:pt x="2167" y="522"/>
                    </a:lnTo>
                    <a:lnTo>
                      <a:pt x="2193" y="523"/>
                    </a:lnTo>
                    <a:lnTo>
                      <a:pt x="2207" y="523"/>
                    </a:lnTo>
                    <a:lnTo>
                      <a:pt x="2221" y="523"/>
                    </a:lnTo>
                    <a:lnTo>
                      <a:pt x="2233" y="521"/>
                    </a:lnTo>
                    <a:lnTo>
                      <a:pt x="2246" y="519"/>
                    </a:lnTo>
                    <a:lnTo>
                      <a:pt x="2258" y="515"/>
                    </a:lnTo>
                    <a:lnTo>
                      <a:pt x="2271" y="512"/>
                    </a:lnTo>
                    <a:lnTo>
                      <a:pt x="2282" y="507"/>
                    </a:lnTo>
                    <a:lnTo>
                      <a:pt x="2294" y="503"/>
                    </a:lnTo>
                    <a:lnTo>
                      <a:pt x="2315" y="491"/>
                    </a:lnTo>
                    <a:lnTo>
                      <a:pt x="2335" y="477"/>
                    </a:lnTo>
                    <a:lnTo>
                      <a:pt x="2355" y="464"/>
                    </a:lnTo>
                    <a:lnTo>
                      <a:pt x="2373" y="447"/>
                    </a:lnTo>
                    <a:lnTo>
                      <a:pt x="2407" y="414"/>
                    </a:lnTo>
                    <a:lnTo>
                      <a:pt x="2441" y="383"/>
                    </a:lnTo>
                    <a:lnTo>
                      <a:pt x="2457" y="368"/>
                    </a:lnTo>
                    <a:lnTo>
                      <a:pt x="2473" y="356"/>
                    </a:lnTo>
                    <a:lnTo>
                      <a:pt x="2489" y="344"/>
                    </a:lnTo>
                    <a:lnTo>
                      <a:pt x="2506" y="335"/>
                    </a:lnTo>
                    <a:lnTo>
                      <a:pt x="2520" y="327"/>
                    </a:lnTo>
                    <a:lnTo>
                      <a:pt x="2535" y="320"/>
                    </a:lnTo>
                    <a:lnTo>
                      <a:pt x="2550" y="313"/>
                    </a:lnTo>
                    <a:lnTo>
                      <a:pt x="2566" y="308"/>
                    </a:lnTo>
                    <a:lnTo>
                      <a:pt x="2598" y="294"/>
                    </a:lnTo>
                    <a:lnTo>
                      <a:pt x="2630" y="279"/>
                    </a:lnTo>
                    <a:lnTo>
                      <a:pt x="2644" y="271"/>
                    </a:lnTo>
                    <a:lnTo>
                      <a:pt x="2657" y="262"/>
                    </a:lnTo>
                    <a:lnTo>
                      <a:pt x="2670" y="253"/>
                    </a:lnTo>
                    <a:lnTo>
                      <a:pt x="2680" y="241"/>
                    </a:lnTo>
                    <a:lnTo>
                      <a:pt x="2685" y="235"/>
                    </a:lnTo>
                    <a:lnTo>
                      <a:pt x="2688" y="228"/>
                    </a:lnTo>
                    <a:lnTo>
                      <a:pt x="2693" y="222"/>
                    </a:lnTo>
                    <a:lnTo>
                      <a:pt x="2695" y="215"/>
                    </a:lnTo>
                    <a:lnTo>
                      <a:pt x="2698" y="207"/>
                    </a:lnTo>
                    <a:lnTo>
                      <a:pt x="2700" y="200"/>
                    </a:lnTo>
                    <a:lnTo>
                      <a:pt x="2701" y="191"/>
                    </a:lnTo>
                    <a:lnTo>
                      <a:pt x="2701" y="181"/>
                    </a:lnTo>
                    <a:lnTo>
                      <a:pt x="2701" y="172"/>
                    </a:lnTo>
                    <a:lnTo>
                      <a:pt x="2701" y="163"/>
                    </a:lnTo>
                    <a:lnTo>
                      <a:pt x="2701" y="155"/>
                    </a:lnTo>
                    <a:lnTo>
                      <a:pt x="2701" y="147"/>
                    </a:lnTo>
                    <a:lnTo>
                      <a:pt x="2701" y="139"/>
                    </a:lnTo>
                    <a:lnTo>
                      <a:pt x="2701" y="131"/>
                    </a:lnTo>
                    <a:lnTo>
                      <a:pt x="2701" y="122"/>
                    </a:lnTo>
                    <a:lnTo>
                      <a:pt x="2701" y="113"/>
                    </a:lnTo>
                    <a:lnTo>
                      <a:pt x="2701" y="103"/>
                    </a:lnTo>
                    <a:lnTo>
                      <a:pt x="2702" y="93"/>
                    </a:lnTo>
                    <a:lnTo>
                      <a:pt x="2704" y="83"/>
                    </a:lnTo>
                    <a:lnTo>
                      <a:pt x="2707" y="72"/>
                    </a:lnTo>
                    <a:lnTo>
                      <a:pt x="2711" y="63"/>
                    </a:lnTo>
                    <a:lnTo>
                      <a:pt x="2716" y="56"/>
                    </a:lnTo>
                    <a:lnTo>
                      <a:pt x="2718" y="53"/>
                    </a:lnTo>
                    <a:lnTo>
                      <a:pt x="2722" y="52"/>
                    </a:lnTo>
                    <a:lnTo>
                      <a:pt x="2725" y="50"/>
                    </a:lnTo>
                    <a:lnTo>
                      <a:pt x="2728" y="50"/>
                    </a:lnTo>
                    <a:lnTo>
                      <a:pt x="2741" y="51"/>
                    </a:lnTo>
                    <a:lnTo>
                      <a:pt x="2753" y="52"/>
                    </a:lnTo>
                    <a:lnTo>
                      <a:pt x="2763" y="54"/>
                    </a:lnTo>
                    <a:lnTo>
                      <a:pt x="2773" y="58"/>
                    </a:lnTo>
                    <a:lnTo>
                      <a:pt x="2781" y="60"/>
                    </a:lnTo>
                    <a:lnTo>
                      <a:pt x="2789" y="64"/>
                    </a:lnTo>
                    <a:lnTo>
                      <a:pt x="2796" y="68"/>
                    </a:lnTo>
                    <a:lnTo>
                      <a:pt x="2802" y="72"/>
                    </a:lnTo>
                    <a:lnTo>
                      <a:pt x="2808" y="78"/>
                    </a:lnTo>
                    <a:lnTo>
                      <a:pt x="2813" y="84"/>
                    </a:lnTo>
                    <a:lnTo>
                      <a:pt x="2817" y="90"/>
                    </a:lnTo>
                    <a:lnTo>
                      <a:pt x="2821" y="95"/>
                    </a:lnTo>
                    <a:lnTo>
                      <a:pt x="2827" y="108"/>
                    </a:lnTo>
                    <a:lnTo>
                      <a:pt x="2833" y="122"/>
                    </a:lnTo>
                    <a:lnTo>
                      <a:pt x="2840" y="150"/>
                    </a:lnTo>
                    <a:lnTo>
                      <a:pt x="2845" y="180"/>
                    </a:lnTo>
                    <a:lnTo>
                      <a:pt x="2849" y="194"/>
                    </a:lnTo>
                    <a:lnTo>
                      <a:pt x="2853" y="207"/>
                    </a:lnTo>
                    <a:lnTo>
                      <a:pt x="2860" y="219"/>
                    </a:lnTo>
                    <a:lnTo>
                      <a:pt x="2868" y="231"/>
                    </a:lnTo>
                    <a:lnTo>
                      <a:pt x="2882" y="244"/>
                    </a:lnTo>
                    <a:lnTo>
                      <a:pt x="2897" y="255"/>
                    </a:lnTo>
                    <a:lnTo>
                      <a:pt x="2913" y="265"/>
                    </a:lnTo>
                    <a:lnTo>
                      <a:pt x="2928" y="273"/>
                    </a:lnTo>
                    <a:lnTo>
                      <a:pt x="2944" y="280"/>
                    </a:lnTo>
                    <a:lnTo>
                      <a:pt x="2960" y="285"/>
                    </a:lnTo>
                    <a:lnTo>
                      <a:pt x="2976" y="289"/>
                    </a:lnTo>
                    <a:lnTo>
                      <a:pt x="2992" y="293"/>
                    </a:lnTo>
                    <a:lnTo>
                      <a:pt x="3027" y="297"/>
                    </a:lnTo>
                    <a:lnTo>
                      <a:pt x="3061" y="301"/>
                    </a:lnTo>
                    <a:lnTo>
                      <a:pt x="3096" y="303"/>
                    </a:lnTo>
                    <a:lnTo>
                      <a:pt x="3132" y="308"/>
                    </a:lnTo>
                    <a:lnTo>
                      <a:pt x="3142" y="310"/>
                    </a:lnTo>
                    <a:lnTo>
                      <a:pt x="3152" y="313"/>
                    </a:lnTo>
                    <a:lnTo>
                      <a:pt x="3160" y="318"/>
                    </a:lnTo>
                    <a:lnTo>
                      <a:pt x="3168" y="324"/>
                    </a:lnTo>
                    <a:lnTo>
                      <a:pt x="3174" y="330"/>
                    </a:lnTo>
                    <a:lnTo>
                      <a:pt x="3180" y="337"/>
                    </a:lnTo>
                    <a:lnTo>
                      <a:pt x="3186" y="345"/>
                    </a:lnTo>
                    <a:lnTo>
                      <a:pt x="3192" y="355"/>
                    </a:lnTo>
                    <a:lnTo>
                      <a:pt x="3202" y="372"/>
                    </a:lnTo>
                    <a:lnTo>
                      <a:pt x="3211" y="388"/>
                    </a:lnTo>
                    <a:lnTo>
                      <a:pt x="3216" y="395"/>
                    </a:lnTo>
                    <a:lnTo>
                      <a:pt x="3220" y="402"/>
                    </a:lnTo>
                    <a:lnTo>
                      <a:pt x="3225" y="407"/>
                    </a:lnTo>
                    <a:lnTo>
                      <a:pt x="3231" y="412"/>
                    </a:lnTo>
                    <a:lnTo>
                      <a:pt x="3231" y="467"/>
                    </a:lnTo>
                    <a:lnTo>
                      <a:pt x="3220" y="468"/>
                    </a:lnTo>
                    <a:lnTo>
                      <a:pt x="3211" y="468"/>
                    </a:lnTo>
                    <a:lnTo>
                      <a:pt x="3203" y="469"/>
                    </a:lnTo>
                    <a:lnTo>
                      <a:pt x="3196" y="470"/>
                    </a:lnTo>
                    <a:lnTo>
                      <a:pt x="3189" y="473"/>
                    </a:lnTo>
                    <a:lnTo>
                      <a:pt x="3182" y="473"/>
                    </a:lnTo>
                    <a:lnTo>
                      <a:pt x="3174" y="474"/>
                    </a:lnTo>
                    <a:lnTo>
                      <a:pt x="3168" y="474"/>
                    </a:lnTo>
                    <a:lnTo>
                      <a:pt x="3171" y="486"/>
                    </a:lnTo>
                    <a:lnTo>
                      <a:pt x="3176" y="498"/>
                    </a:lnTo>
                    <a:lnTo>
                      <a:pt x="3181" y="508"/>
                    </a:lnTo>
                    <a:lnTo>
                      <a:pt x="3187" y="519"/>
                    </a:lnTo>
                    <a:lnTo>
                      <a:pt x="3192" y="529"/>
                    </a:lnTo>
                    <a:lnTo>
                      <a:pt x="3195" y="538"/>
                    </a:lnTo>
                    <a:lnTo>
                      <a:pt x="3196" y="543"/>
                    </a:lnTo>
                    <a:lnTo>
                      <a:pt x="3196" y="547"/>
                    </a:lnTo>
                    <a:lnTo>
                      <a:pt x="3196" y="553"/>
                    </a:lnTo>
                    <a:lnTo>
                      <a:pt x="3195" y="558"/>
                    </a:lnTo>
                    <a:lnTo>
                      <a:pt x="3195" y="568"/>
                    </a:lnTo>
                    <a:lnTo>
                      <a:pt x="3193" y="577"/>
                    </a:lnTo>
                    <a:lnTo>
                      <a:pt x="3191" y="586"/>
                    </a:lnTo>
                    <a:lnTo>
                      <a:pt x="3187" y="595"/>
                    </a:lnTo>
                    <a:lnTo>
                      <a:pt x="3178" y="611"/>
                    </a:lnTo>
                    <a:lnTo>
                      <a:pt x="3168" y="626"/>
                    </a:lnTo>
                    <a:lnTo>
                      <a:pt x="3157" y="641"/>
                    </a:lnTo>
                    <a:lnTo>
                      <a:pt x="3148" y="657"/>
                    </a:lnTo>
                    <a:lnTo>
                      <a:pt x="3145" y="664"/>
                    </a:lnTo>
                    <a:lnTo>
                      <a:pt x="3142" y="673"/>
                    </a:lnTo>
                    <a:lnTo>
                      <a:pt x="3140" y="681"/>
                    </a:lnTo>
                    <a:lnTo>
                      <a:pt x="3140" y="691"/>
                    </a:lnTo>
                    <a:lnTo>
                      <a:pt x="3140" y="697"/>
                    </a:lnTo>
                    <a:lnTo>
                      <a:pt x="3141" y="703"/>
                    </a:lnTo>
                    <a:lnTo>
                      <a:pt x="3142" y="710"/>
                    </a:lnTo>
                    <a:lnTo>
                      <a:pt x="3145" y="716"/>
                    </a:lnTo>
                    <a:lnTo>
                      <a:pt x="3147" y="720"/>
                    </a:lnTo>
                    <a:lnTo>
                      <a:pt x="3150" y="725"/>
                    </a:lnTo>
                    <a:lnTo>
                      <a:pt x="3154" y="730"/>
                    </a:lnTo>
                    <a:lnTo>
                      <a:pt x="3157" y="734"/>
                    </a:lnTo>
                    <a:lnTo>
                      <a:pt x="3166" y="741"/>
                    </a:lnTo>
                    <a:lnTo>
                      <a:pt x="3177" y="747"/>
                    </a:lnTo>
                    <a:lnTo>
                      <a:pt x="3188" y="753"/>
                    </a:lnTo>
                    <a:lnTo>
                      <a:pt x="3201" y="756"/>
                    </a:lnTo>
                    <a:lnTo>
                      <a:pt x="3226" y="763"/>
                    </a:lnTo>
                    <a:lnTo>
                      <a:pt x="3251" y="769"/>
                    </a:lnTo>
                    <a:lnTo>
                      <a:pt x="3263" y="771"/>
                    </a:lnTo>
                    <a:lnTo>
                      <a:pt x="3274" y="774"/>
                    </a:lnTo>
                    <a:lnTo>
                      <a:pt x="3285" y="778"/>
                    </a:lnTo>
                    <a:lnTo>
                      <a:pt x="3293" y="781"/>
                    </a:lnTo>
                    <a:lnTo>
                      <a:pt x="3288" y="801"/>
                    </a:lnTo>
                    <a:lnTo>
                      <a:pt x="3286" y="820"/>
                    </a:lnTo>
                    <a:lnTo>
                      <a:pt x="3283" y="839"/>
                    </a:lnTo>
                    <a:lnTo>
                      <a:pt x="3281" y="855"/>
                    </a:lnTo>
                    <a:lnTo>
                      <a:pt x="3278" y="871"/>
                    </a:lnTo>
                    <a:lnTo>
                      <a:pt x="3273" y="886"/>
                    </a:lnTo>
                    <a:lnTo>
                      <a:pt x="3271" y="892"/>
                    </a:lnTo>
                    <a:lnTo>
                      <a:pt x="3267" y="899"/>
                    </a:lnTo>
                    <a:lnTo>
                      <a:pt x="3263" y="906"/>
                    </a:lnTo>
                    <a:lnTo>
                      <a:pt x="3258" y="913"/>
                    </a:lnTo>
                    <a:lnTo>
                      <a:pt x="3255" y="918"/>
                    </a:lnTo>
                    <a:lnTo>
                      <a:pt x="3250" y="921"/>
                    </a:lnTo>
                    <a:lnTo>
                      <a:pt x="3247" y="923"/>
                    </a:lnTo>
                    <a:lnTo>
                      <a:pt x="3242" y="927"/>
                    </a:lnTo>
                    <a:lnTo>
                      <a:pt x="3233" y="930"/>
                    </a:lnTo>
                    <a:lnTo>
                      <a:pt x="3223" y="933"/>
                    </a:lnTo>
                    <a:lnTo>
                      <a:pt x="3201" y="934"/>
                    </a:lnTo>
                    <a:lnTo>
                      <a:pt x="3179" y="936"/>
                    </a:lnTo>
                    <a:lnTo>
                      <a:pt x="3169" y="937"/>
                    </a:lnTo>
                    <a:lnTo>
                      <a:pt x="3158" y="941"/>
                    </a:lnTo>
                    <a:lnTo>
                      <a:pt x="3154" y="943"/>
                    </a:lnTo>
                    <a:lnTo>
                      <a:pt x="3149" y="945"/>
                    </a:lnTo>
                    <a:lnTo>
                      <a:pt x="3145" y="949"/>
                    </a:lnTo>
                    <a:lnTo>
                      <a:pt x="3141" y="952"/>
                    </a:lnTo>
                    <a:lnTo>
                      <a:pt x="3138" y="957"/>
                    </a:lnTo>
                    <a:lnTo>
                      <a:pt x="3134" y="962"/>
                    </a:lnTo>
                    <a:lnTo>
                      <a:pt x="3132" y="968"/>
                    </a:lnTo>
                    <a:lnTo>
                      <a:pt x="3130" y="975"/>
                    </a:lnTo>
                    <a:lnTo>
                      <a:pt x="3129" y="982"/>
                    </a:lnTo>
                    <a:lnTo>
                      <a:pt x="3126" y="991"/>
                    </a:lnTo>
                    <a:lnTo>
                      <a:pt x="3126" y="1000"/>
                    </a:lnTo>
                    <a:lnTo>
                      <a:pt x="3125" y="1011"/>
                    </a:lnTo>
                    <a:lnTo>
                      <a:pt x="3125" y="1023"/>
                    </a:lnTo>
                    <a:lnTo>
                      <a:pt x="3126" y="1035"/>
                    </a:lnTo>
                    <a:lnTo>
                      <a:pt x="3127" y="1045"/>
                    </a:lnTo>
                    <a:lnTo>
                      <a:pt x="3131" y="1055"/>
                    </a:lnTo>
                    <a:lnTo>
                      <a:pt x="3135" y="1064"/>
                    </a:lnTo>
                    <a:lnTo>
                      <a:pt x="3140" y="1073"/>
                    </a:lnTo>
                    <a:lnTo>
                      <a:pt x="3146" y="1079"/>
                    </a:lnTo>
                    <a:lnTo>
                      <a:pt x="3153" y="1085"/>
                    </a:lnTo>
                    <a:lnTo>
                      <a:pt x="3160" y="1091"/>
                    </a:lnTo>
                    <a:lnTo>
                      <a:pt x="3168" y="1095"/>
                    </a:lnTo>
                    <a:lnTo>
                      <a:pt x="3176" y="1100"/>
                    </a:lnTo>
                    <a:lnTo>
                      <a:pt x="3184" y="1102"/>
                    </a:lnTo>
                    <a:lnTo>
                      <a:pt x="3192" y="1105"/>
                    </a:lnTo>
                    <a:lnTo>
                      <a:pt x="3200" y="1107"/>
                    </a:lnTo>
                    <a:lnTo>
                      <a:pt x="3208" y="1108"/>
                    </a:lnTo>
                    <a:lnTo>
                      <a:pt x="3216" y="1108"/>
                    </a:lnTo>
                    <a:lnTo>
                      <a:pt x="3226" y="1107"/>
                    </a:lnTo>
                    <a:lnTo>
                      <a:pt x="3235" y="1105"/>
                    </a:lnTo>
                    <a:lnTo>
                      <a:pt x="3243" y="1100"/>
                    </a:lnTo>
                    <a:lnTo>
                      <a:pt x="3250" y="1094"/>
                    </a:lnTo>
                    <a:lnTo>
                      <a:pt x="3264" y="1079"/>
                    </a:lnTo>
                    <a:lnTo>
                      <a:pt x="3275" y="1063"/>
                    </a:lnTo>
                    <a:lnTo>
                      <a:pt x="3287" y="1046"/>
                    </a:lnTo>
                    <a:lnTo>
                      <a:pt x="3301" y="1031"/>
                    </a:lnTo>
                    <a:lnTo>
                      <a:pt x="3307" y="1025"/>
                    </a:lnTo>
                    <a:lnTo>
                      <a:pt x="3315" y="1022"/>
                    </a:lnTo>
                    <a:lnTo>
                      <a:pt x="3325" y="1019"/>
                    </a:lnTo>
                    <a:lnTo>
                      <a:pt x="3335" y="1017"/>
                    </a:lnTo>
                    <a:lnTo>
                      <a:pt x="3354" y="1021"/>
                    </a:lnTo>
                    <a:lnTo>
                      <a:pt x="3371" y="1025"/>
                    </a:lnTo>
                    <a:lnTo>
                      <a:pt x="3385" y="1031"/>
                    </a:lnTo>
                    <a:lnTo>
                      <a:pt x="3400" y="1038"/>
                    </a:lnTo>
                    <a:lnTo>
                      <a:pt x="3413" y="1043"/>
                    </a:lnTo>
                    <a:lnTo>
                      <a:pt x="3428" y="1048"/>
                    </a:lnTo>
                    <a:lnTo>
                      <a:pt x="3435" y="1050"/>
                    </a:lnTo>
                    <a:lnTo>
                      <a:pt x="3443" y="1051"/>
                    </a:lnTo>
                    <a:lnTo>
                      <a:pt x="3451" y="1052"/>
                    </a:lnTo>
                    <a:lnTo>
                      <a:pt x="3460" y="1052"/>
                    </a:lnTo>
                    <a:lnTo>
                      <a:pt x="3471" y="1052"/>
                    </a:lnTo>
                    <a:lnTo>
                      <a:pt x="3482" y="1051"/>
                    </a:lnTo>
                    <a:lnTo>
                      <a:pt x="3492" y="1048"/>
                    </a:lnTo>
                    <a:lnTo>
                      <a:pt x="3501" y="1045"/>
                    </a:lnTo>
                    <a:lnTo>
                      <a:pt x="3509" y="1042"/>
                    </a:lnTo>
                    <a:lnTo>
                      <a:pt x="3518" y="1038"/>
                    </a:lnTo>
                    <a:lnTo>
                      <a:pt x="3525" y="1032"/>
                    </a:lnTo>
                    <a:lnTo>
                      <a:pt x="3532" y="1028"/>
                    </a:lnTo>
                    <a:lnTo>
                      <a:pt x="3546" y="1015"/>
                    </a:lnTo>
                    <a:lnTo>
                      <a:pt x="3557" y="1001"/>
                    </a:lnTo>
                    <a:lnTo>
                      <a:pt x="3568" y="988"/>
                    </a:lnTo>
                    <a:lnTo>
                      <a:pt x="3578" y="973"/>
                    </a:lnTo>
                    <a:lnTo>
                      <a:pt x="3588" y="958"/>
                    </a:lnTo>
                    <a:lnTo>
                      <a:pt x="3598" y="943"/>
                    </a:lnTo>
                    <a:lnTo>
                      <a:pt x="3608" y="929"/>
                    </a:lnTo>
                    <a:lnTo>
                      <a:pt x="3618" y="918"/>
                    </a:lnTo>
                    <a:lnTo>
                      <a:pt x="3624" y="912"/>
                    </a:lnTo>
                    <a:lnTo>
                      <a:pt x="3631" y="907"/>
                    </a:lnTo>
                    <a:lnTo>
                      <a:pt x="3637" y="903"/>
                    </a:lnTo>
                    <a:lnTo>
                      <a:pt x="3643" y="899"/>
                    </a:lnTo>
                    <a:lnTo>
                      <a:pt x="3650" y="896"/>
                    </a:lnTo>
                    <a:lnTo>
                      <a:pt x="3658" y="894"/>
                    </a:lnTo>
                    <a:lnTo>
                      <a:pt x="3666" y="892"/>
                    </a:lnTo>
                    <a:lnTo>
                      <a:pt x="3675" y="892"/>
                    </a:lnTo>
                    <a:lnTo>
                      <a:pt x="3689" y="892"/>
                    </a:lnTo>
                    <a:lnTo>
                      <a:pt x="3703" y="895"/>
                    </a:lnTo>
                    <a:lnTo>
                      <a:pt x="3714" y="898"/>
                    </a:lnTo>
                    <a:lnTo>
                      <a:pt x="3727" y="902"/>
                    </a:lnTo>
                    <a:lnTo>
                      <a:pt x="3749" y="912"/>
                    </a:lnTo>
                    <a:lnTo>
                      <a:pt x="3772" y="923"/>
                    </a:lnTo>
                    <a:lnTo>
                      <a:pt x="3794" y="935"/>
                    </a:lnTo>
                    <a:lnTo>
                      <a:pt x="3819" y="945"/>
                    </a:lnTo>
                    <a:lnTo>
                      <a:pt x="3831" y="949"/>
                    </a:lnTo>
                    <a:lnTo>
                      <a:pt x="3846" y="952"/>
                    </a:lnTo>
                    <a:lnTo>
                      <a:pt x="3861" y="954"/>
                    </a:lnTo>
                    <a:lnTo>
                      <a:pt x="3877" y="954"/>
                    </a:lnTo>
                    <a:lnTo>
                      <a:pt x="3878" y="952"/>
                    </a:lnTo>
                    <a:lnTo>
                      <a:pt x="3878" y="944"/>
                    </a:lnTo>
                    <a:lnTo>
                      <a:pt x="3880" y="933"/>
                    </a:lnTo>
                    <a:lnTo>
                      <a:pt x="3881" y="919"/>
                    </a:lnTo>
                    <a:lnTo>
                      <a:pt x="3882" y="905"/>
                    </a:lnTo>
                    <a:lnTo>
                      <a:pt x="3883" y="894"/>
                    </a:lnTo>
                    <a:lnTo>
                      <a:pt x="3884" y="883"/>
                    </a:lnTo>
                    <a:lnTo>
                      <a:pt x="3884" y="879"/>
                    </a:lnTo>
                    <a:lnTo>
                      <a:pt x="3888" y="871"/>
                    </a:lnTo>
                    <a:lnTo>
                      <a:pt x="3893" y="865"/>
                    </a:lnTo>
                    <a:lnTo>
                      <a:pt x="3900" y="859"/>
                    </a:lnTo>
                    <a:lnTo>
                      <a:pt x="3908" y="855"/>
                    </a:lnTo>
                    <a:lnTo>
                      <a:pt x="3925" y="845"/>
                    </a:lnTo>
                    <a:lnTo>
                      <a:pt x="3946" y="836"/>
                    </a:lnTo>
                    <a:lnTo>
                      <a:pt x="3955" y="832"/>
                    </a:lnTo>
                    <a:lnTo>
                      <a:pt x="3964" y="826"/>
                    </a:lnTo>
                    <a:lnTo>
                      <a:pt x="3972" y="820"/>
                    </a:lnTo>
                    <a:lnTo>
                      <a:pt x="3980" y="813"/>
                    </a:lnTo>
                    <a:lnTo>
                      <a:pt x="3987" y="805"/>
                    </a:lnTo>
                    <a:lnTo>
                      <a:pt x="3992" y="796"/>
                    </a:lnTo>
                    <a:lnTo>
                      <a:pt x="3995" y="786"/>
                    </a:lnTo>
                    <a:lnTo>
                      <a:pt x="3997" y="774"/>
                    </a:lnTo>
                    <a:lnTo>
                      <a:pt x="3995" y="765"/>
                    </a:lnTo>
                    <a:lnTo>
                      <a:pt x="3993" y="757"/>
                    </a:lnTo>
                    <a:lnTo>
                      <a:pt x="3990" y="749"/>
                    </a:lnTo>
                    <a:lnTo>
                      <a:pt x="3985" y="742"/>
                    </a:lnTo>
                    <a:lnTo>
                      <a:pt x="3974" y="730"/>
                    </a:lnTo>
                    <a:lnTo>
                      <a:pt x="3961" y="718"/>
                    </a:lnTo>
                    <a:lnTo>
                      <a:pt x="3948" y="707"/>
                    </a:lnTo>
                    <a:lnTo>
                      <a:pt x="3937" y="694"/>
                    </a:lnTo>
                    <a:lnTo>
                      <a:pt x="3932" y="687"/>
                    </a:lnTo>
                    <a:lnTo>
                      <a:pt x="3929" y="679"/>
                    </a:lnTo>
                    <a:lnTo>
                      <a:pt x="3927" y="671"/>
                    </a:lnTo>
                    <a:lnTo>
                      <a:pt x="3927" y="662"/>
                    </a:lnTo>
                    <a:lnTo>
                      <a:pt x="3927" y="642"/>
                    </a:lnTo>
                    <a:lnTo>
                      <a:pt x="3927" y="621"/>
                    </a:lnTo>
                    <a:lnTo>
                      <a:pt x="3927" y="598"/>
                    </a:lnTo>
                    <a:lnTo>
                      <a:pt x="3928" y="575"/>
                    </a:lnTo>
                    <a:lnTo>
                      <a:pt x="3928" y="554"/>
                    </a:lnTo>
                    <a:lnTo>
                      <a:pt x="3929" y="535"/>
                    </a:lnTo>
                    <a:lnTo>
                      <a:pt x="3931" y="520"/>
                    </a:lnTo>
                    <a:lnTo>
                      <a:pt x="3933" y="509"/>
                    </a:lnTo>
                    <a:lnTo>
                      <a:pt x="3935" y="496"/>
                    </a:lnTo>
                    <a:lnTo>
                      <a:pt x="3937" y="481"/>
                    </a:lnTo>
                    <a:lnTo>
                      <a:pt x="3940" y="465"/>
                    </a:lnTo>
                    <a:lnTo>
                      <a:pt x="3943" y="449"/>
                    </a:lnTo>
                    <a:lnTo>
                      <a:pt x="3944" y="439"/>
                    </a:lnTo>
                    <a:lnTo>
                      <a:pt x="3944" y="431"/>
                    </a:lnTo>
                    <a:lnTo>
                      <a:pt x="3944" y="422"/>
                    </a:lnTo>
                    <a:lnTo>
                      <a:pt x="3943" y="413"/>
                    </a:lnTo>
                    <a:lnTo>
                      <a:pt x="3940" y="404"/>
                    </a:lnTo>
                    <a:lnTo>
                      <a:pt x="3937" y="395"/>
                    </a:lnTo>
                    <a:lnTo>
                      <a:pt x="3932" y="386"/>
                    </a:lnTo>
                    <a:lnTo>
                      <a:pt x="3927" y="376"/>
                    </a:lnTo>
                    <a:lnTo>
                      <a:pt x="3916" y="366"/>
                    </a:lnTo>
                    <a:lnTo>
                      <a:pt x="3904" y="356"/>
                    </a:lnTo>
                    <a:lnTo>
                      <a:pt x="3890" y="347"/>
                    </a:lnTo>
                    <a:lnTo>
                      <a:pt x="3874" y="339"/>
                    </a:lnTo>
                    <a:lnTo>
                      <a:pt x="3841" y="324"/>
                    </a:lnTo>
                    <a:lnTo>
                      <a:pt x="3807" y="308"/>
                    </a:lnTo>
                    <a:lnTo>
                      <a:pt x="3791" y="300"/>
                    </a:lnTo>
                    <a:lnTo>
                      <a:pt x="3775" y="290"/>
                    </a:lnTo>
                    <a:lnTo>
                      <a:pt x="3761" y="280"/>
                    </a:lnTo>
                    <a:lnTo>
                      <a:pt x="3749" y="269"/>
                    </a:lnTo>
                    <a:lnTo>
                      <a:pt x="3744" y="262"/>
                    </a:lnTo>
                    <a:lnTo>
                      <a:pt x="3739" y="255"/>
                    </a:lnTo>
                    <a:lnTo>
                      <a:pt x="3735" y="248"/>
                    </a:lnTo>
                    <a:lnTo>
                      <a:pt x="3732" y="240"/>
                    </a:lnTo>
                    <a:lnTo>
                      <a:pt x="3728" y="231"/>
                    </a:lnTo>
                    <a:lnTo>
                      <a:pt x="3726" y="223"/>
                    </a:lnTo>
                    <a:lnTo>
                      <a:pt x="3725" y="212"/>
                    </a:lnTo>
                    <a:lnTo>
                      <a:pt x="3725" y="203"/>
                    </a:lnTo>
                    <a:lnTo>
                      <a:pt x="3725" y="189"/>
                    </a:lnTo>
                    <a:lnTo>
                      <a:pt x="3727" y="179"/>
                    </a:lnTo>
                    <a:lnTo>
                      <a:pt x="3732" y="170"/>
                    </a:lnTo>
                    <a:lnTo>
                      <a:pt x="3736" y="164"/>
                    </a:lnTo>
                    <a:lnTo>
                      <a:pt x="3742" y="160"/>
                    </a:lnTo>
                    <a:lnTo>
                      <a:pt x="3749" y="156"/>
                    </a:lnTo>
                    <a:lnTo>
                      <a:pt x="3757" y="155"/>
                    </a:lnTo>
                    <a:lnTo>
                      <a:pt x="3766" y="154"/>
                    </a:lnTo>
                    <a:lnTo>
                      <a:pt x="3786" y="156"/>
                    </a:lnTo>
                    <a:lnTo>
                      <a:pt x="3806" y="160"/>
                    </a:lnTo>
                    <a:lnTo>
                      <a:pt x="3828" y="164"/>
                    </a:lnTo>
                    <a:lnTo>
                      <a:pt x="3850" y="168"/>
                    </a:lnTo>
                    <a:lnTo>
                      <a:pt x="3862" y="168"/>
                    </a:lnTo>
                    <a:lnTo>
                      <a:pt x="3874" y="166"/>
                    </a:lnTo>
                    <a:lnTo>
                      <a:pt x="3884" y="165"/>
                    </a:lnTo>
                    <a:lnTo>
                      <a:pt x="3894" y="163"/>
                    </a:lnTo>
                    <a:lnTo>
                      <a:pt x="3904" y="160"/>
                    </a:lnTo>
                    <a:lnTo>
                      <a:pt x="3912" y="156"/>
                    </a:lnTo>
                    <a:lnTo>
                      <a:pt x="3919" y="153"/>
                    </a:lnTo>
                    <a:lnTo>
                      <a:pt x="3927" y="148"/>
                    </a:lnTo>
                    <a:lnTo>
                      <a:pt x="3938" y="139"/>
                    </a:lnTo>
                    <a:lnTo>
                      <a:pt x="3950" y="129"/>
                    </a:lnTo>
                    <a:lnTo>
                      <a:pt x="3960" y="117"/>
                    </a:lnTo>
                    <a:lnTo>
                      <a:pt x="3969" y="106"/>
                    </a:lnTo>
                    <a:lnTo>
                      <a:pt x="3978" y="93"/>
                    </a:lnTo>
                    <a:lnTo>
                      <a:pt x="3988" y="83"/>
                    </a:lnTo>
                    <a:lnTo>
                      <a:pt x="4000" y="71"/>
                    </a:lnTo>
                    <a:lnTo>
                      <a:pt x="4014" y="62"/>
                    </a:lnTo>
                    <a:lnTo>
                      <a:pt x="4021" y="58"/>
                    </a:lnTo>
                    <a:lnTo>
                      <a:pt x="4029" y="54"/>
                    </a:lnTo>
                    <a:lnTo>
                      <a:pt x="4038" y="51"/>
                    </a:lnTo>
                    <a:lnTo>
                      <a:pt x="4047" y="48"/>
                    </a:lnTo>
                    <a:lnTo>
                      <a:pt x="4057" y="46"/>
                    </a:lnTo>
                    <a:lnTo>
                      <a:pt x="4068" y="44"/>
                    </a:lnTo>
                    <a:lnTo>
                      <a:pt x="4080" y="43"/>
                    </a:lnTo>
                    <a:lnTo>
                      <a:pt x="4094" y="43"/>
                    </a:lnTo>
                    <a:lnTo>
                      <a:pt x="4103" y="43"/>
                    </a:lnTo>
                    <a:lnTo>
                      <a:pt x="4113" y="40"/>
                    </a:lnTo>
                    <a:lnTo>
                      <a:pt x="4123" y="39"/>
                    </a:lnTo>
                    <a:lnTo>
                      <a:pt x="4131" y="36"/>
                    </a:lnTo>
                    <a:lnTo>
                      <a:pt x="4148" y="29"/>
                    </a:lnTo>
                    <a:lnTo>
                      <a:pt x="4163" y="22"/>
                    </a:lnTo>
                    <a:lnTo>
                      <a:pt x="4179" y="14"/>
                    </a:lnTo>
                    <a:lnTo>
                      <a:pt x="4195" y="7"/>
                    </a:lnTo>
                    <a:lnTo>
                      <a:pt x="4204" y="5"/>
                    </a:lnTo>
                    <a:lnTo>
                      <a:pt x="4213" y="2"/>
                    </a:lnTo>
                    <a:lnTo>
                      <a:pt x="4222" y="1"/>
                    </a:lnTo>
                    <a:lnTo>
                      <a:pt x="4233" y="0"/>
                    </a:lnTo>
                    <a:lnTo>
                      <a:pt x="4244" y="1"/>
                    </a:lnTo>
                    <a:lnTo>
                      <a:pt x="4254" y="2"/>
                    </a:lnTo>
                    <a:lnTo>
                      <a:pt x="4264" y="5"/>
                    </a:lnTo>
                    <a:lnTo>
                      <a:pt x="4273" y="8"/>
                    </a:lnTo>
                    <a:lnTo>
                      <a:pt x="4281" y="12"/>
                    </a:lnTo>
                    <a:lnTo>
                      <a:pt x="4288" y="16"/>
                    </a:lnTo>
                    <a:lnTo>
                      <a:pt x="4295" y="22"/>
                    </a:lnTo>
                    <a:lnTo>
                      <a:pt x="4300" y="28"/>
                    </a:lnTo>
                    <a:lnTo>
                      <a:pt x="4306" y="33"/>
                    </a:lnTo>
                    <a:lnTo>
                      <a:pt x="4311" y="41"/>
                    </a:lnTo>
                    <a:lnTo>
                      <a:pt x="4315" y="48"/>
                    </a:lnTo>
                    <a:lnTo>
                      <a:pt x="4319" y="56"/>
                    </a:lnTo>
                    <a:lnTo>
                      <a:pt x="4323" y="75"/>
                    </a:lnTo>
                    <a:lnTo>
                      <a:pt x="4328" y="94"/>
                    </a:lnTo>
                    <a:lnTo>
                      <a:pt x="4330" y="115"/>
                    </a:lnTo>
                    <a:lnTo>
                      <a:pt x="4330" y="136"/>
                    </a:lnTo>
                    <a:lnTo>
                      <a:pt x="4330" y="157"/>
                    </a:lnTo>
                    <a:lnTo>
                      <a:pt x="4330" y="180"/>
                    </a:lnTo>
                    <a:lnTo>
                      <a:pt x="4327" y="224"/>
                    </a:lnTo>
                    <a:lnTo>
                      <a:pt x="4323" y="265"/>
                    </a:lnTo>
                    <a:lnTo>
                      <a:pt x="4324" y="275"/>
                    </a:lnTo>
                    <a:lnTo>
                      <a:pt x="4327" y="283"/>
                    </a:lnTo>
                    <a:lnTo>
                      <a:pt x="4330" y="289"/>
                    </a:lnTo>
                    <a:lnTo>
                      <a:pt x="4336" y="294"/>
                    </a:lnTo>
                    <a:lnTo>
                      <a:pt x="4342" y="298"/>
                    </a:lnTo>
                    <a:lnTo>
                      <a:pt x="4349" y="301"/>
                    </a:lnTo>
                    <a:lnTo>
                      <a:pt x="4357" y="303"/>
                    </a:lnTo>
                    <a:lnTo>
                      <a:pt x="4365" y="304"/>
                    </a:lnTo>
                    <a:lnTo>
                      <a:pt x="4383" y="304"/>
                    </a:lnTo>
                    <a:lnTo>
                      <a:pt x="4400" y="303"/>
                    </a:lnTo>
                    <a:lnTo>
                      <a:pt x="4415" y="301"/>
                    </a:lnTo>
                    <a:lnTo>
                      <a:pt x="4428" y="301"/>
                    </a:lnTo>
                    <a:lnTo>
                      <a:pt x="4445" y="301"/>
                    </a:lnTo>
                    <a:lnTo>
                      <a:pt x="4459" y="301"/>
                    </a:lnTo>
                    <a:lnTo>
                      <a:pt x="4470" y="301"/>
                    </a:lnTo>
                    <a:lnTo>
                      <a:pt x="4479" y="301"/>
                    </a:lnTo>
                    <a:lnTo>
                      <a:pt x="4487" y="301"/>
                    </a:lnTo>
                    <a:lnTo>
                      <a:pt x="4493" y="301"/>
                    </a:lnTo>
                    <a:lnTo>
                      <a:pt x="4499" y="301"/>
                    </a:lnTo>
                    <a:lnTo>
                      <a:pt x="4504" y="301"/>
                    </a:lnTo>
                    <a:lnTo>
                      <a:pt x="4516" y="301"/>
                    </a:lnTo>
                    <a:lnTo>
                      <a:pt x="4533" y="301"/>
                    </a:lnTo>
                    <a:lnTo>
                      <a:pt x="4556" y="301"/>
                    </a:lnTo>
                    <a:lnTo>
                      <a:pt x="4581" y="300"/>
                    </a:lnTo>
                    <a:lnTo>
                      <a:pt x="4608" y="296"/>
                    </a:lnTo>
                    <a:lnTo>
                      <a:pt x="4634" y="291"/>
                    </a:lnTo>
                    <a:lnTo>
                      <a:pt x="4645" y="288"/>
                    </a:lnTo>
                    <a:lnTo>
                      <a:pt x="4658" y="283"/>
                    </a:lnTo>
                    <a:lnTo>
                      <a:pt x="4668" y="279"/>
                    </a:lnTo>
                    <a:lnTo>
                      <a:pt x="4679" y="272"/>
                    </a:lnTo>
                    <a:lnTo>
                      <a:pt x="4689" y="263"/>
                    </a:lnTo>
                    <a:lnTo>
                      <a:pt x="4699" y="253"/>
                    </a:lnTo>
                    <a:lnTo>
                      <a:pt x="4710" y="240"/>
                    </a:lnTo>
                    <a:lnTo>
                      <a:pt x="4719" y="225"/>
                    </a:lnTo>
                    <a:lnTo>
                      <a:pt x="4736" y="195"/>
                    </a:lnTo>
                    <a:lnTo>
                      <a:pt x="4754" y="163"/>
                    </a:lnTo>
                    <a:lnTo>
                      <a:pt x="4764" y="148"/>
                    </a:lnTo>
                    <a:lnTo>
                      <a:pt x="4774" y="134"/>
                    </a:lnTo>
                    <a:lnTo>
                      <a:pt x="4786" y="122"/>
                    </a:lnTo>
                    <a:lnTo>
                      <a:pt x="4799" y="110"/>
                    </a:lnTo>
                    <a:lnTo>
                      <a:pt x="4806" y="106"/>
                    </a:lnTo>
                    <a:lnTo>
                      <a:pt x="4813" y="102"/>
                    </a:lnTo>
                    <a:lnTo>
                      <a:pt x="4821" y="99"/>
                    </a:lnTo>
                    <a:lnTo>
                      <a:pt x="4829" y="95"/>
                    </a:lnTo>
                    <a:lnTo>
                      <a:pt x="4837" y="93"/>
                    </a:lnTo>
                    <a:lnTo>
                      <a:pt x="4846" y="92"/>
                    </a:lnTo>
                    <a:lnTo>
                      <a:pt x="4856" y="91"/>
                    </a:lnTo>
                    <a:lnTo>
                      <a:pt x="4867" y="91"/>
                    </a:lnTo>
                    <a:lnTo>
                      <a:pt x="4875" y="92"/>
                    </a:lnTo>
                    <a:lnTo>
                      <a:pt x="4883" y="93"/>
                    </a:lnTo>
                    <a:lnTo>
                      <a:pt x="4891" y="94"/>
                    </a:lnTo>
                    <a:lnTo>
                      <a:pt x="4898" y="98"/>
                    </a:lnTo>
                    <a:lnTo>
                      <a:pt x="4905" y="101"/>
                    </a:lnTo>
                    <a:lnTo>
                      <a:pt x="4910" y="105"/>
                    </a:lnTo>
                    <a:lnTo>
                      <a:pt x="4915" y="109"/>
                    </a:lnTo>
                    <a:lnTo>
                      <a:pt x="4919" y="114"/>
                    </a:lnTo>
                    <a:lnTo>
                      <a:pt x="4923" y="119"/>
                    </a:lnTo>
                    <a:lnTo>
                      <a:pt x="4926" y="125"/>
                    </a:lnTo>
                    <a:lnTo>
                      <a:pt x="4930" y="132"/>
                    </a:lnTo>
                    <a:lnTo>
                      <a:pt x="4932" y="138"/>
                    </a:lnTo>
                    <a:lnTo>
                      <a:pt x="4936" y="153"/>
                    </a:lnTo>
                    <a:lnTo>
                      <a:pt x="4936" y="168"/>
                    </a:lnTo>
                    <a:lnTo>
                      <a:pt x="4934" y="176"/>
                    </a:lnTo>
                    <a:lnTo>
                      <a:pt x="4932" y="183"/>
                    </a:lnTo>
                    <a:lnTo>
                      <a:pt x="4928" y="189"/>
                    </a:lnTo>
                    <a:lnTo>
                      <a:pt x="4922" y="197"/>
                    </a:lnTo>
                    <a:lnTo>
                      <a:pt x="4917" y="205"/>
                    </a:lnTo>
                    <a:lnTo>
                      <a:pt x="4913" y="215"/>
                    </a:lnTo>
                    <a:lnTo>
                      <a:pt x="4909" y="225"/>
                    </a:lnTo>
                    <a:lnTo>
                      <a:pt x="4908" y="238"/>
                    </a:lnTo>
                    <a:lnTo>
                      <a:pt x="4908" y="250"/>
                    </a:lnTo>
                    <a:lnTo>
                      <a:pt x="4907" y="263"/>
                    </a:lnTo>
                    <a:lnTo>
                      <a:pt x="4906" y="275"/>
                    </a:lnTo>
                    <a:lnTo>
                      <a:pt x="4905" y="286"/>
                    </a:lnTo>
                    <a:lnTo>
                      <a:pt x="4903" y="294"/>
                    </a:lnTo>
                    <a:lnTo>
                      <a:pt x="4902" y="301"/>
                    </a:lnTo>
                    <a:lnTo>
                      <a:pt x="4901" y="305"/>
                    </a:lnTo>
                    <a:lnTo>
                      <a:pt x="4901" y="308"/>
                    </a:lnTo>
                    <a:lnTo>
                      <a:pt x="4901" y="316"/>
                    </a:lnTo>
                    <a:lnTo>
                      <a:pt x="4899" y="325"/>
                    </a:lnTo>
                    <a:lnTo>
                      <a:pt x="4897" y="333"/>
                    </a:lnTo>
                    <a:lnTo>
                      <a:pt x="4893" y="341"/>
                    </a:lnTo>
                    <a:lnTo>
                      <a:pt x="4890" y="348"/>
                    </a:lnTo>
                    <a:lnTo>
                      <a:pt x="4884" y="356"/>
                    </a:lnTo>
                    <a:lnTo>
                      <a:pt x="4879" y="363"/>
                    </a:lnTo>
                    <a:lnTo>
                      <a:pt x="4872" y="369"/>
                    </a:lnTo>
                    <a:lnTo>
                      <a:pt x="4859" y="383"/>
                    </a:lnTo>
                    <a:lnTo>
                      <a:pt x="4844" y="396"/>
                    </a:lnTo>
                    <a:lnTo>
                      <a:pt x="4828" y="410"/>
                    </a:lnTo>
                    <a:lnTo>
                      <a:pt x="4811" y="423"/>
                    </a:lnTo>
                    <a:lnTo>
                      <a:pt x="4793" y="437"/>
                    </a:lnTo>
                    <a:lnTo>
                      <a:pt x="4777" y="453"/>
                    </a:lnTo>
                    <a:lnTo>
                      <a:pt x="4769" y="461"/>
                    </a:lnTo>
                    <a:lnTo>
                      <a:pt x="4762" y="470"/>
                    </a:lnTo>
                    <a:lnTo>
                      <a:pt x="4756" y="478"/>
                    </a:lnTo>
                    <a:lnTo>
                      <a:pt x="4749" y="489"/>
                    </a:lnTo>
                    <a:lnTo>
                      <a:pt x="4742" y="498"/>
                    </a:lnTo>
                    <a:lnTo>
                      <a:pt x="4737" y="509"/>
                    </a:lnTo>
                    <a:lnTo>
                      <a:pt x="4731" y="520"/>
                    </a:lnTo>
                    <a:lnTo>
                      <a:pt x="4728" y="532"/>
                    </a:lnTo>
                    <a:lnTo>
                      <a:pt x="4725" y="544"/>
                    </a:lnTo>
                    <a:lnTo>
                      <a:pt x="4722" y="558"/>
                    </a:lnTo>
                    <a:lnTo>
                      <a:pt x="4721" y="571"/>
                    </a:lnTo>
                    <a:lnTo>
                      <a:pt x="4720" y="586"/>
                    </a:lnTo>
                    <a:lnTo>
                      <a:pt x="4720" y="594"/>
                    </a:lnTo>
                    <a:lnTo>
                      <a:pt x="4721" y="601"/>
                    </a:lnTo>
                    <a:lnTo>
                      <a:pt x="4722" y="608"/>
                    </a:lnTo>
                    <a:lnTo>
                      <a:pt x="4725" y="614"/>
                    </a:lnTo>
                    <a:lnTo>
                      <a:pt x="4727" y="620"/>
                    </a:lnTo>
                    <a:lnTo>
                      <a:pt x="4729" y="624"/>
                    </a:lnTo>
                    <a:lnTo>
                      <a:pt x="4733" y="629"/>
                    </a:lnTo>
                    <a:lnTo>
                      <a:pt x="4736" y="632"/>
                    </a:lnTo>
                    <a:lnTo>
                      <a:pt x="4744" y="639"/>
                    </a:lnTo>
                    <a:lnTo>
                      <a:pt x="4753" y="644"/>
                    </a:lnTo>
                    <a:lnTo>
                      <a:pt x="4762" y="648"/>
                    </a:lnTo>
                    <a:lnTo>
                      <a:pt x="4772" y="653"/>
                    </a:lnTo>
                    <a:lnTo>
                      <a:pt x="4781" y="657"/>
                    </a:lnTo>
                    <a:lnTo>
                      <a:pt x="4790" y="662"/>
                    </a:lnTo>
                    <a:lnTo>
                      <a:pt x="4798" y="668"/>
                    </a:lnTo>
                    <a:lnTo>
                      <a:pt x="4805" y="675"/>
                    </a:lnTo>
                    <a:lnTo>
                      <a:pt x="4808" y="679"/>
                    </a:lnTo>
                    <a:lnTo>
                      <a:pt x="4812" y="684"/>
                    </a:lnTo>
                    <a:lnTo>
                      <a:pt x="4814" y="689"/>
                    </a:lnTo>
                    <a:lnTo>
                      <a:pt x="4815" y="695"/>
                    </a:lnTo>
                    <a:lnTo>
                      <a:pt x="4816" y="701"/>
                    </a:lnTo>
                    <a:lnTo>
                      <a:pt x="4817" y="709"/>
                    </a:lnTo>
                    <a:lnTo>
                      <a:pt x="4817" y="716"/>
                    </a:lnTo>
                    <a:lnTo>
                      <a:pt x="4817" y="725"/>
                    </a:lnTo>
                    <a:lnTo>
                      <a:pt x="4817" y="733"/>
                    </a:lnTo>
                    <a:lnTo>
                      <a:pt x="4816" y="740"/>
                    </a:lnTo>
                    <a:lnTo>
                      <a:pt x="4815" y="746"/>
                    </a:lnTo>
                    <a:lnTo>
                      <a:pt x="4813" y="751"/>
                    </a:lnTo>
                    <a:lnTo>
                      <a:pt x="4811" y="757"/>
                    </a:lnTo>
                    <a:lnTo>
                      <a:pt x="4807" y="762"/>
                    </a:lnTo>
                    <a:lnTo>
                      <a:pt x="4804" y="766"/>
                    </a:lnTo>
                    <a:lnTo>
                      <a:pt x="4800" y="770"/>
                    </a:lnTo>
                    <a:lnTo>
                      <a:pt x="4792" y="777"/>
                    </a:lnTo>
                    <a:lnTo>
                      <a:pt x="4782" y="782"/>
                    </a:lnTo>
                    <a:lnTo>
                      <a:pt x="4773" y="787"/>
                    </a:lnTo>
                    <a:lnTo>
                      <a:pt x="4762" y="792"/>
                    </a:lnTo>
                    <a:lnTo>
                      <a:pt x="4742" y="798"/>
                    </a:lnTo>
                    <a:lnTo>
                      <a:pt x="4723" y="808"/>
                    </a:lnTo>
                    <a:lnTo>
                      <a:pt x="4717" y="812"/>
                    </a:lnTo>
                    <a:lnTo>
                      <a:pt x="4711" y="819"/>
                    </a:lnTo>
                    <a:lnTo>
                      <a:pt x="4709" y="823"/>
                    </a:lnTo>
                    <a:lnTo>
                      <a:pt x="4707" y="827"/>
                    </a:lnTo>
                    <a:lnTo>
                      <a:pt x="4706" y="832"/>
                    </a:lnTo>
                    <a:lnTo>
                      <a:pt x="4706" y="836"/>
                    </a:lnTo>
                    <a:lnTo>
                      <a:pt x="4706" y="856"/>
                    </a:lnTo>
                    <a:lnTo>
                      <a:pt x="4707" y="872"/>
                    </a:lnTo>
                    <a:lnTo>
                      <a:pt x="4709" y="879"/>
                    </a:lnTo>
                    <a:lnTo>
                      <a:pt x="4710" y="884"/>
                    </a:lnTo>
                    <a:lnTo>
                      <a:pt x="4712" y="890"/>
                    </a:lnTo>
                    <a:lnTo>
                      <a:pt x="4714" y="896"/>
                    </a:lnTo>
                    <a:lnTo>
                      <a:pt x="4718" y="899"/>
                    </a:lnTo>
                    <a:lnTo>
                      <a:pt x="4721" y="904"/>
                    </a:lnTo>
                    <a:lnTo>
                      <a:pt x="4725" y="907"/>
                    </a:lnTo>
                    <a:lnTo>
                      <a:pt x="4728" y="910"/>
                    </a:lnTo>
                    <a:lnTo>
                      <a:pt x="4737" y="914"/>
                    </a:lnTo>
                    <a:lnTo>
                      <a:pt x="4748" y="917"/>
                    </a:lnTo>
                    <a:lnTo>
                      <a:pt x="4759" y="918"/>
                    </a:lnTo>
                    <a:lnTo>
                      <a:pt x="4770" y="919"/>
                    </a:lnTo>
                    <a:lnTo>
                      <a:pt x="4784" y="918"/>
                    </a:lnTo>
                    <a:lnTo>
                      <a:pt x="4799" y="917"/>
                    </a:lnTo>
                    <a:lnTo>
                      <a:pt x="4831" y="914"/>
                    </a:lnTo>
                    <a:lnTo>
                      <a:pt x="4867" y="913"/>
                    </a:lnTo>
                    <a:lnTo>
                      <a:pt x="4875" y="913"/>
                    </a:lnTo>
                    <a:lnTo>
                      <a:pt x="4883" y="914"/>
                    </a:lnTo>
                    <a:lnTo>
                      <a:pt x="4890" y="915"/>
                    </a:lnTo>
                    <a:lnTo>
                      <a:pt x="4897" y="918"/>
                    </a:lnTo>
                    <a:lnTo>
                      <a:pt x="4902" y="920"/>
                    </a:lnTo>
                    <a:lnTo>
                      <a:pt x="4908" y="923"/>
                    </a:lnTo>
                    <a:lnTo>
                      <a:pt x="4913" y="926"/>
                    </a:lnTo>
                    <a:lnTo>
                      <a:pt x="4916" y="929"/>
                    </a:lnTo>
                    <a:lnTo>
                      <a:pt x="4923" y="938"/>
                    </a:lnTo>
                    <a:lnTo>
                      <a:pt x="4929" y="946"/>
                    </a:lnTo>
                    <a:lnTo>
                      <a:pt x="4933" y="957"/>
                    </a:lnTo>
                    <a:lnTo>
                      <a:pt x="4938" y="967"/>
                    </a:lnTo>
                    <a:lnTo>
                      <a:pt x="4941" y="977"/>
                    </a:lnTo>
                    <a:lnTo>
                      <a:pt x="4946" y="988"/>
                    </a:lnTo>
                    <a:lnTo>
                      <a:pt x="4950" y="998"/>
                    </a:lnTo>
                    <a:lnTo>
                      <a:pt x="4956" y="1007"/>
                    </a:lnTo>
                    <a:lnTo>
                      <a:pt x="4964" y="1015"/>
                    </a:lnTo>
                    <a:lnTo>
                      <a:pt x="4973" y="1022"/>
                    </a:lnTo>
                    <a:lnTo>
                      <a:pt x="4978" y="1025"/>
                    </a:lnTo>
                    <a:lnTo>
                      <a:pt x="4985" y="1028"/>
                    </a:lnTo>
                    <a:lnTo>
                      <a:pt x="4992" y="1030"/>
                    </a:lnTo>
                    <a:lnTo>
                      <a:pt x="4999" y="1031"/>
                    </a:lnTo>
                    <a:lnTo>
                      <a:pt x="4997" y="1059"/>
                    </a:lnTo>
                    <a:lnTo>
                      <a:pt x="4993" y="1092"/>
                    </a:lnTo>
                    <a:lnTo>
                      <a:pt x="4987" y="1129"/>
                    </a:lnTo>
                    <a:lnTo>
                      <a:pt x="4983" y="1168"/>
                    </a:lnTo>
                    <a:lnTo>
                      <a:pt x="4980" y="1188"/>
                    </a:lnTo>
                    <a:lnTo>
                      <a:pt x="4979" y="1208"/>
                    </a:lnTo>
                    <a:lnTo>
                      <a:pt x="4978" y="1227"/>
                    </a:lnTo>
                    <a:lnTo>
                      <a:pt x="4978" y="1246"/>
                    </a:lnTo>
                    <a:lnTo>
                      <a:pt x="4979" y="1264"/>
                    </a:lnTo>
                    <a:lnTo>
                      <a:pt x="4983" y="1281"/>
                    </a:lnTo>
                    <a:lnTo>
                      <a:pt x="4986" y="1296"/>
                    </a:lnTo>
                    <a:lnTo>
                      <a:pt x="4992" y="1310"/>
                    </a:lnTo>
                    <a:lnTo>
                      <a:pt x="4993" y="1316"/>
                    </a:lnTo>
                    <a:lnTo>
                      <a:pt x="4995" y="1320"/>
                    </a:lnTo>
                    <a:lnTo>
                      <a:pt x="4999" y="1323"/>
                    </a:lnTo>
                    <a:lnTo>
                      <a:pt x="5003" y="1324"/>
                    </a:lnTo>
                    <a:lnTo>
                      <a:pt x="5010" y="1324"/>
                    </a:lnTo>
                    <a:lnTo>
                      <a:pt x="5017" y="1324"/>
                    </a:lnTo>
                    <a:lnTo>
                      <a:pt x="5025" y="1323"/>
                    </a:lnTo>
                    <a:lnTo>
                      <a:pt x="5033" y="1320"/>
                    </a:lnTo>
                    <a:lnTo>
                      <a:pt x="5052" y="1317"/>
                    </a:lnTo>
                    <a:lnTo>
                      <a:pt x="5074" y="1312"/>
                    </a:lnTo>
                    <a:lnTo>
                      <a:pt x="5085" y="1311"/>
                    </a:lnTo>
                    <a:lnTo>
                      <a:pt x="5096" y="1310"/>
                    </a:lnTo>
                    <a:lnTo>
                      <a:pt x="5106" y="1310"/>
                    </a:lnTo>
                    <a:lnTo>
                      <a:pt x="5117" y="1310"/>
                    </a:lnTo>
                    <a:lnTo>
                      <a:pt x="5121" y="1325"/>
                    </a:lnTo>
                    <a:lnTo>
                      <a:pt x="5122" y="1340"/>
                    </a:lnTo>
                    <a:lnTo>
                      <a:pt x="5122" y="1354"/>
                    </a:lnTo>
                    <a:lnTo>
                      <a:pt x="5121" y="1368"/>
                    </a:lnTo>
                    <a:lnTo>
                      <a:pt x="5119" y="1384"/>
                    </a:lnTo>
                    <a:lnTo>
                      <a:pt x="5116" y="1402"/>
                    </a:lnTo>
                    <a:lnTo>
                      <a:pt x="5113" y="1420"/>
                    </a:lnTo>
                    <a:lnTo>
                      <a:pt x="5110" y="1443"/>
                    </a:lnTo>
                    <a:lnTo>
                      <a:pt x="5124" y="1441"/>
                    </a:lnTo>
                    <a:lnTo>
                      <a:pt x="5135" y="1438"/>
                    </a:lnTo>
                    <a:lnTo>
                      <a:pt x="5143" y="1437"/>
                    </a:lnTo>
                    <a:lnTo>
                      <a:pt x="5150" y="1437"/>
                    </a:lnTo>
                    <a:lnTo>
                      <a:pt x="5157" y="1437"/>
                    </a:lnTo>
                    <a:lnTo>
                      <a:pt x="5163" y="1438"/>
                    </a:lnTo>
                    <a:lnTo>
                      <a:pt x="5171" y="1441"/>
                    </a:lnTo>
                    <a:lnTo>
                      <a:pt x="5180" y="1443"/>
                    </a:lnTo>
                    <a:lnTo>
                      <a:pt x="5182" y="1459"/>
                    </a:lnTo>
                    <a:lnTo>
                      <a:pt x="5182" y="1477"/>
                    </a:lnTo>
                    <a:lnTo>
                      <a:pt x="5183" y="1496"/>
                    </a:lnTo>
                    <a:lnTo>
                      <a:pt x="5182" y="1515"/>
                    </a:lnTo>
                    <a:lnTo>
                      <a:pt x="5182" y="1535"/>
                    </a:lnTo>
                    <a:lnTo>
                      <a:pt x="5181" y="1554"/>
                    </a:lnTo>
                    <a:lnTo>
                      <a:pt x="5180" y="1573"/>
                    </a:lnTo>
                    <a:lnTo>
                      <a:pt x="5180" y="1589"/>
                    </a:lnTo>
                    <a:lnTo>
                      <a:pt x="5195" y="1589"/>
                    </a:lnTo>
                    <a:lnTo>
                      <a:pt x="5211" y="1587"/>
                    </a:lnTo>
                    <a:lnTo>
                      <a:pt x="5226" y="1585"/>
                    </a:lnTo>
                    <a:lnTo>
                      <a:pt x="5239" y="1583"/>
                    </a:lnTo>
                    <a:lnTo>
                      <a:pt x="5267" y="1577"/>
                    </a:lnTo>
                    <a:lnTo>
                      <a:pt x="5293" y="1573"/>
                    </a:lnTo>
                    <a:lnTo>
                      <a:pt x="5305" y="1571"/>
                    </a:lnTo>
                    <a:lnTo>
                      <a:pt x="5316" y="1570"/>
                    </a:lnTo>
                    <a:lnTo>
                      <a:pt x="5328" y="1570"/>
                    </a:lnTo>
                    <a:lnTo>
                      <a:pt x="5338" y="1571"/>
                    </a:lnTo>
                    <a:lnTo>
                      <a:pt x="5348" y="1574"/>
                    </a:lnTo>
                    <a:lnTo>
                      <a:pt x="5357" y="1577"/>
                    </a:lnTo>
                    <a:lnTo>
                      <a:pt x="5367" y="1582"/>
                    </a:lnTo>
                    <a:lnTo>
                      <a:pt x="5375" y="1589"/>
                    </a:lnTo>
                    <a:lnTo>
                      <a:pt x="5382" y="1742"/>
                    </a:lnTo>
                    <a:lnTo>
                      <a:pt x="5368" y="1757"/>
                    </a:lnTo>
                    <a:lnTo>
                      <a:pt x="5351" y="1782"/>
                    </a:lnTo>
                    <a:lnTo>
                      <a:pt x="5330" y="1811"/>
                    </a:lnTo>
                    <a:lnTo>
                      <a:pt x="5308" y="1843"/>
                    </a:lnTo>
                    <a:lnTo>
                      <a:pt x="5289" y="1873"/>
                    </a:lnTo>
                    <a:lnTo>
                      <a:pt x="5271" y="1898"/>
                    </a:lnTo>
                    <a:lnTo>
                      <a:pt x="5260" y="1917"/>
                    </a:lnTo>
                    <a:lnTo>
                      <a:pt x="5257" y="1924"/>
                    </a:lnTo>
                    <a:lnTo>
                      <a:pt x="5257" y="1945"/>
                    </a:lnTo>
                    <a:lnTo>
                      <a:pt x="5259" y="1971"/>
                    </a:lnTo>
                    <a:lnTo>
                      <a:pt x="5260" y="1996"/>
                    </a:lnTo>
                    <a:lnTo>
                      <a:pt x="5262" y="2022"/>
                    </a:lnTo>
                    <a:lnTo>
                      <a:pt x="5265" y="2047"/>
                    </a:lnTo>
                    <a:lnTo>
                      <a:pt x="5265" y="2071"/>
                    </a:lnTo>
                    <a:lnTo>
                      <a:pt x="5265" y="2093"/>
                    </a:lnTo>
                    <a:lnTo>
                      <a:pt x="5263" y="2112"/>
                    </a:lnTo>
                    <a:lnTo>
                      <a:pt x="5261" y="2113"/>
                    </a:lnTo>
                    <a:lnTo>
                      <a:pt x="5255" y="2117"/>
                    </a:lnTo>
                    <a:lnTo>
                      <a:pt x="5247" y="2125"/>
                    </a:lnTo>
                    <a:lnTo>
                      <a:pt x="5236" y="2133"/>
                    </a:lnTo>
                    <a:lnTo>
                      <a:pt x="5223" y="2143"/>
                    </a:lnTo>
                    <a:lnTo>
                      <a:pt x="5207" y="2152"/>
                    </a:lnTo>
                    <a:lnTo>
                      <a:pt x="5190" y="2161"/>
                    </a:lnTo>
                    <a:lnTo>
                      <a:pt x="5173" y="216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11" name="Freeform 530"/>
              <p:cNvSpPr>
                <a:spLocks/>
              </p:cNvSpPr>
              <p:nvPr/>
            </p:nvSpPr>
            <p:spPr bwMode="auto">
              <a:xfrm>
                <a:off x="549" y="2997"/>
                <a:ext cx="287" cy="225"/>
              </a:xfrm>
              <a:custGeom>
                <a:avLst/>
                <a:gdLst>
                  <a:gd name="T0" fmla="*/ 9 w 1556"/>
                  <a:gd name="T1" fmla="*/ 7 h 1221"/>
                  <a:gd name="T2" fmla="*/ 9 w 1556"/>
                  <a:gd name="T3" fmla="*/ 6 h 1221"/>
                  <a:gd name="T4" fmla="*/ 9 w 1556"/>
                  <a:gd name="T5" fmla="*/ 6 h 1221"/>
                  <a:gd name="T6" fmla="*/ 9 w 1556"/>
                  <a:gd name="T7" fmla="*/ 6 h 1221"/>
                  <a:gd name="T8" fmla="*/ 9 w 1556"/>
                  <a:gd name="T9" fmla="*/ 5 h 1221"/>
                  <a:gd name="T10" fmla="*/ 9 w 1556"/>
                  <a:gd name="T11" fmla="*/ 5 h 1221"/>
                  <a:gd name="T12" fmla="*/ 10 w 1556"/>
                  <a:gd name="T13" fmla="*/ 4 h 1221"/>
                  <a:gd name="T14" fmla="*/ 10 w 1556"/>
                  <a:gd name="T15" fmla="*/ 4 h 1221"/>
                  <a:gd name="T16" fmla="*/ 9 w 1556"/>
                  <a:gd name="T17" fmla="*/ 3 h 1221"/>
                  <a:gd name="T18" fmla="*/ 8 w 1556"/>
                  <a:gd name="T19" fmla="*/ 3 h 1221"/>
                  <a:gd name="T20" fmla="*/ 9 w 1556"/>
                  <a:gd name="T21" fmla="*/ 3 h 1221"/>
                  <a:gd name="T22" fmla="*/ 9 w 1556"/>
                  <a:gd name="T23" fmla="*/ 2 h 1221"/>
                  <a:gd name="T24" fmla="*/ 9 w 1556"/>
                  <a:gd name="T25" fmla="*/ 2 h 1221"/>
                  <a:gd name="T26" fmla="*/ 8 w 1556"/>
                  <a:gd name="T27" fmla="*/ 1 h 1221"/>
                  <a:gd name="T28" fmla="*/ 8 w 1556"/>
                  <a:gd name="T29" fmla="*/ 1 h 1221"/>
                  <a:gd name="T30" fmla="*/ 7 w 1556"/>
                  <a:gd name="T31" fmla="*/ 1 h 1221"/>
                  <a:gd name="T32" fmla="*/ 6 w 1556"/>
                  <a:gd name="T33" fmla="*/ 0 h 1221"/>
                  <a:gd name="T34" fmla="*/ 6 w 1556"/>
                  <a:gd name="T35" fmla="*/ 0 h 1221"/>
                  <a:gd name="T36" fmla="*/ 6 w 1556"/>
                  <a:gd name="T37" fmla="*/ 0 h 1221"/>
                  <a:gd name="T38" fmla="*/ 6 w 1556"/>
                  <a:gd name="T39" fmla="*/ 0 h 1221"/>
                  <a:gd name="T40" fmla="*/ 5 w 1556"/>
                  <a:gd name="T41" fmla="*/ 0 h 1221"/>
                  <a:gd name="T42" fmla="*/ 4 w 1556"/>
                  <a:gd name="T43" fmla="*/ 1 h 1221"/>
                  <a:gd name="T44" fmla="*/ 3 w 1556"/>
                  <a:gd name="T45" fmla="*/ 1 h 1221"/>
                  <a:gd name="T46" fmla="*/ 3 w 1556"/>
                  <a:gd name="T47" fmla="*/ 1 h 1221"/>
                  <a:gd name="T48" fmla="*/ 0 w 1556"/>
                  <a:gd name="T49" fmla="*/ 1 h 1221"/>
                  <a:gd name="T50" fmla="*/ 0 w 1556"/>
                  <a:gd name="T51" fmla="*/ 2 h 1221"/>
                  <a:gd name="T52" fmla="*/ 1 w 1556"/>
                  <a:gd name="T53" fmla="*/ 2 h 1221"/>
                  <a:gd name="T54" fmla="*/ 1 w 1556"/>
                  <a:gd name="T55" fmla="*/ 3 h 1221"/>
                  <a:gd name="T56" fmla="*/ 1 w 1556"/>
                  <a:gd name="T57" fmla="*/ 3 h 1221"/>
                  <a:gd name="T58" fmla="*/ 2 w 1556"/>
                  <a:gd name="T59" fmla="*/ 3 h 1221"/>
                  <a:gd name="T60" fmla="*/ 2 w 1556"/>
                  <a:gd name="T61" fmla="*/ 4 h 1221"/>
                  <a:gd name="T62" fmla="*/ 2 w 1556"/>
                  <a:gd name="T63" fmla="*/ 4 h 1221"/>
                  <a:gd name="T64" fmla="*/ 2 w 1556"/>
                  <a:gd name="T65" fmla="*/ 4 h 1221"/>
                  <a:gd name="T66" fmla="*/ 3 w 1556"/>
                  <a:gd name="T67" fmla="*/ 5 h 1221"/>
                  <a:gd name="T68" fmla="*/ 3 w 1556"/>
                  <a:gd name="T69" fmla="*/ 6 h 1221"/>
                  <a:gd name="T70" fmla="*/ 3 w 1556"/>
                  <a:gd name="T71" fmla="*/ 6 h 1221"/>
                  <a:gd name="T72" fmla="*/ 3 w 1556"/>
                  <a:gd name="T73" fmla="*/ 6 h 1221"/>
                  <a:gd name="T74" fmla="*/ 4 w 1556"/>
                  <a:gd name="T75" fmla="*/ 7 h 1221"/>
                  <a:gd name="T76" fmla="*/ 4 w 1556"/>
                  <a:gd name="T77" fmla="*/ 7 h 1221"/>
                  <a:gd name="T78" fmla="*/ 5 w 1556"/>
                  <a:gd name="T79" fmla="*/ 7 h 1221"/>
                  <a:gd name="T80" fmla="*/ 5 w 1556"/>
                  <a:gd name="T81" fmla="*/ 7 h 1221"/>
                  <a:gd name="T82" fmla="*/ 4 w 1556"/>
                  <a:gd name="T83" fmla="*/ 6 h 1221"/>
                  <a:gd name="T84" fmla="*/ 4 w 1556"/>
                  <a:gd name="T85" fmla="*/ 6 h 1221"/>
                  <a:gd name="T86" fmla="*/ 5 w 1556"/>
                  <a:gd name="T87" fmla="*/ 6 h 1221"/>
                  <a:gd name="T88" fmla="*/ 6 w 1556"/>
                  <a:gd name="T89" fmla="*/ 6 h 1221"/>
                  <a:gd name="T90" fmla="*/ 6 w 1556"/>
                  <a:gd name="T91" fmla="*/ 6 h 1221"/>
                  <a:gd name="T92" fmla="*/ 6 w 1556"/>
                  <a:gd name="T93" fmla="*/ 7 h 1221"/>
                  <a:gd name="T94" fmla="*/ 6 w 1556"/>
                  <a:gd name="T95" fmla="*/ 8 h 1221"/>
                  <a:gd name="T96" fmla="*/ 6 w 1556"/>
                  <a:gd name="T97" fmla="*/ 8 h 1221"/>
                  <a:gd name="T98" fmla="*/ 7 w 1556"/>
                  <a:gd name="T99" fmla="*/ 7 h 1221"/>
                  <a:gd name="T100" fmla="*/ 8 w 1556"/>
                  <a:gd name="T101" fmla="*/ 8 h 1221"/>
                  <a:gd name="T102" fmla="*/ 8 w 1556"/>
                  <a:gd name="T103" fmla="*/ 8 h 1221"/>
                  <a:gd name="T104" fmla="*/ 9 w 1556"/>
                  <a:gd name="T105" fmla="*/ 8 h 1221"/>
                  <a:gd name="T106" fmla="*/ 9 w 1556"/>
                  <a:gd name="T107" fmla="*/ 8 h 1221"/>
                  <a:gd name="T108" fmla="*/ 9 w 1556"/>
                  <a:gd name="T109" fmla="*/ 7 h 122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556"/>
                  <a:gd name="T166" fmla="*/ 0 h 1221"/>
                  <a:gd name="T167" fmla="*/ 1556 w 1556"/>
                  <a:gd name="T168" fmla="*/ 1221 h 122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556" h="1221">
                    <a:moveTo>
                      <a:pt x="1493" y="1150"/>
                    </a:moveTo>
                    <a:lnTo>
                      <a:pt x="1480" y="1136"/>
                    </a:lnTo>
                    <a:lnTo>
                      <a:pt x="1463" y="1121"/>
                    </a:lnTo>
                    <a:lnTo>
                      <a:pt x="1444" y="1104"/>
                    </a:lnTo>
                    <a:lnTo>
                      <a:pt x="1426" y="1084"/>
                    </a:lnTo>
                    <a:lnTo>
                      <a:pt x="1417" y="1074"/>
                    </a:lnTo>
                    <a:lnTo>
                      <a:pt x="1409" y="1064"/>
                    </a:lnTo>
                    <a:lnTo>
                      <a:pt x="1401" y="1052"/>
                    </a:lnTo>
                    <a:lnTo>
                      <a:pt x="1394" y="1040"/>
                    </a:lnTo>
                    <a:lnTo>
                      <a:pt x="1389" y="1027"/>
                    </a:lnTo>
                    <a:lnTo>
                      <a:pt x="1385" y="1013"/>
                    </a:lnTo>
                    <a:lnTo>
                      <a:pt x="1383" y="998"/>
                    </a:lnTo>
                    <a:lnTo>
                      <a:pt x="1381" y="983"/>
                    </a:lnTo>
                    <a:lnTo>
                      <a:pt x="1381" y="974"/>
                    </a:lnTo>
                    <a:lnTo>
                      <a:pt x="1384" y="966"/>
                    </a:lnTo>
                    <a:lnTo>
                      <a:pt x="1387" y="959"/>
                    </a:lnTo>
                    <a:lnTo>
                      <a:pt x="1393" y="954"/>
                    </a:lnTo>
                    <a:lnTo>
                      <a:pt x="1399" y="948"/>
                    </a:lnTo>
                    <a:lnTo>
                      <a:pt x="1404" y="942"/>
                    </a:lnTo>
                    <a:lnTo>
                      <a:pt x="1411" y="937"/>
                    </a:lnTo>
                    <a:lnTo>
                      <a:pt x="1419" y="933"/>
                    </a:lnTo>
                    <a:lnTo>
                      <a:pt x="1435" y="924"/>
                    </a:lnTo>
                    <a:lnTo>
                      <a:pt x="1451" y="915"/>
                    </a:lnTo>
                    <a:lnTo>
                      <a:pt x="1459" y="910"/>
                    </a:lnTo>
                    <a:lnTo>
                      <a:pt x="1466" y="904"/>
                    </a:lnTo>
                    <a:lnTo>
                      <a:pt x="1473" y="898"/>
                    </a:lnTo>
                    <a:lnTo>
                      <a:pt x="1479" y="893"/>
                    </a:lnTo>
                    <a:lnTo>
                      <a:pt x="1485" y="884"/>
                    </a:lnTo>
                    <a:lnTo>
                      <a:pt x="1489" y="873"/>
                    </a:lnTo>
                    <a:lnTo>
                      <a:pt x="1493" y="864"/>
                    </a:lnTo>
                    <a:lnTo>
                      <a:pt x="1495" y="855"/>
                    </a:lnTo>
                    <a:lnTo>
                      <a:pt x="1497" y="835"/>
                    </a:lnTo>
                    <a:lnTo>
                      <a:pt x="1497" y="815"/>
                    </a:lnTo>
                    <a:lnTo>
                      <a:pt x="1497" y="794"/>
                    </a:lnTo>
                    <a:lnTo>
                      <a:pt x="1498" y="773"/>
                    </a:lnTo>
                    <a:lnTo>
                      <a:pt x="1500" y="763"/>
                    </a:lnTo>
                    <a:lnTo>
                      <a:pt x="1501" y="753"/>
                    </a:lnTo>
                    <a:lnTo>
                      <a:pt x="1503" y="743"/>
                    </a:lnTo>
                    <a:lnTo>
                      <a:pt x="1506" y="732"/>
                    </a:lnTo>
                    <a:lnTo>
                      <a:pt x="1508" y="729"/>
                    </a:lnTo>
                    <a:lnTo>
                      <a:pt x="1511" y="725"/>
                    </a:lnTo>
                    <a:lnTo>
                      <a:pt x="1513" y="723"/>
                    </a:lnTo>
                    <a:lnTo>
                      <a:pt x="1517" y="721"/>
                    </a:lnTo>
                    <a:lnTo>
                      <a:pt x="1525" y="716"/>
                    </a:lnTo>
                    <a:lnTo>
                      <a:pt x="1534" y="713"/>
                    </a:lnTo>
                    <a:lnTo>
                      <a:pt x="1542" y="707"/>
                    </a:lnTo>
                    <a:lnTo>
                      <a:pt x="1549" y="700"/>
                    </a:lnTo>
                    <a:lnTo>
                      <a:pt x="1551" y="695"/>
                    </a:lnTo>
                    <a:lnTo>
                      <a:pt x="1553" y="690"/>
                    </a:lnTo>
                    <a:lnTo>
                      <a:pt x="1555" y="684"/>
                    </a:lnTo>
                    <a:lnTo>
                      <a:pt x="1556" y="676"/>
                    </a:lnTo>
                    <a:lnTo>
                      <a:pt x="1555" y="670"/>
                    </a:lnTo>
                    <a:lnTo>
                      <a:pt x="1552" y="665"/>
                    </a:lnTo>
                    <a:lnTo>
                      <a:pt x="1550" y="659"/>
                    </a:lnTo>
                    <a:lnTo>
                      <a:pt x="1545" y="654"/>
                    </a:lnTo>
                    <a:lnTo>
                      <a:pt x="1535" y="643"/>
                    </a:lnTo>
                    <a:lnTo>
                      <a:pt x="1521" y="632"/>
                    </a:lnTo>
                    <a:lnTo>
                      <a:pt x="1487" y="609"/>
                    </a:lnTo>
                    <a:lnTo>
                      <a:pt x="1447" y="587"/>
                    </a:lnTo>
                    <a:lnTo>
                      <a:pt x="1427" y="574"/>
                    </a:lnTo>
                    <a:lnTo>
                      <a:pt x="1408" y="561"/>
                    </a:lnTo>
                    <a:lnTo>
                      <a:pt x="1389" y="548"/>
                    </a:lnTo>
                    <a:lnTo>
                      <a:pt x="1373" y="533"/>
                    </a:lnTo>
                    <a:lnTo>
                      <a:pt x="1365" y="525"/>
                    </a:lnTo>
                    <a:lnTo>
                      <a:pt x="1360" y="517"/>
                    </a:lnTo>
                    <a:lnTo>
                      <a:pt x="1354" y="509"/>
                    </a:lnTo>
                    <a:lnTo>
                      <a:pt x="1348" y="499"/>
                    </a:lnTo>
                    <a:lnTo>
                      <a:pt x="1345" y="490"/>
                    </a:lnTo>
                    <a:lnTo>
                      <a:pt x="1341" y="481"/>
                    </a:lnTo>
                    <a:lnTo>
                      <a:pt x="1340" y="471"/>
                    </a:lnTo>
                    <a:lnTo>
                      <a:pt x="1339" y="460"/>
                    </a:lnTo>
                    <a:lnTo>
                      <a:pt x="1340" y="457"/>
                    </a:lnTo>
                    <a:lnTo>
                      <a:pt x="1344" y="452"/>
                    </a:lnTo>
                    <a:lnTo>
                      <a:pt x="1348" y="447"/>
                    </a:lnTo>
                    <a:lnTo>
                      <a:pt x="1355" y="440"/>
                    </a:lnTo>
                    <a:lnTo>
                      <a:pt x="1371" y="425"/>
                    </a:lnTo>
                    <a:lnTo>
                      <a:pt x="1389" y="408"/>
                    </a:lnTo>
                    <a:lnTo>
                      <a:pt x="1409" y="390"/>
                    </a:lnTo>
                    <a:lnTo>
                      <a:pt x="1427" y="373"/>
                    </a:lnTo>
                    <a:lnTo>
                      <a:pt x="1442" y="359"/>
                    </a:lnTo>
                    <a:lnTo>
                      <a:pt x="1450" y="349"/>
                    </a:lnTo>
                    <a:lnTo>
                      <a:pt x="1443" y="343"/>
                    </a:lnTo>
                    <a:lnTo>
                      <a:pt x="1435" y="339"/>
                    </a:lnTo>
                    <a:lnTo>
                      <a:pt x="1428" y="333"/>
                    </a:lnTo>
                    <a:lnTo>
                      <a:pt x="1422" y="327"/>
                    </a:lnTo>
                    <a:lnTo>
                      <a:pt x="1417" y="322"/>
                    </a:lnTo>
                    <a:lnTo>
                      <a:pt x="1412" y="315"/>
                    </a:lnTo>
                    <a:lnTo>
                      <a:pt x="1410" y="308"/>
                    </a:lnTo>
                    <a:lnTo>
                      <a:pt x="1409" y="300"/>
                    </a:lnTo>
                    <a:lnTo>
                      <a:pt x="1411" y="277"/>
                    </a:lnTo>
                    <a:lnTo>
                      <a:pt x="1414" y="261"/>
                    </a:lnTo>
                    <a:lnTo>
                      <a:pt x="1415" y="249"/>
                    </a:lnTo>
                    <a:lnTo>
                      <a:pt x="1415" y="239"/>
                    </a:lnTo>
                    <a:lnTo>
                      <a:pt x="1416" y="225"/>
                    </a:lnTo>
                    <a:lnTo>
                      <a:pt x="1416" y="207"/>
                    </a:lnTo>
                    <a:lnTo>
                      <a:pt x="1416" y="179"/>
                    </a:lnTo>
                    <a:lnTo>
                      <a:pt x="1416" y="140"/>
                    </a:lnTo>
                    <a:lnTo>
                      <a:pt x="1368" y="140"/>
                    </a:lnTo>
                    <a:lnTo>
                      <a:pt x="1363" y="142"/>
                    </a:lnTo>
                    <a:lnTo>
                      <a:pt x="1358" y="144"/>
                    </a:lnTo>
                    <a:lnTo>
                      <a:pt x="1352" y="147"/>
                    </a:lnTo>
                    <a:lnTo>
                      <a:pt x="1344" y="151"/>
                    </a:lnTo>
                    <a:lnTo>
                      <a:pt x="1334" y="154"/>
                    </a:lnTo>
                    <a:lnTo>
                      <a:pt x="1325" y="158"/>
                    </a:lnTo>
                    <a:lnTo>
                      <a:pt x="1315" y="160"/>
                    </a:lnTo>
                    <a:lnTo>
                      <a:pt x="1305" y="161"/>
                    </a:lnTo>
                    <a:lnTo>
                      <a:pt x="1297" y="160"/>
                    </a:lnTo>
                    <a:lnTo>
                      <a:pt x="1285" y="156"/>
                    </a:lnTo>
                    <a:lnTo>
                      <a:pt x="1270" y="151"/>
                    </a:lnTo>
                    <a:lnTo>
                      <a:pt x="1254" y="144"/>
                    </a:lnTo>
                    <a:lnTo>
                      <a:pt x="1216" y="124"/>
                    </a:lnTo>
                    <a:lnTo>
                      <a:pt x="1176" y="103"/>
                    </a:lnTo>
                    <a:lnTo>
                      <a:pt x="1138" y="80"/>
                    </a:lnTo>
                    <a:lnTo>
                      <a:pt x="1106" y="58"/>
                    </a:lnTo>
                    <a:lnTo>
                      <a:pt x="1092" y="49"/>
                    </a:lnTo>
                    <a:lnTo>
                      <a:pt x="1083" y="41"/>
                    </a:lnTo>
                    <a:lnTo>
                      <a:pt x="1076" y="34"/>
                    </a:lnTo>
                    <a:lnTo>
                      <a:pt x="1075" y="29"/>
                    </a:lnTo>
                    <a:lnTo>
                      <a:pt x="1005" y="22"/>
                    </a:lnTo>
                    <a:lnTo>
                      <a:pt x="1002" y="26"/>
                    </a:lnTo>
                    <a:lnTo>
                      <a:pt x="998" y="30"/>
                    </a:lnTo>
                    <a:lnTo>
                      <a:pt x="995" y="36"/>
                    </a:lnTo>
                    <a:lnTo>
                      <a:pt x="990" y="42"/>
                    </a:lnTo>
                    <a:lnTo>
                      <a:pt x="986" y="47"/>
                    </a:lnTo>
                    <a:lnTo>
                      <a:pt x="980" y="52"/>
                    </a:lnTo>
                    <a:lnTo>
                      <a:pt x="976" y="56"/>
                    </a:lnTo>
                    <a:lnTo>
                      <a:pt x="970" y="57"/>
                    </a:lnTo>
                    <a:lnTo>
                      <a:pt x="963" y="56"/>
                    </a:lnTo>
                    <a:lnTo>
                      <a:pt x="957" y="54"/>
                    </a:lnTo>
                    <a:lnTo>
                      <a:pt x="951" y="51"/>
                    </a:lnTo>
                    <a:lnTo>
                      <a:pt x="947" y="47"/>
                    </a:lnTo>
                    <a:lnTo>
                      <a:pt x="939" y="39"/>
                    </a:lnTo>
                    <a:lnTo>
                      <a:pt x="932" y="29"/>
                    </a:lnTo>
                    <a:lnTo>
                      <a:pt x="925" y="19"/>
                    </a:lnTo>
                    <a:lnTo>
                      <a:pt x="917" y="10"/>
                    </a:lnTo>
                    <a:lnTo>
                      <a:pt x="912" y="6"/>
                    </a:lnTo>
                    <a:lnTo>
                      <a:pt x="907" y="3"/>
                    </a:lnTo>
                    <a:lnTo>
                      <a:pt x="901" y="2"/>
                    </a:lnTo>
                    <a:lnTo>
                      <a:pt x="894" y="0"/>
                    </a:lnTo>
                    <a:lnTo>
                      <a:pt x="883" y="2"/>
                    </a:lnTo>
                    <a:lnTo>
                      <a:pt x="871" y="3"/>
                    </a:lnTo>
                    <a:lnTo>
                      <a:pt x="861" y="5"/>
                    </a:lnTo>
                    <a:lnTo>
                      <a:pt x="849" y="7"/>
                    </a:lnTo>
                    <a:lnTo>
                      <a:pt x="829" y="14"/>
                    </a:lnTo>
                    <a:lnTo>
                      <a:pt x="807" y="23"/>
                    </a:lnTo>
                    <a:lnTo>
                      <a:pt x="786" y="35"/>
                    </a:lnTo>
                    <a:lnTo>
                      <a:pt x="766" y="47"/>
                    </a:lnTo>
                    <a:lnTo>
                      <a:pt x="745" y="61"/>
                    </a:lnTo>
                    <a:lnTo>
                      <a:pt x="724" y="76"/>
                    </a:lnTo>
                    <a:lnTo>
                      <a:pt x="683" y="105"/>
                    </a:lnTo>
                    <a:lnTo>
                      <a:pt x="642" y="130"/>
                    </a:lnTo>
                    <a:lnTo>
                      <a:pt x="621" y="142"/>
                    </a:lnTo>
                    <a:lnTo>
                      <a:pt x="601" y="151"/>
                    </a:lnTo>
                    <a:lnTo>
                      <a:pt x="590" y="154"/>
                    </a:lnTo>
                    <a:lnTo>
                      <a:pt x="580" y="158"/>
                    </a:lnTo>
                    <a:lnTo>
                      <a:pt x="570" y="160"/>
                    </a:lnTo>
                    <a:lnTo>
                      <a:pt x="559" y="161"/>
                    </a:lnTo>
                    <a:lnTo>
                      <a:pt x="538" y="162"/>
                    </a:lnTo>
                    <a:lnTo>
                      <a:pt x="515" y="162"/>
                    </a:lnTo>
                    <a:lnTo>
                      <a:pt x="492" y="161"/>
                    </a:lnTo>
                    <a:lnTo>
                      <a:pt x="470" y="160"/>
                    </a:lnTo>
                    <a:lnTo>
                      <a:pt x="460" y="161"/>
                    </a:lnTo>
                    <a:lnTo>
                      <a:pt x="449" y="162"/>
                    </a:lnTo>
                    <a:lnTo>
                      <a:pt x="440" y="164"/>
                    </a:lnTo>
                    <a:lnTo>
                      <a:pt x="431" y="168"/>
                    </a:lnTo>
                    <a:lnTo>
                      <a:pt x="423" y="173"/>
                    </a:lnTo>
                    <a:lnTo>
                      <a:pt x="416" y="178"/>
                    </a:lnTo>
                    <a:lnTo>
                      <a:pt x="410" y="186"/>
                    </a:lnTo>
                    <a:lnTo>
                      <a:pt x="407" y="195"/>
                    </a:lnTo>
                    <a:lnTo>
                      <a:pt x="142" y="189"/>
                    </a:lnTo>
                    <a:lnTo>
                      <a:pt x="142" y="202"/>
                    </a:lnTo>
                    <a:lnTo>
                      <a:pt x="2" y="189"/>
                    </a:lnTo>
                    <a:lnTo>
                      <a:pt x="2" y="205"/>
                    </a:lnTo>
                    <a:lnTo>
                      <a:pt x="1" y="222"/>
                    </a:lnTo>
                    <a:lnTo>
                      <a:pt x="1" y="240"/>
                    </a:lnTo>
                    <a:lnTo>
                      <a:pt x="0" y="259"/>
                    </a:lnTo>
                    <a:lnTo>
                      <a:pt x="0" y="279"/>
                    </a:lnTo>
                    <a:lnTo>
                      <a:pt x="0" y="301"/>
                    </a:lnTo>
                    <a:lnTo>
                      <a:pt x="1" y="324"/>
                    </a:lnTo>
                    <a:lnTo>
                      <a:pt x="2" y="349"/>
                    </a:lnTo>
                    <a:lnTo>
                      <a:pt x="25" y="348"/>
                    </a:lnTo>
                    <a:lnTo>
                      <a:pt x="42" y="346"/>
                    </a:lnTo>
                    <a:lnTo>
                      <a:pt x="55" y="342"/>
                    </a:lnTo>
                    <a:lnTo>
                      <a:pt x="65" y="339"/>
                    </a:lnTo>
                    <a:lnTo>
                      <a:pt x="70" y="338"/>
                    </a:lnTo>
                    <a:lnTo>
                      <a:pt x="74" y="337"/>
                    </a:lnTo>
                    <a:lnTo>
                      <a:pt x="78" y="337"/>
                    </a:lnTo>
                    <a:lnTo>
                      <a:pt x="82" y="338"/>
                    </a:lnTo>
                    <a:lnTo>
                      <a:pt x="88" y="339"/>
                    </a:lnTo>
                    <a:lnTo>
                      <a:pt x="93" y="341"/>
                    </a:lnTo>
                    <a:lnTo>
                      <a:pt x="100" y="345"/>
                    </a:lnTo>
                    <a:lnTo>
                      <a:pt x="106" y="349"/>
                    </a:lnTo>
                    <a:lnTo>
                      <a:pt x="123" y="358"/>
                    </a:lnTo>
                    <a:lnTo>
                      <a:pt x="142" y="371"/>
                    </a:lnTo>
                    <a:lnTo>
                      <a:pt x="165" y="386"/>
                    </a:lnTo>
                    <a:lnTo>
                      <a:pt x="187" y="402"/>
                    </a:lnTo>
                    <a:lnTo>
                      <a:pt x="198" y="411"/>
                    </a:lnTo>
                    <a:lnTo>
                      <a:pt x="209" y="420"/>
                    </a:lnTo>
                    <a:lnTo>
                      <a:pt x="218" y="431"/>
                    </a:lnTo>
                    <a:lnTo>
                      <a:pt x="227" y="440"/>
                    </a:lnTo>
                    <a:lnTo>
                      <a:pt x="234" y="450"/>
                    </a:lnTo>
                    <a:lnTo>
                      <a:pt x="239" y="460"/>
                    </a:lnTo>
                    <a:lnTo>
                      <a:pt x="244" y="471"/>
                    </a:lnTo>
                    <a:lnTo>
                      <a:pt x="246" y="481"/>
                    </a:lnTo>
                    <a:lnTo>
                      <a:pt x="249" y="490"/>
                    </a:lnTo>
                    <a:lnTo>
                      <a:pt x="253" y="498"/>
                    </a:lnTo>
                    <a:lnTo>
                      <a:pt x="258" y="505"/>
                    </a:lnTo>
                    <a:lnTo>
                      <a:pt x="262" y="512"/>
                    </a:lnTo>
                    <a:lnTo>
                      <a:pt x="274" y="522"/>
                    </a:lnTo>
                    <a:lnTo>
                      <a:pt x="288" y="533"/>
                    </a:lnTo>
                    <a:lnTo>
                      <a:pt x="301" y="543"/>
                    </a:lnTo>
                    <a:lnTo>
                      <a:pt x="315" y="553"/>
                    </a:lnTo>
                    <a:lnTo>
                      <a:pt x="330" y="565"/>
                    </a:lnTo>
                    <a:lnTo>
                      <a:pt x="344" y="578"/>
                    </a:lnTo>
                    <a:lnTo>
                      <a:pt x="333" y="584"/>
                    </a:lnTo>
                    <a:lnTo>
                      <a:pt x="324" y="590"/>
                    </a:lnTo>
                    <a:lnTo>
                      <a:pt x="315" y="596"/>
                    </a:lnTo>
                    <a:lnTo>
                      <a:pt x="308" y="601"/>
                    </a:lnTo>
                    <a:lnTo>
                      <a:pt x="301" y="608"/>
                    </a:lnTo>
                    <a:lnTo>
                      <a:pt x="296" y="616"/>
                    </a:lnTo>
                    <a:lnTo>
                      <a:pt x="291" y="624"/>
                    </a:lnTo>
                    <a:lnTo>
                      <a:pt x="288" y="635"/>
                    </a:lnTo>
                    <a:lnTo>
                      <a:pt x="289" y="639"/>
                    </a:lnTo>
                    <a:lnTo>
                      <a:pt x="290" y="644"/>
                    </a:lnTo>
                    <a:lnTo>
                      <a:pt x="292" y="648"/>
                    </a:lnTo>
                    <a:lnTo>
                      <a:pt x="296" y="653"/>
                    </a:lnTo>
                    <a:lnTo>
                      <a:pt x="304" y="663"/>
                    </a:lnTo>
                    <a:lnTo>
                      <a:pt x="313" y="674"/>
                    </a:lnTo>
                    <a:lnTo>
                      <a:pt x="321" y="683"/>
                    </a:lnTo>
                    <a:lnTo>
                      <a:pt x="329" y="691"/>
                    </a:lnTo>
                    <a:lnTo>
                      <a:pt x="335" y="695"/>
                    </a:lnTo>
                    <a:lnTo>
                      <a:pt x="337" y="698"/>
                    </a:lnTo>
                    <a:lnTo>
                      <a:pt x="348" y="710"/>
                    </a:lnTo>
                    <a:lnTo>
                      <a:pt x="359" y="725"/>
                    </a:lnTo>
                    <a:lnTo>
                      <a:pt x="369" y="743"/>
                    </a:lnTo>
                    <a:lnTo>
                      <a:pt x="378" y="760"/>
                    </a:lnTo>
                    <a:lnTo>
                      <a:pt x="398" y="799"/>
                    </a:lnTo>
                    <a:lnTo>
                      <a:pt x="416" y="839"/>
                    </a:lnTo>
                    <a:lnTo>
                      <a:pt x="425" y="857"/>
                    </a:lnTo>
                    <a:lnTo>
                      <a:pt x="436" y="877"/>
                    </a:lnTo>
                    <a:lnTo>
                      <a:pt x="446" y="894"/>
                    </a:lnTo>
                    <a:lnTo>
                      <a:pt x="457" y="909"/>
                    </a:lnTo>
                    <a:lnTo>
                      <a:pt x="463" y="916"/>
                    </a:lnTo>
                    <a:lnTo>
                      <a:pt x="469" y="923"/>
                    </a:lnTo>
                    <a:lnTo>
                      <a:pt x="476" y="928"/>
                    </a:lnTo>
                    <a:lnTo>
                      <a:pt x="481" y="934"/>
                    </a:lnTo>
                    <a:lnTo>
                      <a:pt x="488" y="939"/>
                    </a:lnTo>
                    <a:lnTo>
                      <a:pt x="495" y="942"/>
                    </a:lnTo>
                    <a:lnTo>
                      <a:pt x="503" y="945"/>
                    </a:lnTo>
                    <a:lnTo>
                      <a:pt x="511" y="948"/>
                    </a:lnTo>
                    <a:lnTo>
                      <a:pt x="511" y="963"/>
                    </a:lnTo>
                    <a:lnTo>
                      <a:pt x="511" y="974"/>
                    </a:lnTo>
                    <a:lnTo>
                      <a:pt x="511" y="983"/>
                    </a:lnTo>
                    <a:lnTo>
                      <a:pt x="511" y="991"/>
                    </a:lnTo>
                    <a:lnTo>
                      <a:pt x="511" y="999"/>
                    </a:lnTo>
                    <a:lnTo>
                      <a:pt x="511" y="1007"/>
                    </a:lnTo>
                    <a:lnTo>
                      <a:pt x="511" y="1015"/>
                    </a:lnTo>
                    <a:lnTo>
                      <a:pt x="511" y="1025"/>
                    </a:lnTo>
                    <a:lnTo>
                      <a:pt x="512" y="1036"/>
                    </a:lnTo>
                    <a:lnTo>
                      <a:pt x="515" y="1046"/>
                    </a:lnTo>
                    <a:lnTo>
                      <a:pt x="519" y="1057"/>
                    </a:lnTo>
                    <a:lnTo>
                      <a:pt x="526" y="1065"/>
                    </a:lnTo>
                    <a:lnTo>
                      <a:pt x="534" y="1074"/>
                    </a:lnTo>
                    <a:lnTo>
                      <a:pt x="543" y="1081"/>
                    </a:lnTo>
                    <a:lnTo>
                      <a:pt x="554" y="1088"/>
                    </a:lnTo>
                    <a:lnTo>
                      <a:pt x="565" y="1093"/>
                    </a:lnTo>
                    <a:lnTo>
                      <a:pt x="578" y="1099"/>
                    </a:lnTo>
                    <a:lnTo>
                      <a:pt x="591" y="1103"/>
                    </a:lnTo>
                    <a:lnTo>
                      <a:pt x="605" y="1107"/>
                    </a:lnTo>
                    <a:lnTo>
                      <a:pt x="619" y="1110"/>
                    </a:lnTo>
                    <a:lnTo>
                      <a:pt x="634" y="1112"/>
                    </a:lnTo>
                    <a:lnTo>
                      <a:pt x="649" y="1114"/>
                    </a:lnTo>
                    <a:lnTo>
                      <a:pt x="664" y="1115"/>
                    </a:lnTo>
                    <a:lnTo>
                      <a:pt x="677" y="1115"/>
                    </a:lnTo>
                    <a:lnTo>
                      <a:pt x="688" y="1114"/>
                    </a:lnTo>
                    <a:lnTo>
                      <a:pt x="698" y="1112"/>
                    </a:lnTo>
                    <a:lnTo>
                      <a:pt x="707" y="1107"/>
                    </a:lnTo>
                    <a:lnTo>
                      <a:pt x="716" y="1101"/>
                    </a:lnTo>
                    <a:lnTo>
                      <a:pt x="723" y="1095"/>
                    </a:lnTo>
                    <a:lnTo>
                      <a:pt x="729" y="1085"/>
                    </a:lnTo>
                    <a:lnTo>
                      <a:pt x="731" y="1081"/>
                    </a:lnTo>
                    <a:lnTo>
                      <a:pt x="732" y="1076"/>
                    </a:lnTo>
                    <a:lnTo>
                      <a:pt x="734" y="1072"/>
                    </a:lnTo>
                    <a:lnTo>
                      <a:pt x="734" y="1067"/>
                    </a:lnTo>
                    <a:lnTo>
                      <a:pt x="734" y="1061"/>
                    </a:lnTo>
                    <a:lnTo>
                      <a:pt x="732" y="1057"/>
                    </a:lnTo>
                    <a:lnTo>
                      <a:pt x="730" y="1051"/>
                    </a:lnTo>
                    <a:lnTo>
                      <a:pt x="728" y="1046"/>
                    </a:lnTo>
                    <a:lnTo>
                      <a:pt x="722" y="1037"/>
                    </a:lnTo>
                    <a:lnTo>
                      <a:pt x="716" y="1028"/>
                    </a:lnTo>
                    <a:lnTo>
                      <a:pt x="710" y="1019"/>
                    </a:lnTo>
                    <a:lnTo>
                      <a:pt x="704" y="1010"/>
                    </a:lnTo>
                    <a:lnTo>
                      <a:pt x="702" y="1005"/>
                    </a:lnTo>
                    <a:lnTo>
                      <a:pt x="700" y="1001"/>
                    </a:lnTo>
                    <a:lnTo>
                      <a:pt x="699" y="995"/>
                    </a:lnTo>
                    <a:lnTo>
                      <a:pt x="699" y="990"/>
                    </a:lnTo>
                    <a:lnTo>
                      <a:pt x="699" y="984"/>
                    </a:lnTo>
                    <a:lnTo>
                      <a:pt x="703" y="980"/>
                    </a:lnTo>
                    <a:lnTo>
                      <a:pt x="706" y="975"/>
                    </a:lnTo>
                    <a:lnTo>
                      <a:pt x="711" y="971"/>
                    </a:lnTo>
                    <a:lnTo>
                      <a:pt x="716" y="967"/>
                    </a:lnTo>
                    <a:lnTo>
                      <a:pt x="722" y="965"/>
                    </a:lnTo>
                    <a:lnTo>
                      <a:pt x="728" y="963"/>
                    </a:lnTo>
                    <a:lnTo>
                      <a:pt x="734" y="962"/>
                    </a:lnTo>
                    <a:lnTo>
                      <a:pt x="751" y="963"/>
                    </a:lnTo>
                    <a:lnTo>
                      <a:pt x="768" y="964"/>
                    </a:lnTo>
                    <a:lnTo>
                      <a:pt x="784" y="966"/>
                    </a:lnTo>
                    <a:lnTo>
                      <a:pt x="800" y="968"/>
                    </a:lnTo>
                    <a:lnTo>
                      <a:pt x="815" y="970"/>
                    </a:lnTo>
                    <a:lnTo>
                      <a:pt x="831" y="971"/>
                    </a:lnTo>
                    <a:lnTo>
                      <a:pt x="848" y="971"/>
                    </a:lnTo>
                    <a:lnTo>
                      <a:pt x="865" y="968"/>
                    </a:lnTo>
                    <a:lnTo>
                      <a:pt x="869" y="978"/>
                    </a:lnTo>
                    <a:lnTo>
                      <a:pt x="872" y="987"/>
                    </a:lnTo>
                    <a:lnTo>
                      <a:pt x="878" y="994"/>
                    </a:lnTo>
                    <a:lnTo>
                      <a:pt x="884" y="1002"/>
                    </a:lnTo>
                    <a:lnTo>
                      <a:pt x="890" y="1009"/>
                    </a:lnTo>
                    <a:lnTo>
                      <a:pt x="896" y="1014"/>
                    </a:lnTo>
                    <a:lnTo>
                      <a:pt x="904" y="1020"/>
                    </a:lnTo>
                    <a:lnTo>
                      <a:pt x="912" y="1026"/>
                    </a:lnTo>
                    <a:lnTo>
                      <a:pt x="922" y="1030"/>
                    </a:lnTo>
                    <a:lnTo>
                      <a:pt x="931" y="1034"/>
                    </a:lnTo>
                    <a:lnTo>
                      <a:pt x="940" y="1037"/>
                    </a:lnTo>
                    <a:lnTo>
                      <a:pt x="950" y="1041"/>
                    </a:lnTo>
                    <a:lnTo>
                      <a:pt x="961" y="1043"/>
                    </a:lnTo>
                    <a:lnTo>
                      <a:pt x="970" y="1044"/>
                    </a:lnTo>
                    <a:lnTo>
                      <a:pt x="981" y="1045"/>
                    </a:lnTo>
                    <a:lnTo>
                      <a:pt x="992" y="1045"/>
                    </a:lnTo>
                    <a:lnTo>
                      <a:pt x="986" y="1068"/>
                    </a:lnTo>
                    <a:lnTo>
                      <a:pt x="981" y="1090"/>
                    </a:lnTo>
                    <a:lnTo>
                      <a:pt x="978" y="1112"/>
                    </a:lnTo>
                    <a:lnTo>
                      <a:pt x="974" y="1132"/>
                    </a:lnTo>
                    <a:lnTo>
                      <a:pt x="973" y="1153"/>
                    </a:lnTo>
                    <a:lnTo>
                      <a:pt x="974" y="1175"/>
                    </a:lnTo>
                    <a:lnTo>
                      <a:pt x="976" y="1186"/>
                    </a:lnTo>
                    <a:lnTo>
                      <a:pt x="978" y="1197"/>
                    </a:lnTo>
                    <a:lnTo>
                      <a:pt x="980" y="1208"/>
                    </a:lnTo>
                    <a:lnTo>
                      <a:pt x="985" y="1220"/>
                    </a:lnTo>
                    <a:lnTo>
                      <a:pt x="994" y="1218"/>
                    </a:lnTo>
                    <a:lnTo>
                      <a:pt x="1004" y="1216"/>
                    </a:lnTo>
                    <a:lnTo>
                      <a:pt x="1013" y="1213"/>
                    </a:lnTo>
                    <a:lnTo>
                      <a:pt x="1023" y="1208"/>
                    </a:lnTo>
                    <a:lnTo>
                      <a:pt x="1031" y="1204"/>
                    </a:lnTo>
                    <a:lnTo>
                      <a:pt x="1039" y="1197"/>
                    </a:lnTo>
                    <a:lnTo>
                      <a:pt x="1047" y="1190"/>
                    </a:lnTo>
                    <a:lnTo>
                      <a:pt x="1054" y="1182"/>
                    </a:lnTo>
                    <a:lnTo>
                      <a:pt x="1067" y="1167"/>
                    </a:lnTo>
                    <a:lnTo>
                      <a:pt x="1080" y="1152"/>
                    </a:lnTo>
                    <a:lnTo>
                      <a:pt x="1091" y="1139"/>
                    </a:lnTo>
                    <a:lnTo>
                      <a:pt x="1103" y="1129"/>
                    </a:lnTo>
                    <a:lnTo>
                      <a:pt x="1114" y="1142"/>
                    </a:lnTo>
                    <a:lnTo>
                      <a:pt x="1127" y="1153"/>
                    </a:lnTo>
                    <a:lnTo>
                      <a:pt x="1138" y="1163"/>
                    </a:lnTo>
                    <a:lnTo>
                      <a:pt x="1151" y="1173"/>
                    </a:lnTo>
                    <a:lnTo>
                      <a:pt x="1165" y="1181"/>
                    </a:lnTo>
                    <a:lnTo>
                      <a:pt x="1177" y="1189"/>
                    </a:lnTo>
                    <a:lnTo>
                      <a:pt x="1191" y="1196"/>
                    </a:lnTo>
                    <a:lnTo>
                      <a:pt x="1205" y="1200"/>
                    </a:lnTo>
                    <a:lnTo>
                      <a:pt x="1220" y="1206"/>
                    </a:lnTo>
                    <a:lnTo>
                      <a:pt x="1235" y="1209"/>
                    </a:lnTo>
                    <a:lnTo>
                      <a:pt x="1251" y="1213"/>
                    </a:lnTo>
                    <a:lnTo>
                      <a:pt x="1267" y="1215"/>
                    </a:lnTo>
                    <a:lnTo>
                      <a:pt x="1284" y="1217"/>
                    </a:lnTo>
                    <a:lnTo>
                      <a:pt x="1301" y="1218"/>
                    </a:lnTo>
                    <a:lnTo>
                      <a:pt x="1321" y="1220"/>
                    </a:lnTo>
                    <a:lnTo>
                      <a:pt x="1339" y="1220"/>
                    </a:lnTo>
                    <a:lnTo>
                      <a:pt x="1353" y="1220"/>
                    </a:lnTo>
                    <a:lnTo>
                      <a:pt x="1367" y="1220"/>
                    </a:lnTo>
                    <a:lnTo>
                      <a:pt x="1379" y="1220"/>
                    </a:lnTo>
                    <a:lnTo>
                      <a:pt x="1391" y="1220"/>
                    </a:lnTo>
                    <a:lnTo>
                      <a:pt x="1401" y="1220"/>
                    </a:lnTo>
                    <a:lnTo>
                      <a:pt x="1409" y="1220"/>
                    </a:lnTo>
                    <a:lnTo>
                      <a:pt x="1414" y="1220"/>
                    </a:lnTo>
                    <a:lnTo>
                      <a:pt x="1416" y="1220"/>
                    </a:lnTo>
                    <a:lnTo>
                      <a:pt x="1423" y="1221"/>
                    </a:lnTo>
                    <a:lnTo>
                      <a:pt x="1427" y="1221"/>
                    </a:lnTo>
                    <a:lnTo>
                      <a:pt x="1433" y="1218"/>
                    </a:lnTo>
                    <a:lnTo>
                      <a:pt x="1438" y="1216"/>
                    </a:lnTo>
                    <a:lnTo>
                      <a:pt x="1448" y="1210"/>
                    </a:lnTo>
                    <a:lnTo>
                      <a:pt x="1458" y="1200"/>
                    </a:lnTo>
                    <a:lnTo>
                      <a:pt x="1469" y="1190"/>
                    </a:lnTo>
                    <a:lnTo>
                      <a:pt x="1482" y="1177"/>
                    </a:lnTo>
                    <a:lnTo>
                      <a:pt x="1490" y="1170"/>
                    </a:lnTo>
                    <a:lnTo>
                      <a:pt x="1500" y="1163"/>
                    </a:lnTo>
                    <a:lnTo>
                      <a:pt x="1509" y="1157"/>
                    </a:lnTo>
                    <a:lnTo>
                      <a:pt x="1520" y="1150"/>
                    </a:lnTo>
                    <a:lnTo>
                      <a:pt x="1493" y="115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12" name="Freeform 531"/>
              <p:cNvSpPr>
                <a:spLocks/>
              </p:cNvSpPr>
              <p:nvPr/>
            </p:nvSpPr>
            <p:spPr bwMode="auto">
              <a:xfrm>
                <a:off x="495" y="2442"/>
                <a:ext cx="659" cy="857"/>
              </a:xfrm>
              <a:custGeom>
                <a:avLst/>
                <a:gdLst>
                  <a:gd name="T0" fmla="*/ 4 w 3572"/>
                  <a:gd name="T1" fmla="*/ 8 h 4645"/>
                  <a:gd name="T2" fmla="*/ 5 w 3572"/>
                  <a:gd name="T3" fmla="*/ 8 h 4645"/>
                  <a:gd name="T4" fmla="*/ 6 w 3572"/>
                  <a:gd name="T5" fmla="*/ 8 h 4645"/>
                  <a:gd name="T6" fmla="*/ 7 w 3572"/>
                  <a:gd name="T7" fmla="*/ 8 h 4645"/>
                  <a:gd name="T8" fmla="*/ 7 w 3572"/>
                  <a:gd name="T9" fmla="*/ 6 h 4645"/>
                  <a:gd name="T10" fmla="*/ 8 w 3572"/>
                  <a:gd name="T11" fmla="*/ 6 h 4645"/>
                  <a:gd name="T12" fmla="*/ 8 w 3572"/>
                  <a:gd name="T13" fmla="*/ 5 h 4645"/>
                  <a:gd name="T14" fmla="*/ 10 w 3572"/>
                  <a:gd name="T15" fmla="*/ 5 h 4645"/>
                  <a:gd name="T16" fmla="*/ 11 w 3572"/>
                  <a:gd name="T17" fmla="*/ 4 h 4645"/>
                  <a:gd name="T18" fmla="*/ 12 w 3572"/>
                  <a:gd name="T19" fmla="*/ 4 h 4645"/>
                  <a:gd name="T20" fmla="*/ 13 w 3572"/>
                  <a:gd name="T21" fmla="*/ 3 h 4645"/>
                  <a:gd name="T22" fmla="*/ 15 w 3572"/>
                  <a:gd name="T23" fmla="*/ 2 h 4645"/>
                  <a:gd name="T24" fmla="*/ 16 w 3572"/>
                  <a:gd name="T25" fmla="*/ 1 h 4645"/>
                  <a:gd name="T26" fmla="*/ 16 w 3572"/>
                  <a:gd name="T27" fmla="*/ 0 h 4645"/>
                  <a:gd name="T28" fmla="*/ 17 w 3572"/>
                  <a:gd name="T29" fmla="*/ 1 h 4645"/>
                  <a:gd name="T30" fmla="*/ 18 w 3572"/>
                  <a:gd name="T31" fmla="*/ 2 h 4645"/>
                  <a:gd name="T32" fmla="*/ 19 w 3572"/>
                  <a:gd name="T33" fmla="*/ 4 h 4645"/>
                  <a:gd name="T34" fmla="*/ 20 w 3572"/>
                  <a:gd name="T35" fmla="*/ 5 h 4645"/>
                  <a:gd name="T36" fmla="*/ 19 w 3572"/>
                  <a:gd name="T37" fmla="*/ 6 h 4645"/>
                  <a:gd name="T38" fmla="*/ 18 w 3572"/>
                  <a:gd name="T39" fmla="*/ 7 h 4645"/>
                  <a:gd name="T40" fmla="*/ 18 w 3572"/>
                  <a:gd name="T41" fmla="*/ 8 h 4645"/>
                  <a:gd name="T42" fmla="*/ 18 w 3572"/>
                  <a:gd name="T43" fmla="*/ 8 h 4645"/>
                  <a:gd name="T44" fmla="*/ 19 w 3572"/>
                  <a:gd name="T45" fmla="*/ 10 h 4645"/>
                  <a:gd name="T46" fmla="*/ 17 w 3572"/>
                  <a:gd name="T47" fmla="*/ 11 h 4645"/>
                  <a:gd name="T48" fmla="*/ 17 w 3572"/>
                  <a:gd name="T49" fmla="*/ 12 h 4645"/>
                  <a:gd name="T50" fmla="*/ 16 w 3572"/>
                  <a:gd name="T51" fmla="*/ 13 h 4645"/>
                  <a:gd name="T52" fmla="*/ 18 w 3572"/>
                  <a:gd name="T53" fmla="*/ 14 h 4645"/>
                  <a:gd name="T54" fmla="*/ 21 w 3572"/>
                  <a:gd name="T55" fmla="*/ 14 h 4645"/>
                  <a:gd name="T56" fmla="*/ 21 w 3572"/>
                  <a:gd name="T57" fmla="*/ 16 h 4645"/>
                  <a:gd name="T58" fmla="*/ 22 w 3572"/>
                  <a:gd name="T59" fmla="*/ 18 h 4645"/>
                  <a:gd name="T60" fmla="*/ 21 w 3572"/>
                  <a:gd name="T61" fmla="*/ 19 h 4645"/>
                  <a:gd name="T62" fmla="*/ 22 w 3572"/>
                  <a:gd name="T63" fmla="*/ 21 h 4645"/>
                  <a:gd name="T64" fmla="*/ 23 w 3572"/>
                  <a:gd name="T65" fmla="*/ 22 h 4645"/>
                  <a:gd name="T66" fmla="*/ 22 w 3572"/>
                  <a:gd name="T67" fmla="*/ 24 h 4645"/>
                  <a:gd name="T68" fmla="*/ 21 w 3572"/>
                  <a:gd name="T69" fmla="*/ 25 h 4645"/>
                  <a:gd name="T70" fmla="*/ 21 w 3572"/>
                  <a:gd name="T71" fmla="*/ 27 h 4645"/>
                  <a:gd name="T72" fmla="*/ 19 w 3572"/>
                  <a:gd name="T73" fmla="*/ 29 h 4645"/>
                  <a:gd name="T74" fmla="*/ 17 w 3572"/>
                  <a:gd name="T75" fmla="*/ 28 h 4645"/>
                  <a:gd name="T76" fmla="*/ 15 w 3572"/>
                  <a:gd name="T77" fmla="*/ 28 h 4645"/>
                  <a:gd name="T78" fmla="*/ 14 w 3572"/>
                  <a:gd name="T79" fmla="*/ 28 h 4645"/>
                  <a:gd name="T80" fmla="*/ 13 w 3572"/>
                  <a:gd name="T81" fmla="*/ 27 h 4645"/>
                  <a:gd name="T82" fmla="*/ 11 w 3572"/>
                  <a:gd name="T83" fmla="*/ 26 h 4645"/>
                  <a:gd name="T84" fmla="*/ 11 w 3572"/>
                  <a:gd name="T85" fmla="*/ 25 h 4645"/>
                  <a:gd name="T86" fmla="*/ 11 w 3572"/>
                  <a:gd name="T87" fmla="*/ 24 h 4645"/>
                  <a:gd name="T88" fmla="*/ 11 w 3572"/>
                  <a:gd name="T89" fmla="*/ 23 h 4645"/>
                  <a:gd name="T90" fmla="*/ 11 w 3572"/>
                  <a:gd name="T91" fmla="*/ 21 h 4645"/>
                  <a:gd name="T92" fmla="*/ 10 w 3572"/>
                  <a:gd name="T93" fmla="*/ 20 h 4645"/>
                  <a:gd name="T94" fmla="*/ 8 w 3572"/>
                  <a:gd name="T95" fmla="*/ 19 h 4645"/>
                  <a:gd name="T96" fmla="*/ 7 w 3572"/>
                  <a:gd name="T97" fmla="*/ 19 h 4645"/>
                  <a:gd name="T98" fmla="*/ 5 w 3572"/>
                  <a:gd name="T99" fmla="*/ 20 h 4645"/>
                  <a:gd name="T100" fmla="*/ 2 w 3572"/>
                  <a:gd name="T101" fmla="*/ 19 h 4645"/>
                  <a:gd name="T102" fmla="*/ 2 w 3572"/>
                  <a:gd name="T103" fmla="*/ 18 h 4645"/>
                  <a:gd name="T104" fmla="*/ 3 w 3572"/>
                  <a:gd name="T105" fmla="*/ 17 h 4645"/>
                  <a:gd name="T106" fmla="*/ 4 w 3572"/>
                  <a:gd name="T107" fmla="*/ 16 h 4645"/>
                  <a:gd name="T108" fmla="*/ 1 w 3572"/>
                  <a:gd name="T109" fmla="*/ 15 h 4645"/>
                  <a:gd name="T110" fmla="*/ 0 w 3572"/>
                  <a:gd name="T111" fmla="*/ 13 h 4645"/>
                  <a:gd name="T112" fmla="*/ 0 w 3572"/>
                  <a:gd name="T113" fmla="*/ 11 h 4645"/>
                  <a:gd name="T114" fmla="*/ 1 w 3572"/>
                  <a:gd name="T115" fmla="*/ 10 h 4645"/>
                  <a:gd name="T116" fmla="*/ 2 w 3572"/>
                  <a:gd name="T117" fmla="*/ 9 h 4645"/>
                  <a:gd name="T118" fmla="*/ 3 w 3572"/>
                  <a:gd name="T119" fmla="*/ 9 h 4645"/>
                  <a:gd name="T120" fmla="*/ 3 w 3572"/>
                  <a:gd name="T121" fmla="*/ 8 h 464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572"/>
                  <a:gd name="T184" fmla="*/ 0 h 4645"/>
                  <a:gd name="T185" fmla="*/ 3572 w 3572"/>
                  <a:gd name="T186" fmla="*/ 4645 h 464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572" h="4645">
                    <a:moveTo>
                      <a:pt x="439" y="1226"/>
                    </a:moveTo>
                    <a:lnTo>
                      <a:pt x="442" y="1223"/>
                    </a:lnTo>
                    <a:lnTo>
                      <a:pt x="447" y="1219"/>
                    </a:lnTo>
                    <a:lnTo>
                      <a:pt x="453" y="1216"/>
                    </a:lnTo>
                    <a:lnTo>
                      <a:pt x="460" y="1212"/>
                    </a:lnTo>
                    <a:lnTo>
                      <a:pt x="466" y="1210"/>
                    </a:lnTo>
                    <a:lnTo>
                      <a:pt x="472" y="1208"/>
                    </a:lnTo>
                    <a:lnTo>
                      <a:pt x="477" y="1206"/>
                    </a:lnTo>
                    <a:lnTo>
                      <a:pt x="480" y="1206"/>
                    </a:lnTo>
                    <a:lnTo>
                      <a:pt x="494" y="1206"/>
                    </a:lnTo>
                    <a:lnTo>
                      <a:pt x="505" y="1209"/>
                    </a:lnTo>
                    <a:lnTo>
                      <a:pt x="516" y="1214"/>
                    </a:lnTo>
                    <a:lnTo>
                      <a:pt x="525" y="1220"/>
                    </a:lnTo>
                    <a:lnTo>
                      <a:pt x="533" y="1227"/>
                    </a:lnTo>
                    <a:lnTo>
                      <a:pt x="540" y="1235"/>
                    </a:lnTo>
                    <a:lnTo>
                      <a:pt x="546" y="1245"/>
                    </a:lnTo>
                    <a:lnTo>
                      <a:pt x="551" y="1254"/>
                    </a:lnTo>
                    <a:lnTo>
                      <a:pt x="558" y="1263"/>
                    </a:lnTo>
                    <a:lnTo>
                      <a:pt x="564" y="1272"/>
                    </a:lnTo>
                    <a:lnTo>
                      <a:pt x="570" y="1280"/>
                    </a:lnTo>
                    <a:lnTo>
                      <a:pt x="576" y="1287"/>
                    </a:lnTo>
                    <a:lnTo>
                      <a:pt x="583" y="1294"/>
                    </a:lnTo>
                    <a:lnTo>
                      <a:pt x="593" y="1298"/>
                    </a:lnTo>
                    <a:lnTo>
                      <a:pt x="602" y="1302"/>
                    </a:lnTo>
                    <a:lnTo>
                      <a:pt x="613" y="1303"/>
                    </a:lnTo>
                    <a:lnTo>
                      <a:pt x="622" y="1302"/>
                    </a:lnTo>
                    <a:lnTo>
                      <a:pt x="633" y="1300"/>
                    </a:lnTo>
                    <a:lnTo>
                      <a:pt x="642" y="1296"/>
                    </a:lnTo>
                    <a:lnTo>
                      <a:pt x="650" y="1292"/>
                    </a:lnTo>
                    <a:lnTo>
                      <a:pt x="667" y="1280"/>
                    </a:lnTo>
                    <a:lnTo>
                      <a:pt x="683" y="1268"/>
                    </a:lnTo>
                    <a:lnTo>
                      <a:pt x="700" y="1255"/>
                    </a:lnTo>
                    <a:lnTo>
                      <a:pt x="718" y="1243"/>
                    </a:lnTo>
                    <a:lnTo>
                      <a:pt x="727" y="1239"/>
                    </a:lnTo>
                    <a:lnTo>
                      <a:pt x="737" y="1235"/>
                    </a:lnTo>
                    <a:lnTo>
                      <a:pt x="747" y="1233"/>
                    </a:lnTo>
                    <a:lnTo>
                      <a:pt x="759" y="1233"/>
                    </a:lnTo>
                    <a:lnTo>
                      <a:pt x="769" y="1233"/>
                    </a:lnTo>
                    <a:lnTo>
                      <a:pt x="777" y="1235"/>
                    </a:lnTo>
                    <a:lnTo>
                      <a:pt x="784" y="1238"/>
                    </a:lnTo>
                    <a:lnTo>
                      <a:pt x="790" y="1242"/>
                    </a:lnTo>
                    <a:lnTo>
                      <a:pt x="795" y="1247"/>
                    </a:lnTo>
                    <a:lnTo>
                      <a:pt x="800" y="1251"/>
                    </a:lnTo>
                    <a:lnTo>
                      <a:pt x="804" y="1257"/>
                    </a:lnTo>
                    <a:lnTo>
                      <a:pt x="806" y="1263"/>
                    </a:lnTo>
                    <a:lnTo>
                      <a:pt x="810" y="1276"/>
                    </a:lnTo>
                    <a:lnTo>
                      <a:pt x="814" y="1288"/>
                    </a:lnTo>
                    <a:lnTo>
                      <a:pt x="817" y="1301"/>
                    </a:lnTo>
                    <a:lnTo>
                      <a:pt x="822" y="1310"/>
                    </a:lnTo>
                    <a:lnTo>
                      <a:pt x="870" y="1310"/>
                    </a:lnTo>
                    <a:lnTo>
                      <a:pt x="871" y="1304"/>
                    </a:lnTo>
                    <a:lnTo>
                      <a:pt x="875" y="1298"/>
                    </a:lnTo>
                    <a:lnTo>
                      <a:pt x="878" y="1293"/>
                    </a:lnTo>
                    <a:lnTo>
                      <a:pt x="884" y="1287"/>
                    </a:lnTo>
                    <a:lnTo>
                      <a:pt x="892" y="1282"/>
                    </a:lnTo>
                    <a:lnTo>
                      <a:pt x="900" y="1278"/>
                    </a:lnTo>
                    <a:lnTo>
                      <a:pt x="909" y="1276"/>
                    </a:lnTo>
                    <a:lnTo>
                      <a:pt x="919" y="1274"/>
                    </a:lnTo>
                    <a:lnTo>
                      <a:pt x="924" y="1287"/>
                    </a:lnTo>
                    <a:lnTo>
                      <a:pt x="930" y="1296"/>
                    </a:lnTo>
                    <a:lnTo>
                      <a:pt x="935" y="1303"/>
                    </a:lnTo>
                    <a:lnTo>
                      <a:pt x="942" y="1309"/>
                    </a:lnTo>
                    <a:lnTo>
                      <a:pt x="949" y="1312"/>
                    </a:lnTo>
                    <a:lnTo>
                      <a:pt x="956" y="1315"/>
                    </a:lnTo>
                    <a:lnTo>
                      <a:pt x="965" y="1316"/>
                    </a:lnTo>
                    <a:lnTo>
                      <a:pt x="974" y="1317"/>
                    </a:lnTo>
                    <a:lnTo>
                      <a:pt x="994" y="1316"/>
                    </a:lnTo>
                    <a:lnTo>
                      <a:pt x="1011" y="1312"/>
                    </a:lnTo>
                    <a:lnTo>
                      <a:pt x="1019" y="1310"/>
                    </a:lnTo>
                    <a:lnTo>
                      <a:pt x="1026" y="1308"/>
                    </a:lnTo>
                    <a:lnTo>
                      <a:pt x="1032" y="1304"/>
                    </a:lnTo>
                    <a:lnTo>
                      <a:pt x="1037" y="1301"/>
                    </a:lnTo>
                    <a:lnTo>
                      <a:pt x="1042" y="1296"/>
                    </a:lnTo>
                    <a:lnTo>
                      <a:pt x="1047" y="1292"/>
                    </a:lnTo>
                    <a:lnTo>
                      <a:pt x="1050" y="1287"/>
                    </a:lnTo>
                    <a:lnTo>
                      <a:pt x="1053" y="1281"/>
                    </a:lnTo>
                    <a:lnTo>
                      <a:pt x="1056" y="1276"/>
                    </a:lnTo>
                    <a:lnTo>
                      <a:pt x="1057" y="1269"/>
                    </a:lnTo>
                    <a:lnTo>
                      <a:pt x="1058" y="1262"/>
                    </a:lnTo>
                    <a:lnTo>
                      <a:pt x="1058" y="1254"/>
                    </a:lnTo>
                    <a:lnTo>
                      <a:pt x="1059" y="1238"/>
                    </a:lnTo>
                    <a:lnTo>
                      <a:pt x="1058" y="1222"/>
                    </a:lnTo>
                    <a:lnTo>
                      <a:pt x="1056" y="1208"/>
                    </a:lnTo>
                    <a:lnTo>
                      <a:pt x="1052" y="1194"/>
                    </a:lnTo>
                    <a:lnTo>
                      <a:pt x="1044" y="1169"/>
                    </a:lnTo>
                    <a:lnTo>
                      <a:pt x="1034" y="1146"/>
                    </a:lnTo>
                    <a:lnTo>
                      <a:pt x="1024" y="1124"/>
                    </a:lnTo>
                    <a:lnTo>
                      <a:pt x="1016" y="1104"/>
                    </a:lnTo>
                    <a:lnTo>
                      <a:pt x="1012" y="1092"/>
                    </a:lnTo>
                    <a:lnTo>
                      <a:pt x="1010" y="1082"/>
                    </a:lnTo>
                    <a:lnTo>
                      <a:pt x="1009" y="1070"/>
                    </a:lnTo>
                    <a:lnTo>
                      <a:pt x="1010" y="1059"/>
                    </a:lnTo>
                    <a:lnTo>
                      <a:pt x="1010" y="1052"/>
                    </a:lnTo>
                    <a:lnTo>
                      <a:pt x="1011" y="1046"/>
                    </a:lnTo>
                    <a:lnTo>
                      <a:pt x="1012" y="1039"/>
                    </a:lnTo>
                    <a:lnTo>
                      <a:pt x="1014" y="1034"/>
                    </a:lnTo>
                    <a:lnTo>
                      <a:pt x="1020" y="1021"/>
                    </a:lnTo>
                    <a:lnTo>
                      <a:pt x="1027" y="1011"/>
                    </a:lnTo>
                    <a:lnTo>
                      <a:pt x="1035" y="1001"/>
                    </a:lnTo>
                    <a:lnTo>
                      <a:pt x="1045" y="995"/>
                    </a:lnTo>
                    <a:lnTo>
                      <a:pt x="1050" y="992"/>
                    </a:lnTo>
                    <a:lnTo>
                      <a:pt x="1055" y="991"/>
                    </a:lnTo>
                    <a:lnTo>
                      <a:pt x="1060" y="990"/>
                    </a:lnTo>
                    <a:lnTo>
                      <a:pt x="1065" y="989"/>
                    </a:lnTo>
                    <a:lnTo>
                      <a:pt x="1074" y="991"/>
                    </a:lnTo>
                    <a:lnTo>
                      <a:pt x="1082" y="995"/>
                    </a:lnTo>
                    <a:lnTo>
                      <a:pt x="1089" y="998"/>
                    </a:lnTo>
                    <a:lnTo>
                      <a:pt x="1096" y="1003"/>
                    </a:lnTo>
                    <a:lnTo>
                      <a:pt x="1108" y="1014"/>
                    </a:lnTo>
                    <a:lnTo>
                      <a:pt x="1120" y="1028"/>
                    </a:lnTo>
                    <a:lnTo>
                      <a:pt x="1131" y="1040"/>
                    </a:lnTo>
                    <a:lnTo>
                      <a:pt x="1143" y="1052"/>
                    </a:lnTo>
                    <a:lnTo>
                      <a:pt x="1149" y="1056"/>
                    </a:lnTo>
                    <a:lnTo>
                      <a:pt x="1155" y="1061"/>
                    </a:lnTo>
                    <a:lnTo>
                      <a:pt x="1162" y="1063"/>
                    </a:lnTo>
                    <a:lnTo>
                      <a:pt x="1169" y="1066"/>
                    </a:lnTo>
                    <a:lnTo>
                      <a:pt x="1178" y="1066"/>
                    </a:lnTo>
                    <a:lnTo>
                      <a:pt x="1185" y="1065"/>
                    </a:lnTo>
                    <a:lnTo>
                      <a:pt x="1192" y="1063"/>
                    </a:lnTo>
                    <a:lnTo>
                      <a:pt x="1198" y="1061"/>
                    </a:lnTo>
                    <a:lnTo>
                      <a:pt x="1204" y="1059"/>
                    </a:lnTo>
                    <a:lnTo>
                      <a:pt x="1209" y="1055"/>
                    </a:lnTo>
                    <a:lnTo>
                      <a:pt x="1214" y="1052"/>
                    </a:lnTo>
                    <a:lnTo>
                      <a:pt x="1217" y="1048"/>
                    </a:lnTo>
                    <a:lnTo>
                      <a:pt x="1224" y="1040"/>
                    </a:lnTo>
                    <a:lnTo>
                      <a:pt x="1229" y="1030"/>
                    </a:lnTo>
                    <a:lnTo>
                      <a:pt x="1232" y="1019"/>
                    </a:lnTo>
                    <a:lnTo>
                      <a:pt x="1235" y="1007"/>
                    </a:lnTo>
                    <a:lnTo>
                      <a:pt x="1236" y="995"/>
                    </a:lnTo>
                    <a:lnTo>
                      <a:pt x="1237" y="982"/>
                    </a:lnTo>
                    <a:lnTo>
                      <a:pt x="1236" y="969"/>
                    </a:lnTo>
                    <a:lnTo>
                      <a:pt x="1236" y="957"/>
                    </a:lnTo>
                    <a:lnTo>
                      <a:pt x="1233" y="933"/>
                    </a:lnTo>
                    <a:lnTo>
                      <a:pt x="1232" y="912"/>
                    </a:lnTo>
                    <a:lnTo>
                      <a:pt x="1233" y="903"/>
                    </a:lnTo>
                    <a:lnTo>
                      <a:pt x="1237" y="892"/>
                    </a:lnTo>
                    <a:lnTo>
                      <a:pt x="1241" y="884"/>
                    </a:lnTo>
                    <a:lnTo>
                      <a:pt x="1248" y="876"/>
                    </a:lnTo>
                    <a:lnTo>
                      <a:pt x="1256" y="868"/>
                    </a:lnTo>
                    <a:lnTo>
                      <a:pt x="1266" y="862"/>
                    </a:lnTo>
                    <a:lnTo>
                      <a:pt x="1275" y="856"/>
                    </a:lnTo>
                    <a:lnTo>
                      <a:pt x="1285" y="850"/>
                    </a:lnTo>
                    <a:lnTo>
                      <a:pt x="1297" y="845"/>
                    </a:lnTo>
                    <a:lnTo>
                      <a:pt x="1308" y="841"/>
                    </a:lnTo>
                    <a:lnTo>
                      <a:pt x="1318" y="837"/>
                    </a:lnTo>
                    <a:lnTo>
                      <a:pt x="1330" y="834"/>
                    </a:lnTo>
                    <a:lnTo>
                      <a:pt x="1349" y="831"/>
                    </a:lnTo>
                    <a:lnTo>
                      <a:pt x="1365" y="829"/>
                    </a:lnTo>
                    <a:lnTo>
                      <a:pt x="1376" y="828"/>
                    </a:lnTo>
                    <a:lnTo>
                      <a:pt x="1386" y="826"/>
                    </a:lnTo>
                    <a:lnTo>
                      <a:pt x="1394" y="823"/>
                    </a:lnTo>
                    <a:lnTo>
                      <a:pt x="1402" y="818"/>
                    </a:lnTo>
                    <a:lnTo>
                      <a:pt x="1415" y="808"/>
                    </a:lnTo>
                    <a:lnTo>
                      <a:pt x="1426" y="795"/>
                    </a:lnTo>
                    <a:lnTo>
                      <a:pt x="1438" y="784"/>
                    </a:lnTo>
                    <a:lnTo>
                      <a:pt x="1450" y="773"/>
                    </a:lnTo>
                    <a:lnTo>
                      <a:pt x="1457" y="770"/>
                    </a:lnTo>
                    <a:lnTo>
                      <a:pt x="1465" y="767"/>
                    </a:lnTo>
                    <a:lnTo>
                      <a:pt x="1473" y="766"/>
                    </a:lnTo>
                    <a:lnTo>
                      <a:pt x="1483" y="766"/>
                    </a:lnTo>
                    <a:lnTo>
                      <a:pt x="1493" y="766"/>
                    </a:lnTo>
                    <a:lnTo>
                      <a:pt x="1501" y="766"/>
                    </a:lnTo>
                    <a:lnTo>
                      <a:pt x="1506" y="766"/>
                    </a:lnTo>
                    <a:lnTo>
                      <a:pt x="1512" y="766"/>
                    </a:lnTo>
                    <a:lnTo>
                      <a:pt x="1515" y="766"/>
                    </a:lnTo>
                    <a:lnTo>
                      <a:pt x="1519" y="766"/>
                    </a:lnTo>
                    <a:lnTo>
                      <a:pt x="1522" y="766"/>
                    </a:lnTo>
                    <a:lnTo>
                      <a:pt x="1525" y="766"/>
                    </a:lnTo>
                    <a:lnTo>
                      <a:pt x="1530" y="765"/>
                    </a:lnTo>
                    <a:lnTo>
                      <a:pt x="1536" y="764"/>
                    </a:lnTo>
                    <a:lnTo>
                      <a:pt x="1542" y="761"/>
                    </a:lnTo>
                    <a:lnTo>
                      <a:pt x="1549" y="757"/>
                    </a:lnTo>
                    <a:lnTo>
                      <a:pt x="1554" y="751"/>
                    </a:lnTo>
                    <a:lnTo>
                      <a:pt x="1559" y="746"/>
                    </a:lnTo>
                    <a:lnTo>
                      <a:pt x="1564" y="739"/>
                    </a:lnTo>
                    <a:lnTo>
                      <a:pt x="1567" y="732"/>
                    </a:lnTo>
                    <a:lnTo>
                      <a:pt x="1582" y="737"/>
                    </a:lnTo>
                    <a:lnTo>
                      <a:pt x="1597" y="739"/>
                    </a:lnTo>
                    <a:lnTo>
                      <a:pt x="1608" y="739"/>
                    </a:lnTo>
                    <a:lnTo>
                      <a:pt x="1619" y="738"/>
                    </a:lnTo>
                    <a:lnTo>
                      <a:pt x="1628" y="734"/>
                    </a:lnTo>
                    <a:lnTo>
                      <a:pt x="1637" y="730"/>
                    </a:lnTo>
                    <a:lnTo>
                      <a:pt x="1644" y="724"/>
                    </a:lnTo>
                    <a:lnTo>
                      <a:pt x="1651" y="717"/>
                    </a:lnTo>
                    <a:lnTo>
                      <a:pt x="1665" y="704"/>
                    </a:lnTo>
                    <a:lnTo>
                      <a:pt x="1679" y="692"/>
                    </a:lnTo>
                    <a:lnTo>
                      <a:pt x="1687" y="687"/>
                    </a:lnTo>
                    <a:lnTo>
                      <a:pt x="1697" y="684"/>
                    </a:lnTo>
                    <a:lnTo>
                      <a:pt x="1708" y="683"/>
                    </a:lnTo>
                    <a:lnTo>
                      <a:pt x="1720" y="683"/>
                    </a:lnTo>
                    <a:lnTo>
                      <a:pt x="1734" y="683"/>
                    </a:lnTo>
                    <a:lnTo>
                      <a:pt x="1747" y="683"/>
                    </a:lnTo>
                    <a:lnTo>
                      <a:pt x="1759" y="683"/>
                    </a:lnTo>
                    <a:lnTo>
                      <a:pt x="1770" y="683"/>
                    </a:lnTo>
                    <a:lnTo>
                      <a:pt x="1779" y="683"/>
                    </a:lnTo>
                    <a:lnTo>
                      <a:pt x="1787" y="683"/>
                    </a:lnTo>
                    <a:lnTo>
                      <a:pt x="1795" y="683"/>
                    </a:lnTo>
                    <a:lnTo>
                      <a:pt x="1803" y="683"/>
                    </a:lnTo>
                    <a:lnTo>
                      <a:pt x="1822" y="684"/>
                    </a:lnTo>
                    <a:lnTo>
                      <a:pt x="1841" y="686"/>
                    </a:lnTo>
                    <a:lnTo>
                      <a:pt x="1859" y="689"/>
                    </a:lnTo>
                    <a:lnTo>
                      <a:pt x="1878" y="691"/>
                    </a:lnTo>
                    <a:lnTo>
                      <a:pt x="1886" y="691"/>
                    </a:lnTo>
                    <a:lnTo>
                      <a:pt x="1895" y="689"/>
                    </a:lnTo>
                    <a:lnTo>
                      <a:pt x="1903" y="688"/>
                    </a:lnTo>
                    <a:lnTo>
                      <a:pt x="1910" y="686"/>
                    </a:lnTo>
                    <a:lnTo>
                      <a:pt x="1917" y="681"/>
                    </a:lnTo>
                    <a:lnTo>
                      <a:pt x="1924" y="677"/>
                    </a:lnTo>
                    <a:lnTo>
                      <a:pt x="1931" y="670"/>
                    </a:lnTo>
                    <a:lnTo>
                      <a:pt x="1935" y="662"/>
                    </a:lnTo>
                    <a:lnTo>
                      <a:pt x="1943" y="650"/>
                    </a:lnTo>
                    <a:lnTo>
                      <a:pt x="1948" y="638"/>
                    </a:lnTo>
                    <a:lnTo>
                      <a:pt x="1952" y="626"/>
                    </a:lnTo>
                    <a:lnTo>
                      <a:pt x="1955" y="615"/>
                    </a:lnTo>
                    <a:lnTo>
                      <a:pt x="1958" y="592"/>
                    </a:lnTo>
                    <a:lnTo>
                      <a:pt x="1960" y="570"/>
                    </a:lnTo>
                    <a:lnTo>
                      <a:pt x="1961" y="550"/>
                    </a:lnTo>
                    <a:lnTo>
                      <a:pt x="1965" y="530"/>
                    </a:lnTo>
                    <a:lnTo>
                      <a:pt x="1968" y="520"/>
                    </a:lnTo>
                    <a:lnTo>
                      <a:pt x="1972" y="512"/>
                    </a:lnTo>
                    <a:lnTo>
                      <a:pt x="1978" y="503"/>
                    </a:lnTo>
                    <a:lnTo>
                      <a:pt x="1984" y="495"/>
                    </a:lnTo>
                    <a:lnTo>
                      <a:pt x="1995" y="499"/>
                    </a:lnTo>
                    <a:lnTo>
                      <a:pt x="2003" y="500"/>
                    </a:lnTo>
                    <a:lnTo>
                      <a:pt x="2011" y="500"/>
                    </a:lnTo>
                    <a:lnTo>
                      <a:pt x="2019" y="500"/>
                    </a:lnTo>
                    <a:lnTo>
                      <a:pt x="2027" y="498"/>
                    </a:lnTo>
                    <a:lnTo>
                      <a:pt x="2035" y="497"/>
                    </a:lnTo>
                    <a:lnTo>
                      <a:pt x="2044" y="496"/>
                    </a:lnTo>
                    <a:lnTo>
                      <a:pt x="2054" y="495"/>
                    </a:lnTo>
                    <a:lnTo>
                      <a:pt x="2068" y="493"/>
                    </a:lnTo>
                    <a:lnTo>
                      <a:pt x="2089" y="491"/>
                    </a:lnTo>
                    <a:lnTo>
                      <a:pt x="2113" y="488"/>
                    </a:lnTo>
                    <a:lnTo>
                      <a:pt x="2140" y="482"/>
                    </a:lnTo>
                    <a:lnTo>
                      <a:pt x="2170" y="476"/>
                    </a:lnTo>
                    <a:lnTo>
                      <a:pt x="2202" y="468"/>
                    </a:lnTo>
                    <a:lnTo>
                      <a:pt x="2236" y="459"/>
                    </a:lnTo>
                    <a:lnTo>
                      <a:pt x="2269" y="450"/>
                    </a:lnTo>
                    <a:lnTo>
                      <a:pt x="2302" y="438"/>
                    </a:lnTo>
                    <a:lnTo>
                      <a:pt x="2332" y="427"/>
                    </a:lnTo>
                    <a:lnTo>
                      <a:pt x="2360" y="414"/>
                    </a:lnTo>
                    <a:lnTo>
                      <a:pt x="2386" y="400"/>
                    </a:lnTo>
                    <a:lnTo>
                      <a:pt x="2397" y="394"/>
                    </a:lnTo>
                    <a:lnTo>
                      <a:pt x="2407" y="387"/>
                    </a:lnTo>
                    <a:lnTo>
                      <a:pt x="2416" y="380"/>
                    </a:lnTo>
                    <a:lnTo>
                      <a:pt x="2424" y="372"/>
                    </a:lnTo>
                    <a:lnTo>
                      <a:pt x="2429" y="365"/>
                    </a:lnTo>
                    <a:lnTo>
                      <a:pt x="2434" y="357"/>
                    </a:lnTo>
                    <a:lnTo>
                      <a:pt x="2436" y="349"/>
                    </a:lnTo>
                    <a:lnTo>
                      <a:pt x="2437" y="341"/>
                    </a:lnTo>
                    <a:lnTo>
                      <a:pt x="2437" y="328"/>
                    </a:lnTo>
                    <a:lnTo>
                      <a:pt x="2437" y="319"/>
                    </a:lnTo>
                    <a:lnTo>
                      <a:pt x="2437" y="313"/>
                    </a:lnTo>
                    <a:lnTo>
                      <a:pt x="2437" y="309"/>
                    </a:lnTo>
                    <a:lnTo>
                      <a:pt x="2437" y="304"/>
                    </a:lnTo>
                    <a:lnTo>
                      <a:pt x="2437" y="301"/>
                    </a:lnTo>
                    <a:lnTo>
                      <a:pt x="2437" y="294"/>
                    </a:lnTo>
                    <a:lnTo>
                      <a:pt x="2437" y="286"/>
                    </a:lnTo>
                    <a:lnTo>
                      <a:pt x="2440" y="273"/>
                    </a:lnTo>
                    <a:lnTo>
                      <a:pt x="2443" y="264"/>
                    </a:lnTo>
                    <a:lnTo>
                      <a:pt x="2445" y="259"/>
                    </a:lnTo>
                    <a:lnTo>
                      <a:pt x="2448" y="257"/>
                    </a:lnTo>
                    <a:lnTo>
                      <a:pt x="2450" y="255"/>
                    </a:lnTo>
                    <a:lnTo>
                      <a:pt x="2453" y="253"/>
                    </a:lnTo>
                    <a:lnTo>
                      <a:pt x="2460" y="249"/>
                    </a:lnTo>
                    <a:lnTo>
                      <a:pt x="2468" y="248"/>
                    </a:lnTo>
                    <a:lnTo>
                      <a:pt x="2477" y="248"/>
                    </a:lnTo>
                    <a:lnTo>
                      <a:pt x="2487" y="248"/>
                    </a:lnTo>
                    <a:lnTo>
                      <a:pt x="2496" y="249"/>
                    </a:lnTo>
                    <a:lnTo>
                      <a:pt x="2506" y="248"/>
                    </a:lnTo>
                    <a:lnTo>
                      <a:pt x="2516" y="248"/>
                    </a:lnTo>
                    <a:lnTo>
                      <a:pt x="2526" y="246"/>
                    </a:lnTo>
                    <a:lnTo>
                      <a:pt x="2536" y="242"/>
                    </a:lnTo>
                    <a:lnTo>
                      <a:pt x="2545" y="236"/>
                    </a:lnTo>
                    <a:lnTo>
                      <a:pt x="2550" y="232"/>
                    </a:lnTo>
                    <a:lnTo>
                      <a:pt x="2554" y="227"/>
                    </a:lnTo>
                    <a:lnTo>
                      <a:pt x="2559" y="223"/>
                    </a:lnTo>
                    <a:lnTo>
                      <a:pt x="2562" y="216"/>
                    </a:lnTo>
                    <a:lnTo>
                      <a:pt x="2566" y="209"/>
                    </a:lnTo>
                    <a:lnTo>
                      <a:pt x="2569" y="202"/>
                    </a:lnTo>
                    <a:lnTo>
                      <a:pt x="2570" y="195"/>
                    </a:lnTo>
                    <a:lnTo>
                      <a:pt x="2573" y="187"/>
                    </a:lnTo>
                    <a:lnTo>
                      <a:pt x="2574" y="170"/>
                    </a:lnTo>
                    <a:lnTo>
                      <a:pt x="2574" y="153"/>
                    </a:lnTo>
                    <a:lnTo>
                      <a:pt x="2570" y="117"/>
                    </a:lnTo>
                    <a:lnTo>
                      <a:pt x="2568" y="82"/>
                    </a:lnTo>
                    <a:lnTo>
                      <a:pt x="2569" y="66"/>
                    </a:lnTo>
                    <a:lnTo>
                      <a:pt x="2571" y="50"/>
                    </a:lnTo>
                    <a:lnTo>
                      <a:pt x="2573" y="43"/>
                    </a:lnTo>
                    <a:lnTo>
                      <a:pt x="2576" y="36"/>
                    </a:lnTo>
                    <a:lnTo>
                      <a:pt x="2578" y="30"/>
                    </a:lnTo>
                    <a:lnTo>
                      <a:pt x="2583" y="24"/>
                    </a:lnTo>
                    <a:lnTo>
                      <a:pt x="2588" y="19"/>
                    </a:lnTo>
                    <a:lnTo>
                      <a:pt x="2593" y="14"/>
                    </a:lnTo>
                    <a:lnTo>
                      <a:pt x="2601" y="11"/>
                    </a:lnTo>
                    <a:lnTo>
                      <a:pt x="2608" y="7"/>
                    </a:lnTo>
                    <a:lnTo>
                      <a:pt x="2617" y="4"/>
                    </a:lnTo>
                    <a:lnTo>
                      <a:pt x="2629" y="1"/>
                    </a:lnTo>
                    <a:lnTo>
                      <a:pt x="2640" y="0"/>
                    </a:lnTo>
                    <a:lnTo>
                      <a:pt x="2653" y="0"/>
                    </a:lnTo>
                    <a:lnTo>
                      <a:pt x="2663" y="4"/>
                    </a:lnTo>
                    <a:lnTo>
                      <a:pt x="2671" y="8"/>
                    </a:lnTo>
                    <a:lnTo>
                      <a:pt x="2679" y="15"/>
                    </a:lnTo>
                    <a:lnTo>
                      <a:pt x="2686" y="21"/>
                    </a:lnTo>
                    <a:lnTo>
                      <a:pt x="2692" y="28"/>
                    </a:lnTo>
                    <a:lnTo>
                      <a:pt x="2698" y="33"/>
                    </a:lnTo>
                    <a:lnTo>
                      <a:pt x="2703" y="38"/>
                    </a:lnTo>
                    <a:lnTo>
                      <a:pt x="2709" y="42"/>
                    </a:lnTo>
                    <a:lnTo>
                      <a:pt x="2706" y="48"/>
                    </a:lnTo>
                    <a:lnTo>
                      <a:pt x="2701" y="55"/>
                    </a:lnTo>
                    <a:lnTo>
                      <a:pt x="2696" y="63"/>
                    </a:lnTo>
                    <a:lnTo>
                      <a:pt x="2692" y="72"/>
                    </a:lnTo>
                    <a:lnTo>
                      <a:pt x="2687" y="81"/>
                    </a:lnTo>
                    <a:lnTo>
                      <a:pt x="2684" y="89"/>
                    </a:lnTo>
                    <a:lnTo>
                      <a:pt x="2682" y="94"/>
                    </a:lnTo>
                    <a:lnTo>
                      <a:pt x="2680" y="98"/>
                    </a:lnTo>
                    <a:lnTo>
                      <a:pt x="2682" y="105"/>
                    </a:lnTo>
                    <a:lnTo>
                      <a:pt x="2683" y="113"/>
                    </a:lnTo>
                    <a:lnTo>
                      <a:pt x="2684" y="119"/>
                    </a:lnTo>
                    <a:lnTo>
                      <a:pt x="2687" y="126"/>
                    </a:lnTo>
                    <a:lnTo>
                      <a:pt x="2694" y="141"/>
                    </a:lnTo>
                    <a:lnTo>
                      <a:pt x="2703" y="155"/>
                    </a:lnTo>
                    <a:lnTo>
                      <a:pt x="2715" y="169"/>
                    </a:lnTo>
                    <a:lnTo>
                      <a:pt x="2729" y="183"/>
                    </a:lnTo>
                    <a:lnTo>
                      <a:pt x="2742" y="196"/>
                    </a:lnTo>
                    <a:lnTo>
                      <a:pt x="2758" y="208"/>
                    </a:lnTo>
                    <a:lnTo>
                      <a:pt x="2774" y="220"/>
                    </a:lnTo>
                    <a:lnTo>
                      <a:pt x="2792" y="231"/>
                    </a:lnTo>
                    <a:lnTo>
                      <a:pt x="2808" y="241"/>
                    </a:lnTo>
                    <a:lnTo>
                      <a:pt x="2825" y="249"/>
                    </a:lnTo>
                    <a:lnTo>
                      <a:pt x="2841" y="257"/>
                    </a:lnTo>
                    <a:lnTo>
                      <a:pt x="2856" y="264"/>
                    </a:lnTo>
                    <a:lnTo>
                      <a:pt x="2870" y="269"/>
                    </a:lnTo>
                    <a:lnTo>
                      <a:pt x="2882" y="272"/>
                    </a:lnTo>
                    <a:lnTo>
                      <a:pt x="2882" y="297"/>
                    </a:lnTo>
                    <a:lnTo>
                      <a:pt x="2882" y="319"/>
                    </a:lnTo>
                    <a:lnTo>
                      <a:pt x="2882" y="335"/>
                    </a:lnTo>
                    <a:lnTo>
                      <a:pt x="2882" y="349"/>
                    </a:lnTo>
                    <a:lnTo>
                      <a:pt x="2882" y="360"/>
                    </a:lnTo>
                    <a:lnTo>
                      <a:pt x="2882" y="371"/>
                    </a:lnTo>
                    <a:lnTo>
                      <a:pt x="2882" y="380"/>
                    </a:lnTo>
                    <a:lnTo>
                      <a:pt x="2882" y="390"/>
                    </a:lnTo>
                    <a:lnTo>
                      <a:pt x="2883" y="406"/>
                    </a:lnTo>
                    <a:lnTo>
                      <a:pt x="2887" y="422"/>
                    </a:lnTo>
                    <a:lnTo>
                      <a:pt x="2891" y="439"/>
                    </a:lnTo>
                    <a:lnTo>
                      <a:pt x="2898" y="456"/>
                    </a:lnTo>
                    <a:lnTo>
                      <a:pt x="2906" y="473"/>
                    </a:lnTo>
                    <a:lnTo>
                      <a:pt x="2917" y="489"/>
                    </a:lnTo>
                    <a:lnTo>
                      <a:pt x="2928" y="505"/>
                    </a:lnTo>
                    <a:lnTo>
                      <a:pt x="2942" y="520"/>
                    </a:lnTo>
                    <a:lnTo>
                      <a:pt x="2957" y="535"/>
                    </a:lnTo>
                    <a:lnTo>
                      <a:pt x="2974" y="547"/>
                    </a:lnTo>
                    <a:lnTo>
                      <a:pt x="2992" y="559"/>
                    </a:lnTo>
                    <a:lnTo>
                      <a:pt x="3012" y="569"/>
                    </a:lnTo>
                    <a:lnTo>
                      <a:pt x="3034" y="578"/>
                    </a:lnTo>
                    <a:lnTo>
                      <a:pt x="3056" y="585"/>
                    </a:lnTo>
                    <a:lnTo>
                      <a:pt x="3068" y="587"/>
                    </a:lnTo>
                    <a:lnTo>
                      <a:pt x="3081" y="590"/>
                    </a:lnTo>
                    <a:lnTo>
                      <a:pt x="3092" y="591"/>
                    </a:lnTo>
                    <a:lnTo>
                      <a:pt x="3106" y="592"/>
                    </a:lnTo>
                    <a:lnTo>
                      <a:pt x="3105" y="613"/>
                    </a:lnTo>
                    <a:lnTo>
                      <a:pt x="3105" y="631"/>
                    </a:lnTo>
                    <a:lnTo>
                      <a:pt x="3103" y="649"/>
                    </a:lnTo>
                    <a:lnTo>
                      <a:pt x="3102" y="667"/>
                    </a:lnTo>
                    <a:lnTo>
                      <a:pt x="3101" y="681"/>
                    </a:lnTo>
                    <a:lnTo>
                      <a:pt x="3100" y="696"/>
                    </a:lnTo>
                    <a:lnTo>
                      <a:pt x="3099" y="711"/>
                    </a:lnTo>
                    <a:lnTo>
                      <a:pt x="3099" y="724"/>
                    </a:lnTo>
                    <a:lnTo>
                      <a:pt x="3099" y="730"/>
                    </a:lnTo>
                    <a:lnTo>
                      <a:pt x="3100" y="735"/>
                    </a:lnTo>
                    <a:lnTo>
                      <a:pt x="3102" y="740"/>
                    </a:lnTo>
                    <a:lnTo>
                      <a:pt x="3105" y="746"/>
                    </a:lnTo>
                    <a:lnTo>
                      <a:pt x="3111" y="758"/>
                    </a:lnTo>
                    <a:lnTo>
                      <a:pt x="3119" y="772"/>
                    </a:lnTo>
                    <a:lnTo>
                      <a:pt x="3128" y="788"/>
                    </a:lnTo>
                    <a:lnTo>
                      <a:pt x="3133" y="808"/>
                    </a:lnTo>
                    <a:lnTo>
                      <a:pt x="3137" y="819"/>
                    </a:lnTo>
                    <a:lnTo>
                      <a:pt x="3139" y="831"/>
                    </a:lnTo>
                    <a:lnTo>
                      <a:pt x="3140" y="843"/>
                    </a:lnTo>
                    <a:lnTo>
                      <a:pt x="3140" y="857"/>
                    </a:lnTo>
                    <a:lnTo>
                      <a:pt x="3139" y="870"/>
                    </a:lnTo>
                    <a:lnTo>
                      <a:pt x="3134" y="886"/>
                    </a:lnTo>
                    <a:lnTo>
                      <a:pt x="3128" y="904"/>
                    </a:lnTo>
                    <a:lnTo>
                      <a:pt x="3117" y="923"/>
                    </a:lnTo>
                    <a:lnTo>
                      <a:pt x="3113" y="931"/>
                    </a:lnTo>
                    <a:lnTo>
                      <a:pt x="3106" y="941"/>
                    </a:lnTo>
                    <a:lnTo>
                      <a:pt x="3100" y="948"/>
                    </a:lnTo>
                    <a:lnTo>
                      <a:pt x="3093" y="954"/>
                    </a:lnTo>
                    <a:lnTo>
                      <a:pt x="3086" y="960"/>
                    </a:lnTo>
                    <a:lnTo>
                      <a:pt x="3079" y="965"/>
                    </a:lnTo>
                    <a:lnTo>
                      <a:pt x="3071" y="967"/>
                    </a:lnTo>
                    <a:lnTo>
                      <a:pt x="3063" y="968"/>
                    </a:lnTo>
                    <a:lnTo>
                      <a:pt x="3059" y="968"/>
                    </a:lnTo>
                    <a:lnTo>
                      <a:pt x="3053" y="967"/>
                    </a:lnTo>
                    <a:lnTo>
                      <a:pt x="3048" y="965"/>
                    </a:lnTo>
                    <a:lnTo>
                      <a:pt x="3044" y="962"/>
                    </a:lnTo>
                    <a:lnTo>
                      <a:pt x="3035" y="957"/>
                    </a:lnTo>
                    <a:lnTo>
                      <a:pt x="3025" y="951"/>
                    </a:lnTo>
                    <a:lnTo>
                      <a:pt x="3016" y="944"/>
                    </a:lnTo>
                    <a:lnTo>
                      <a:pt x="3007" y="938"/>
                    </a:lnTo>
                    <a:lnTo>
                      <a:pt x="3003" y="936"/>
                    </a:lnTo>
                    <a:lnTo>
                      <a:pt x="2997" y="935"/>
                    </a:lnTo>
                    <a:lnTo>
                      <a:pt x="2992" y="934"/>
                    </a:lnTo>
                    <a:lnTo>
                      <a:pt x="2988" y="934"/>
                    </a:lnTo>
                    <a:lnTo>
                      <a:pt x="2975" y="933"/>
                    </a:lnTo>
                    <a:lnTo>
                      <a:pt x="2964" y="934"/>
                    </a:lnTo>
                    <a:lnTo>
                      <a:pt x="2952" y="937"/>
                    </a:lnTo>
                    <a:lnTo>
                      <a:pt x="2941" y="941"/>
                    </a:lnTo>
                    <a:lnTo>
                      <a:pt x="2930" y="946"/>
                    </a:lnTo>
                    <a:lnTo>
                      <a:pt x="2920" y="953"/>
                    </a:lnTo>
                    <a:lnTo>
                      <a:pt x="2910" y="960"/>
                    </a:lnTo>
                    <a:lnTo>
                      <a:pt x="2901" y="969"/>
                    </a:lnTo>
                    <a:lnTo>
                      <a:pt x="2892" y="979"/>
                    </a:lnTo>
                    <a:lnTo>
                      <a:pt x="2884" y="988"/>
                    </a:lnTo>
                    <a:lnTo>
                      <a:pt x="2879" y="998"/>
                    </a:lnTo>
                    <a:lnTo>
                      <a:pt x="2873" y="1008"/>
                    </a:lnTo>
                    <a:lnTo>
                      <a:pt x="2868" y="1020"/>
                    </a:lnTo>
                    <a:lnTo>
                      <a:pt x="2865" y="1030"/>
                    </a:lnTo>
                    <a:lnTo>
                      <a:pt x="2863" y="1042"/>
                    </a:lnTo>
                    <a:lnTo>
                      <a:pt x="2862" y="1052"/>
                    </a:lnTo>
                    <a:lnTo>
                      <a:pt x="2863" y="1061"/>
                    </a:lnTo>
                    <a:lnTo>
                      <a:pt x="2864" y="1070"/>
                    </a:lnTo>
                    <a:lnTo>
                      <a:pt x="2866" y="1078"/>
                    </a:lnTo>
                    <a:lnTo>
                      <a:pt x="2870" y="1085"/>
                    </a:lnTo>
                    <a:lnTo>
                      <a:pt x="2878" y="1097"/>
                    </a:lnTo>
                    <a:lnTo>
                      <a:pt x="2886" y="1106"/>
                    </a:lnTo>
                    <a:lnTo>
                      <a:pt x="2895" y="1115"/>
                    </a:lnTo>
                    <a:lnTo>
                      <a:pt x="2903" y="1124"/>
                    </a:lnTo>
                    <a:lnTo>
                      <a:pt x="2906" y="1130"/>
                    </a:lnTo>
                    <a:lnTo>
                      <a:pt x="2909" y="1136"/>
                    </a:lnTo>
                    <a:lnTo>
                      <a:pt x="2910" y="1143"/>
                    </a:lnTo>
                    <a:lnTo>
                      <a:pt x="2911" y="1149"/>
                    </a:lnTo>
                    <a:lnTo>
                      <a:pt x="2909" y="1161"/>
                    </a:lnTo>
                    <a:lnTo>
                      <a:pt x="2905" y="1170"/>
                    </a:lnTo>
                    <a:lnTo>
                      <a:pt x="2902" y="1179"/>
                    </a:lnTo>
                    <a:lnTo>
                      <a:pt x="2897" y="1186"/>
                    </a:lnTo>
                    <a:lnTo>
                      <a:pt x="2886" y="1200"/>
                    </a:lnTo>
                    <a:lnTo>
                      <a:pt x="2873" y="1210"/>
                    </a:lnTo>
                    <a:lnTo>
                      <a:pt x="2862" y="1220"/>
                    </a:lnTo>
                    <a:lnTo>
                      <a:pt x="2851" y="1232"/>
                    </a:lnTo>
                    <a:lnTo>
                      <a:pt x="2847" y="1238"/>
                    </a:lnTo>
                    <a:lnTo>
                      <a:pt x="2843" y="1245"/>
                    </a:lnTo>
                    <a:lnTo>
                      <a:pt x="2842" y="1253"/>
                    </a:lnTo>
                    <a:lnTo>
                      <a:pt x="2841" y="1261"/>
                    </a:lnTo>
                    <a:lnTo>
                      <a:pt x="2841" y="1266"/>
                    </a:lnTo>
                    <a:lnTo>
                      <a:pt x="2843" y="1272"/>
                    </a:lnTo>
                    <a:lnTo>
                      <a:pt x="2845" y="1277"/>
                    </a:lnTo>
                    <a:lnTo>
                      <a:pt x="2849" y="1280"/>
                    </a:lnTo>
                    <a:lnTo>
                      <a:pt x="2853" y="1284"/>
                    </a:lnTo>
                    <a:lnTo>
                      <a:pt x="2858" y="1286"/>
                    </a:lnTo>
                    <a:lnTo>
                      <a:pt x="2863" y="1288"/>
                    </a:lnTo>
                    <a:lnTo>
                      <a:pt x="2868" y="1289"/>
                    </a:lnTo>
                    <a:lnTo>
                      <a:pt x="2881" y="1293"/>
                    </a:lnTo>
                    <a:lnTo>
                      <a:pt x="2894" y="1295"/>
                    </a:lnTo>
                    <a:lnTo>
                      <a:pt x="2906" y="1298"/>
                    </a:lnTo>
                    <a:lnTo>
                      <a:pt x="2918" y="1303"/>
                    </a:lnTo>
                    <a:lnTo>
                      <a:pt x="2921" y="1304"/>
                    </a:lnTo>
                    <a:lnTo>
                      <a:pt x="2925" y="1308"/>
                    </a:lnTo>
                    <a:lnTo>
                      <a:pt x="2928" y="1311"/>
                    </a:lnTo>
                    <a:lnTo>
                      <a:pt x="2933" y="1317"/>
                    </a:lnTo>
                    <a:lnTo>
                      <a:pt x="2942" y="1329"/>
                    </a:lnTo>
                    <a:lnTo>
                      <a:pt x="2951" y="1344"/>
                    </a:lnTo>
                    <a:lnTo>
                      <a:pt x="2960" y="1363"/>
                    </a:lnTo>
                    <a:lnTo>
                      <a:pt x="2970" y="1383"/>
                    </a:lnTo>
                    <a:lnTo>
                      <a:pt x="2980" y="1404"/>
                    </a:lnTo>
                    <a:lnTo>
                      <a:pt x="2990" y="1426"/>
                    </a:lnTo>
                    <a:lnTo>
                      <a:pt x="3007" y="1471"/>
                    </a:lnTo>
                    <a:lnTo>
                      <a:pt x="3022" y="1511"/>
                    </a:lnTo>
                    <a:lnTo>
                      <a:pt x="3028" y="1528"/>
                    </a:lnTo>
                    <a:lnTo>
                      <a:pt x="3032" y="1542"/>
                    </a:lnTo>
                    <a:lnTo>
                      <a:pt x="3035" y="1553"/>
                    </a:lnTo>
                    <a:lnTo>
                      <a:pt x="3036" y="1560"/>
                    </a:lnTo>
                    <a:lnTo>
                      <a:pt x="3036" y="1570"/>
                    </a:lnTo>
                    <a:lnTo>
                      <a:pt x="3036" y="1578"/>
                    </a:lnTo>
                    <a:lnTo>
                      <a:pt x="3036" y="1586"/>
                    </a:lnTo>
                    <a:lnTo>
                      <a:pt x="3036" y="1592"/>
                    </a:lnTo>
                    <a:lnTo>
                      <a:pt x="3036" y="1598"/>
                    </a:lnTo>
                    <a:lnTo>
                      <a:pt x="3036" y="1602"/>
                    </a:lnTo>
                    <a:lnTo>
                      <a:pt x="3036" y="1606"/>
                    </a:lnTo>
                    <a:lnTo>
                      <a:pt x="3036" y="1609"/>
                    </a:lnTo>
                    <a:lnTo>
                      <a:pt x="3017" y="1607"/>
                    </a:lnTo>
                    <a:lnTo>
                      <a:pt x="3000" y="1605"/>
                    </a:lnTo>
                    <a:lnTo>
                      <a:pt x="2985" y="1605"/>
                    </a:lnTo>
                    <a:lnTo>
                      <a:pt x="2972" y="1605"/>
                    </a:lnTo>
                    <a:lnTo>
                      <a:pt x="2960" y="1606"/>
                    </a:lnTo>
                    <a:lnTo>
                      <a:pt x="2950" y="1608"/>
                    </a:lnTo>
                    <a:lnTo>
                      <a:pt x="2942" y="1610"/>
                    </a:lnTo>
                    <a:lnTo>
                      <a:pt x="2934" y="1615"/>
                    </a:lnTo>
                    <a:lnTo>
                      <a:pt x="2928" y="1621"/>
                    </a:lnTo>
                    <a:lnTo>
                      <a:pt x="2922" y="1628"/>
                    </a:lnTo>
                    <a:lnTo>
                      <a:pt x="2919" y="1636"/>
                    </a:lnTo>
                    <a:lnTo>
                      <a:pt x="2915" y="1645"/>
                    </a:lnTo>
                    <a:lnTo>
                      <a:pt x="2913" y="1656"/>
                    </a:lnTo>
                    <a:lnTo>
                      <a:pt x="2912" y="1669"/>
                    </a:lnTo>
                    <a:lnTo>
                      <a:pt x="2911" y="1684"/>
                    </a:lnTo>
                    <a:lnTo>
                      <a:pt x="2911" y="1700"/>
                    </a:lnTo>
                    <a:lnTo>
                      <a:pt x="2868" y="1700"/>
                    </a:lnTo>
                    <a:lnTo>
                      <a:pt x="2827" y="1703"/>
                    </a:lnTo>
                    <a:lnTo>
                      <a:pt x="2808" y="1706"/>
                    </a:lnTo>
                    <a:lnTo>
                      <a:pt x="2789" y="1709"/>
                    </a:lnTo>
                    <a:lnTo>
                      <a:pt x="2771" y="1713"/>
                    </a:lnTo>
                    <a:lnTo>
                      <a:pt x="2754" y="1718"/>
                    </a:lnTo>
                    <a:lnTo>
                      <a:pt x="2738" y="1724"/>
                    </a:lnTo>
                    <a:lnTo>
                      <a:pt x="2724" y="1731"/>
                    </a:lnTo>
                    <a:lnTo>
                      <a:pt x="2711" y="1740"/>
                    </a:lnTo>
                    <a:lnTo>
                      <a:pt x="2701" y="1749"/>
                    </a:lnTo>
                    <a:lnTo>
                      <a:pt x="2696" y="1755"/>
                    </a:lnTo>
                    <a:lnTo>
                      <a:pt x="2692" y="1761"/>
                    </a:lnTo>
                    <a:lnTo>
                      <a:pt x="2688" y="1766"/>
                    </a:lnTo>
                    <a:lnTo>
                      <a:pt x="2686" y="1773"/>
                    </a:lnTo>
                    <a:lnTo>
                      <a:pt x="2684" y="1780"/>
                    </a:lnTo>
                    <a:lnTo>
                      <a:pt x="2682" y="1788"/>
                    </a:lnTo>
                    <a:lnTo>
                      <a:pt x="2682" y="1796"/>
                    </a:lnTo>
                    <a:lnTo>
                      <a:pt x="2680" y="1804"/>
                    </a:lnTo>
                    <a:lnTo>
                      <a:pt x="2682" y="1813"/>
                    </a:lnTo>
                    <a:lnTo>
                      <a:pt x="2684" y="1821"/>
                    </a:lnTo>
                    <a:lnTo>
                      <a:pt x="2686" y="1829"/>
                    </a:lnTo>
                    <a:lnTo>
                      <a:pt x="2691" y="1836"/>
                    </a:lnTo>
                    <a:lnTo>
                      <a:pt x="2701" y="1850"/>
                    </a:lnTo>
                    <a:lnTo>
                      <a:pt x="2712" y="1864"/>
                    </a:lnTo>
                    <a:lnTo>
                      <a:pt x="2724" y="1878"/>
                    </a:lnTo>
                    <a:lnTo>
                      <a:pt x="2733" y="1893"/>
                    </a:lnTo>
                    <a:lnTo>
                      <a:pt x="2738" y="1902"/>
                    </a:lnTo>
                    <a:lnTo>
                      <a:pt x="2741" y="1910"/>
                    </a:lnTo>
                    <a:lnTo>
                      <a:pt x="2742" y="1919"/>
                    </a:lnTo>
                    <a:lnTo>
                      <a:pt x="2743" y="1929"/>
                    </a:lnTo>
                    <a:lnTo>
                      <a:pt x="2742" y="1932"/>
                    </a:lnTo>
                    <a:lnTo>
                      <a:pt x="2739" y="1934"/>
                    </a:lnTo>
                    <a:lnTo>
                      <a:pt x="2732" y="1935"/>
                    </a:lnTo>
                    <a:lnTo>
                      <a:pt x="2725" y="1936"/>
                    </a:lnTo>
                    <a:lnTo>
                      <a:pt x="2706" y="1937"/>
                    </a:lnTo>
                    <a:lnTo>
                      <a:pt x="2684" y="1938"/>
                    </a:lnTo>
                    <a:lnTo>
                      <a:pt x="2662" y="1937"/>
                    </a:lnTo>
                    <a:lnTo>
                      <a:pt x="2644" y="1937"/>
                    </a:lnTo>
                    <a:lnTo>
                      <a:pt x="2630" y="1936"/>
                    </a:lnTo>
                    <a:lnTo>
                      <a:pt x="2625" y="1936"/>
                    </a:lnTo>
                    <a:lnTo>
                      <a:pt x="2602" y="1953"/>
                    </a:lnTo>
                    <a:lnTo>
                      <a:pt x="2585" y="1968"/>
                    </a:lnTo>
                    <a:lnTo>
                      <a:pt x="2570" y="1982"/>
                    </a:lnTo>
                    <a:lnTo>
                      <a:pt x="2558" y="1995"/>
                    </a:lnTo>
                    <a:lnTo>
                      <a:pt x="2545" y="2007"/>
                    </a:lnTo>
                    <a:lnTo>
                      <a:pt x="2530" y="2020"/>
                    </a:lnTo>
                    <a:lnTo>
                      <a:pt x="2511" y="2032"/>
                    </a:lnTo>
                    <a:lnTo>
                      <a:pt x="2485" y="2047"/>
                    </a:lnTo>
                    <a:lnTo>
                      <a:pt x="2489" y="2054"/>
                    </a:lnTo>
                    <a:lnTo>
                      <a:pt x="2496" y="2063"/>
                    </a:lnTo>
                    <a:lnTo>
                      <a:pt x="2506" y="2077"/>
                    </a:lnTo>
                    <a:lnTo>
                      <a:pt x="2519" y="2092"/>
                    </a:lnTo>
                    <a:lnTo>
                      <a:pt x="2549" y="2130"/>
                    </a:lnTo>
                    <a:lnTo>
                      <a:pt x="2584" y="2170"/>
                    </a:lnTo>
                    <a:lnTo>
                      <a:pt x="2620" y="2210"/>
                    </a:lnTo>
                    <a:lnTo>
                      <a:pt x="2652" y="2245"/>
                    </a:lnTo>
                    <a:lnTo>
                      <a:pt x="2664" y="2258"/>
                    </a:lnTo>
                    <a:lnTo>
                      <a:pt x="2676" y="2269"/>
                    </a:lnTo>
                    <a:lnTo>
                      <a:pt x="2683" y="2276"/>
                    </a:lnTo>
                    <a:lnTo>
                      <a:pt x="2687" y="2278"/>
                    </a:lnTo>
                    <a:lnTo>
                      <a:pt x="2702" y="2277"/>
                    </a:lnTo>
                    <a:lnTo>
                      <a:pt x="2716" y="2276"/>
                    </a:lnTo>
                    <a:lnTo>
                      <a:pt x="2730" y="2274"/>
                    </a:lnTo>
                    <a:lnTo>
                      <a:pt x="2745" y="2271"/>
                    </a:lnTo>
                    <a:lnTo>
                      <a:pt x="2772" y="2264"/>
                    </a:lnTo>
                    <a:lnTo>
                      <a:pt x="2800" y="2255"/>
                    </a:lnTo>
                    <a:lnTo>
                      <a:pt x="2827" y="2244"/>
                    </a:lnTo>
                    <a:lnTo>
                      <a:pt x="2853" y="2231"/>
                    </a:lnTo>
                    <a:lnTo>
                      <a:pt x="2881" y="2218"/>
                    </a:lnTo>
                    <a:lnTo>
                      <a:pt x="2907" y="2205"/>
                    </a:lnTo>
                    <a:lnTo>
                      <a:pt x="2935" y="2191"/>
                    </a:lnTo>
                    <a:lnTo>
                      <a:pt x="2962" y="2178"/>
                    </a:lnTo>
                    <a:lnTo>
                      <a:pt x="2990" y="2166"/>
                    </a:lnTo>
                    <a:lnTo>
                      <a:pt x="3017" y="2154"/>
                    </a:lnTo>
                    <a:lnTo>
                      <a:pt x="3046" y="2145"/>
                    </a:lnTo>
                    <a:lnTo>
                      <a:pt x="3075" y="2138"/>
                    </a:lnTo>
                    <a:lnTo>
                      <a:pt x="3089" y="2135"/>
                    </a:lnTo>
                    <a:lnTo>
                      <a:pt x="3103" y="2133"/>
                    </a:lnTo>
                    <a:lnTo>
                      <a:pt x="3118" y="2132"/>
                    </a:lnTo>
                    <a:lnTo>
                      <a:pt x="3133" y="2131"/>
                    </a:lnTo>
                    <a:lnTo>
                      <a:pt x="3141" y="2132"/>
                    </a:lnTo>
                    <a:lnTo>
                      <a:pt x="3149" y="2133"/>
                    </a:lnTo>
                    <a:lnTo>
                      <a:pt x="3158" y="2136"/>
                    </a:lnTo>
                    <a:lnTo>
                      <a:pt x="3168" y="2138"/>
                    </a:lnTo>
                    <a:lnTo>
                      <a:pt x="3186" y="2146"/>
                    </a:lnTo>
                    <a:lnTo>
                      <a:pt x="3204" y="2156"/>
                    </a:lnTo>
                    <a:lnTo>
                      <a:pt x="3224" y="2170"/>
                    </a:lnTo>
                    <a:lnTo>
                      <a:pt x="3242" y="2185"/>
                    </a:lnTo>
                    <a:lnTo>
                      <a:pt x="3262" y="2201"/>
                    </a:lnTo>
                    <a:lnTo>
                      <a:pt x="3280" y="2219"/>
                    </a:lnTo>
                    <a:lnTo>
                      <a:pt x="3296" y="2239"/>
                    </a:lnTo>
                    <a:lnTo>
                      <a:pt x="3312" y="2258"/>
                    </a:lnTo>
                    <a:lnTo>
                      <a:pt x="3327" y="2278"/>
                    </a:lnTo>
                    <a:lnTo>
                      <a:pt x="3338" y="2299"/>
                    </a:lnTo>
                    <a:lnTo>
                      <a:pt x="3349" y="2319"/>
                    </a:lnTo>
                    <a:lnTo>
                      <a:pt x="3357" y="2339"/>
                    </a:lnTo>
                    <a:lnTo>
                      <a:pt x="3359" y="2348"/>
                    </a:lnTo>
                    <a:lnTo>
                      <a:pt x="3361" y="2357"/>
                    </a:lnTo>
                    <a:lnTo>
                      <a:pt x="3363" y="2366"/>
                    </a:lnTo>
                    <a:lnTo>
                      <a:pt x="3363" y="2375"/>
                    </a:lnTo>
                    <a:lnTo>
                      <a:pt x="3363" y="2397"/>
                    </a:lnTo>
                    <a:lnTo>
                      <a:pt x="3363" y="2416"/>
                    </a:lnTo>
                    <a:lnTo>
                      <a:pt x="3363" y="2430"/>
                    </a:lnTo>
                    <a:lnTo>
                      <a:pt x="3363" y="2444"/>
                    </a:lnTo>
                    <a:lnTo>
                      <a:pt x="3363" y="2456"/>
                    </a:lnTo>
                    <a:lnTo>
                      <a:pt x="3363" y="2466"/>
                    </a:lnTo>
                    <a:lnTo>
                      <a:pt x="3363" y="2476"/>
                    </a:lnTo>
                    <a:lnTo>
                      <a:pt x="3363" y="2487"/>
                    </a:lnTo>
                    <a:lnTo>
                      <a:pt x="3363" y="2506"/>
                    </a:lnTo>
                    <a:lnTo>
                      <a:pt x="3364" y="2526"/>
                    </a:lnTo>
                    <a:lnTo>
                      <a:pt x="3366" y="2547"/>
                    </a:lnTo>
                    <a:lnTo>
                      <a:pt x="3371" y="2569"/>
                    </a:lnTo>
                    <a:lnTo>
                      <a:pt x="3376" y="2592"/>
                    </a:lnTo>
                    <a:lnTo>
                      <a:pt x="3384" y="2615"/>
                    </a:lnTo>
                    <a:lnTo>
                      <a:pt x="3392" y="2638"/>
                    </a:lnTo>
                    <a:lnTo>
                      <a:pt x="3403" y="2661"/>
                    </a:lnTo>
                    <a:lnTo>
                      <a:pt x="3415" y="2683"/>
                    </a:lnTo>
                    <a:lnTo>
                      <a:pt x="3428" y="2703"/>
                    </a:lnTo>
                    <a:lnTo>
                      <a:pt x="3443" y="2723"/>
                    </a:lnTo>
                    <a:lnTo>
                      <a:pt x="3459" y="2741"/>
                    </a:lnTo>
                    <a:lnTo>
                      <a:pt x="3468" y="2749"/>
                    </a:lnTo>
                    <a:lnTo>
                      <a:pt x="3476" y="2757"/>
                    </a:lnTo>
                    <a:lnTo>
                      <a:pt x="3485" y="2765"/>
                    </a:lnTo>
                    <a:lnTo>
                      <a:pt x="3496" y="2772"/>
                    </a:lnTo>
                    <a:lnTo>
                      <a:pt x="3506" y="2778"/>
                    </a:lnTo>
                    <a:lnTo>
                      <a:pt x="3515" y="2784"/>
                    </a:lnTo>
                    <a:lnTo>
                      <a:pt x="3527" y="2788"/>
                    </a:lnTo>
                    <a:lnTo>
                      <a:pt x="3537" y="2793"/>
                    </a:lnTo>
                    <a:lnTo>
                      <a:pt x="3533" y="2802"/>
                    </a:lnTo>
                    <a:lnTo>
                      <a:pt x="3528" y="2810"/>
                    </a:lnTo>
                    <a:lnTo>
                      <a:pt x="3523" y="2818"/>
                    </a:lnTo>
                    <a:lnTo>
                      <a:pt x="3517" y="2826"/>
                    </a:lnTo>
                    <a:lnTo>
                      <a:pt x="3505" y="2840"/>
                    </a:lnTo>
                    <a:lnTo>
                      <a:pt x="3491" y="2852"/>
                    </a:lnTo>
                    <a:lnTo>
                      <a:pt x="3476" y="2865"/>
                    </a:lnTo>
                    <a:lnTo>
                      <a:pt x="3461" y="2875"/>
                    </a:lnTo>
                    <a:lnTo>
                      <a:pt x="3445" y="2887"/>
                    </a:lnTo>
                    <a:lnTo>
                      <a:pt x="3430" y="2896"/>
                    </a:lnTo>
                    <a:lnTo>
                      <a:pt x="3415" y="2906"/>
                    </a:lnTo>
                    <a:lnTo>
                      <a:pt x="3400" y="2917"/>
                    </a:lnTo>
                    <a:lnTo>
                      <a:pt x="3388" y="2928"/>
                    </a:lnTo>
                    <a:lnTo>
                      <a:pt x="3375" y="2939"/>
                    </a:lnTo>
                    <a:lnTo>
                      <a:pt x="3371" y="2945"/>
                    </a:lnTo>
                    <a:lnTo>
                      <a:pt x="3366" y="2951"/>
                    </a:lnTo>
                    <a:lnTo>
                      <a:pt x="3361" y="2958"/>
                    </a:lnTo>
                    <a:lnTo>
                      <a:pt x="3358" y="2964"/>
                    </a:lnTo>
                    <a:lnTo>
                      <a:pt x="3355" y="2972"/>
                    </a:lnTo>
                    <a:lnTo>
                      <a:pt x="3352" y="2979"/>
                    </a:lnTo>
                    <a:lnTo>
                      <a:pt x="3350" y="2987"/>
                    </a:lnTo>
                    <a:lnTo>
                      <a:pt x="3349" y="2995"/>
                    </a:lnTo>
                    <a:lnTo>
                      <a:pt x="3350" y="3008"/>
                    </a:lnTo>
                    <a:lnTo>
                      <a:pt x="3352" y="3023"/>
                    </a:lnTo>
                    <a:lnTo>
                      <a:pt x="3356" y="3039"/>
                    </a:lnTo>
                    <a:lnTo>
                      <a:pt x="3360" y="3055"/>
                    </a:lnTo>
                    <a:lnTo>
                      <a:pt x="3372" y="3089"/>
                    </a:lnTo>
                    <a:lnTo>
                      <a:pt x="3387" y="3123"/>
                    </a:lnTo>
                    <a:lnTo>
                      <a:pt x="3402" y="3155"/>
                    </a:lnTo>
                    <a:lnTo>
                      <a:pt x="3416" y="3184"/>
                    </a:lnTo>
                    <a:lnTo>
                      <a:pt x="3430" y="3208"/>
                    </a:lnTo>
                    <a:lnTo>
                      <a:pt x="3439" y="3225"/>
                    </a:lnTo>
                    <a:lnTo>
                      <a:pt x="3437" y="3225"/>
                    </a:lnTo>
                    <a:lnTo>
                      <a:pt x="3435" y="3225"/>
                    </a:lnTo>
                    <a:lnTo>
                      <a:pt x="3431" y="3225"/>
                    </a:lnTo>
                    <a:lnTo>
                      <a:pt x="3429" y="3225"/>
                    </a:lnTo>
                    <a:lnTo>
                      <a:pt x="3427" y="3225"/>
                    </a:lnTo>
                    <a:lnTo>
                      <a:pt x="3424" y="3225"/>
                    </a:lnTo>
                    <a:lnTo>
                      <a:pt x="3421" y="3225"/>
                    </a:lnTo>
                    <a:lnTo>
                      <a:pt x="3419" y="3225"/>
                    </a:lnTo>
                    <a:lnTo>
                      <a:pt x="3412" y="3273"/>
                    </a:lnTo>
                    <a:lnTo>
                      <a:pt x="3427" y="3292"/>
                    </a:lnTo>
                    <a:lnTo>
                      <a:pt x="3439" y="3309"/>
                    </a:lnTo>
                    <a:lnTo>
                      <a:pt x="3450" y="3327"/>
                    </a:lnTo>
                    <a:lnTo>
                      <a:pt x="3459" y="3345"/>
                    </a:lnTo>
                    <a:lnTo>
                      <a:pt x="3466" y="3364"/>
                    </a:lnTo>
                    <a:lnTo>
                      <a:pt x="3470" y="3384"/>
                    </a:lnTo>
                    <a:lnTo>
                      <a:pt x="3474" y="3404"/>
                    </a:lnTo>
                    <a:lnTo>
                      <a:pt x="3475" y="3427"/>
                    </a:lnTo>
                    <a:lnTo>
                      <a:pt x="3475" y="3436"/>
                    </a:lnTo>
                    <a:lnTo>
                      <a:pt x="3475" y="3445"/>
                    </a:lnTo>
                    <a:lnTo>
                      <a:pt x="3475" y="3453"/>
                    </a:lnTo>
                    <a:lnTo>
                      <a:pt x="3475" y="3461"/>
                    </a:lnTo>
                    <a:lnTo>
                      <a:pt x="3475" y="3472"/>
                    </a:lnTo>
                    <a:lnTo>
                      <a:pt x="3475" y="3483"/>
                    </a:lnTo>
                    <a:lnTo>
                      <a:pt x="3475" y="3498"/>
                    </a:lnTo>
                    <a:lnTo>
                      <a:pt x="3475" y="3518"/>
                    </a:lnTo>
                    <a:lnTo>
                      <a:pt x="3491" y="3520"/>
                    </a:lnTo>
                    <a:lnTo>
                      <a:pt x="3507" y="3522"/>
                    </a:lnTo>
                    <a:lnTo>
                      <a:pt x="3524" y="3525"/>
                    </a:lnTo>
                    <a:lnTo>
                      <a:pt x="3539" y="3529"/>
                    </a:lnTo>
                    <a:lnTo>
                      <a:pt x="3546" y="3531"/>
                    </a:lnTo>
                    <a:lnTo>
                      <a:pt x="3552" y="3534"/>
                    </a:lnTo>
                    <a:lnTo>
                      <a:pt x="3557" y="3537"/>
                    </a:lnTo>
                    <a:lnTo>
                      <a:pt x="3562" y="3542"/>
                    </a:lnTo>
                    <a:lnTo>
                      <a:pt x="3567" y="3546"/>
                    </a:lnTo>
                    <a:lnTo>
                      <a:pt x="3569" y="3552"/>
                    </a:lnTo>
                    <a:lnTo>
                      <a:pt x="3571" y="3559"/>
                    </a:lnTo>
                    <a:lnTo>
                      <a:pt x="3572" y="3566"/>
                    </a:lnTo>
                    <a:lnTo>
                      <a:pt x="3570" y="3589"/>
                    </a:lnTo>
                    <a:lnTo>
                      <a:pt x="3565" y="3609"/>
                    </a:lnTo>
                    <a:lnTo>
                      <a:pt x="3560" y="3629"/>
                    </a:lnTo>
                    <a:lnTo>
                      <a:pt x="3554" y="3646"/>
                    </a:lnTo>
                    <a:lnTo>
                      <a:pt x="3546" y="3662"/>
                    </a:lnTo>
                    <a:lnTo>
                      <a:pt x="3538" y="3678"/>
                    </a:lnTo>
                    <a:lnTo>
                      <a:pt x="3529" y="3692"/>
                    </a:lnTo>
                    <a:lnTo>
                      <a:pt x="3520" y="3706"/>
                    </a:lnTo>
                    <a:lnTo>
                      <a:pt x="3501" y="3732"/>
                    </a:lnTo>
                    <a:lnTo>
                      <a:pt x="3485" y="3757"/>
                    </a:lnTo>
                    <a:lnTo>
                      <a:pt x="3480" y="3770"/>
                    </a:lnTo>
                    <a:lnTo>
                      <a:pt x="3474" y="3783"/>
                    </a:lnTo>
                    <a:lnTo>
                      <a:pt x="3469" y="3796"/>
                    </a:lnTo>
                    <a:lnTo>
                      <a:pt x="3468" y="3810"/>
                    </a:lnTo>
                    <a:lnTo>
                      <a:pt x="3468" y="3818"/>
                    </a:lnTo>
                    <a:lnTo>
                      <a:pt x="3470" y="3826"/>
                    </a:lnTo>
                    <a:lnTo>
                      <a:pt x="3474" y="3833"/>
                    </a:lnTo>
                    <a:lnTo>
                      <a:pt x="3478" y="3839"/>
                    </a:lnTo>
                    <a:lnTo>
                      <a:pt x="3484" y="3843"/>
                    </a:lnTo>
                    <a:lnTo>
                      <a:pt x="3490" y="3849"/>
                    </a:lnTo>
                    <a:lnTo>
                      <a:pt x="3496" y="3853"/>
                    </a:lnTo>
                    <a:lnTo>
                      <a:pt x="3502" y="3857"/>
                    </a:lnTo>
                    <a:lnTo>
                      <a:pt x="3515" y="3864"/>
                    </a:lnTo>
                    <a:lnTo>
                      <a:pt x="3527" y="3872"/>
                    </a:lnTo>
                    <a:lnTo>
                      <a:pt x="3531" y="3877"/>
                    </a:lnTo>
                    <a:lnTo>
                      <a:pt x="3535" y="3882"/>
                    </a:lnTo>
                    <a:lnTo>
                      <a:pt x="3537" y="3887"/>
                    </a:lnTo>
                    <a:lnTo>
                      <a:pt x="3537" y="3894"/>
                    </a:lnTo>
                    <a:lnTo>
                      <a:pt x="3537" y="3898"/>
                    </a:lnTo>
                    <a:lnTo>
                      <a:pt x="3536" y="3904"/>
                    </a:lnTo>
                    <a:lnTo>
                      <a:pt x="3535" y="3909"/>
                    </a:lnTo>
                    <a:lnTo>
                      <a:pt x="3532" y="3913"/>
                    </a:lnTo>
                    <a:lnTo>
                      <a:pt x="3527" y="3923"/>
                    </a:lnTo>
                    <a:lnTo>
                      <a:pt x="3520" y="3932"/>
                    </a:lnTo>
                    <a:lnTo>
                      <a:pt x="3510" y="3940"/>
                    </a:lnTo>
                    <a:lnTo>
                      <a:pt x="3501" y="3949"/>
                    </a:lnTo>
                    <a:lnTo>
                      <a:pt x="3490" y="3956"/>
                    </a:lnTo>
                    <a:lnTo>
                      <a:pt x="3478" y="3964"/>
                    </a:lnTo>
                    <a:lnTo>
                      <a:pt x="3455" y="3979"/>
                    </a:lnTo>
                    <a:lnTo>
                      <a:pt x="3435" y="3992"/>
                    </a:lnTo>
                    <a:lnTo>
                      <a:pt x="3424" y="3999"/>
                    </a:lnTo>
                    <a:lnTo>
                      <a:pt x="3416" y="4006"/>
                    </a:lnTo>
                    <a:lnTo>
                      <a:pt x="3410" y="4012"/>
                    </a:lnTo>
                    <a:lnTo>
                      <a:pt x="3405" y="4019"/>
                    </a:lnTo>
                    <a:lnTo>
                      <a:pt x="3397" y="4028"/>
                    </a:lnTo>
                    <a:lnTo>
                      <a:pt x="3390" y="4040"/>
                    </a:lnTo>
                    <a:lnTo>
                      <a:pt x="3382" y="4051"/>
                    </a:lnTo>
                    <a:lnTo>
                      <a:pt x="3375" y="4064"/>
                    </a:lnTo>
                    <a:lnTo>
                      <a:pt x="3368" y="4077"/>
                    </a:lnTo>
                    <a:lnTo>
                      <a:pt x="3363" y="4092"/>
                    </a:lnTo>
                    <a:lnTo>
                      <a:pt x="3357" y="4108"/>
                    </a:lnTo>
                    <a:lnTo>
                      <a:pt x="3351" y="4124"/>
                    </a:lnTo>
                    <a:lnTo>
                      <a:pt x="3345" y="4142"/>
                    </a:lnTo>
                    <a:lnTo>
                      <a:pt x="3342" y="4159"/>
                    </a:lnTo>
                    <a:lnTo>
                      <a:pt x="3337" y="4177"/>
                    </a:lnTo>
                    <a:lnTo>
                      <a:pt x="3334" y="4197"/>
                    </a:lnTo>
                    <a:lnTo>
                      <a:pt x="3332" y="4215"/>
                    </a:lnTo>
                    <a:lnTo>
                      <a:pt x="3329" y="4236"/>
                    </a:lnTo>
                    <a:lnTo>
                      <a:pt x="3328" y="4256"/>
                    </a:lnTo>
                    <a:lnTo>
                      <a:pt x="3328" y="4277"/>
                    </a:lnTo>
                    <a:lnTo>
                      <a:pt x="3328" y="4287"/>
                    </a:lnTo>
                    <a:lnTo>
                      <a:pt x="3327" y="4299"/>
                    </a:lnTo>
                    <a:lnTo>
                      <a:pt x="3325" y="4311"/>
                    </a:lnTo>
                    <a:lnTo>
                      <a:pt x="3322" y="4324"/>
                    </a:lnTo>
                    <a:lnTo>
                      <a:pt x="3317" y="4350"/>
                    </a:lnTo>
                    <a:lnTo>
                      <a:pt x="3308" y="4378"/>
                    </a:lnTo>
                    <a:lnTo>
                      <a:pt x="3297" y="4408"/>
                    </a:lnTo>
                    <a:lnTo>
                      <a:pt x="3285" y="4436"/>
                    </a:lnTo>
                    <a:lnTo>
                      <a:pt x="3270" y="4466"/>
                    </a:lnTo>
                    <a:lnTo>
                      <a:pt x="3255" y="4495"/>
                    </a:lnTo>
                    <a:lnTo>
                      <a:pt x="3236" y="4522"/>
                    </a:lnTo>
                    <a:lnTo>
                      <a:pt x="3218" y="4549"/>
                    </a:lnTo>
                    <a:lnTo>
                      <a:pt x="3209" y="4561"/>
                    </a:lnTo>
                    <a:lnTo>
                      <a:pt x="3199" y="4573"/>
                    </a:lnTo>
                    <a:lnTo>
                      <a:pt x="3188" y="4584"/>
                    </a:lnTo>
                    <a:lnTo>
                      <a:pt x="3178" y="4595"/>
                    </a:lnTo>
                    <a:lnTo>
                      <a:pt x="3168" y="4605"/>
                    </a:lnTo>
                    <a:lnTo>
                      <a:pt x="3157" y="4613"/>
                    </a:lnTo>
                    <a:lnTo>
                      <a:pt x="3147" y="4621"/>
                    </a:lnTo>
                    <a:lnTo>
                      <a:pt x="3136" y="4628"/>
                    </a:lnTo>
                    <a:lnTo>
                      <a:pt x="3125" y="4635"/>
                    </a:lnTo>
                    <a:lnTo>
                      <a:pt x="3114" y="4639"/>
                    </a:lnTo>
                    <a:lnTo>
                      <a:pt x="3102" y="4643"/>
                    </a:lnTo>
                    <a:lnTo>
                      <a:pt x="3092" y="4645"/>
                    </a:lnTo>
                    <a:lnTo>
                      <a:pt x="3075" y="4645"/>
                    </a:lnTo>
                    <a:lnTo>
                      <a:pt x="3058" y="4643"/>
                    </a:lnTo>
                    <a:lnTo>
                      <a:pt x="3042" y="4640"/>
                    </a:lnTo>
                    <a:lnTo>
                      <a:pt x="3025" y="4636"/>
                    </a:lnTo>
                    <a:lnTo>
                      <a:pt x="3009" y="4632"/>
                    </a:lnTo>
                    <a:lnTo>
                      <a:pt x="2993" y="4628"/>
                    </a:lnTo>
                    <a:lnTo>
                      <a:pt x="2978" y="4622"/>
                    </a:lnTo>
                    <a:lnTo>
                      <a:pt x="2962" y="4616"/>
                    </a:lnTo>
                    <a:lnTo>
                      <a:pt x="2933" y="4604"/>
                    </a:lnTo>
                    <a:lnTo>
                      <a:pt x="2903" y="4590"/>
                    </a:lnTo>
                    <a:lnTo>
                      <a:pt x="2874" y="4575"/>
                    </a:lnTo>
                    <a:lnTo>
                      <a:pt x="2847" y="4559"/>
                    </a:lnTo>
                    <a:lnTo>
                      <a:pt x="2818" y="4544"/>
                    </a:lnTo>
                    <a:lnTo>
                      <a:pt x="2790" y="4529"/>
                    </a:lnTo>
                    <a:lnTo>
                      <a:pt x="2764" y="4515"/>
                    </a:lnTo>
                    <a:lnTo>
                      <a:pt x="2737" y="4504"/>
                    </a:lnTo>
                    <a:lnTo>
                      <a:pt x="2710" y="4494"/>
                    </a:lnTo>
                    <a:lnTo>
                      <a:pt x="2684" y="4486"/>
                    </a:lnTo>
                    <a:lnTo>
                      <a:pt x="2671" y="4482"/>
                    </a:lnTo>
                    <a:lnTo>
                      <a:pt x="2659" y="4480"/>
                    </a:lnTo>
                    <a:lnTo>
                      <a:pt x="2645" y="4479"/>
                    </a:lnTo>
                    <a:lnTo>
                      <a:pt x="2632" y="4479"/>
                    </a:lnTo>
                    <a:lnTo>
                      <a:pt x="2622" y="4478"/>
                    </a:lnTo>
                    <a:lnTo>
                      <a:pt x="2612" y="4478"/>
                    </a:lnTo>
                    <a:lnTo>
                      <a:pt x="2602" y="4476"/>
                    </a:lnTo>
                    <a:lnTo>
                      <a:pt x="2593" y="4475"/>
                    </a:lnTo>
                    <a:lnTo>
                      <a:pt x="2584" y="4474"/>
                    </a:lnTo>
                    <a:lnTo>
                      <a:pt x="2575" y="4473"/>
                    </a:lnTo>
                    <a:lnTo>
                      <a:pt x="2566" y="4472"/>
                    </a:lnTo>
                    <a:lnTo>
                      <a:pt x="2555" y="4472"/>
                    </a:lnTo>
                    <a:lnTo>
                      <a:pt x="2549" y="4471"/>
                    </a:lnTo>
                    <a:lnTo>
                      <a:pt x="2542" y="4470"/>
                    </a:lnTo>
                    <a:lnTo>
                      <a:pt x="2534" y="4467"/>
                    </a:lnTo>
                    <a:lnTo>
                      <a:pt x="2527" y="4464"/>
                    </a:lnTo>
                    <a:lnTo>
                      <a:pt x="2511" y="4455"/>
                    </a:lnTo>
                    <a:lnTo>
                      <a:pt x="2496" y="4443"/>
                    </a:lnTo>
                    <a:lnTo>
                      <a:pt x="2481" y="4432"/>
                    </a:lnTo>
                    <a:lnTo>
                      <a:pt x="2468" y="4419"/>
                    </a:lnTo>
                    <a:lnTo>
                      <a:pt x="2458" y="4407"/>
                    </a:lnTo>
                    <a:lnTo>
                      <a:pt x="2451" y="4395"/>
                    </a:lnTo>
                    <a:lnTo>
                      <a:pt x="2438" y="4401"/>
                    </a:lnTo>
                    <a:lnTo>
                      <a:pt x="2427" y="4408"/>
                    </a:lnTo>
                    <a:lnTo>
                      <a:pt x="2417" y="4413"/>
                    </a:lnTo>
                    <a:lnTo>
                      <a:pt x="2407" y="4420"/>
                    </a:lnTo>
                    <a:lnTo>
                      <a:pt x="2398" y="4426"/>
                    </a:lnTo>
                    <a:lnTo>
                      <a:pt x="2390" y="4429"/>
                    </a:lnTo>
                    <a:lnTo>
                      <a:pt x="2386" y="4431"/>
                    </a:lnTo>
                    <a:lnTo>
                      <a:pt x="2382" y="4431"/>
                    </a:lnTo>
                    <a:lnTo>
                      <a:pt x="2378" y="4431"/>
                    </a:lnTo>
                    <a:lnTo>
                      <a:pt x="2374" y="4429"/>
                    </a:lnTo>
                    <a:lnTo>
                      <a:pt x="2354" y="4429"/>
                    </a:lnTo>
                    <a:lnTo>
                      <a:pt x="2338" y="4429"/>
                    </a:lnTo>
                    <a:lnTo>
                      <a:pt x="2324" y="4429"/>
                    </a:lnTo>
                    <a:lnTo>
                      <a:pt x="2311" y="4429"/>
                    </a:lnTo>
                    <a:lnTo>
                      <a:pt x="2297" y="4429"/>
                    </a:lnTo>
                    <a:lnTo>
                      <a:pt x="2284" y="4429"/>
                    </a:lnTo>
                    <a:lnTo>
                      <a:pt x="2265" y="4429"/>
                    </a:lnTo>
                    <a:lnTo>
                      <a:pt x="2242" y="4429"/>
                    </a:lnTo>
                    <a:lnTo>
                      <a:pt x="2232" y="4428"/>
                    </a:lnTo>
                    <a:lnTo>
                      <a:pt x="2223" y="4426"/>
                    </a:lnTo>
                    <a:lnTo>
                      <a:pt x="2215" y="4423"/>
                    </a:lnTo>
                    <a:lnTo>
                      <a:pt x="2207" y="4418"/>
                    </a:lnTo>
                    <a:lnTo>
                      <a:pt x="2193" y="4405"/>
                    </a:lnTo>
                    <a:lnTo>
                      <a:pt x="2180" y="4392"/>
                    </a:lnTo>
                    <a:lnTo>
                      <a:pt x="2168" y="4378"/>
                    </a:lnTo>
                    <a:lnTo>
                      <a:pt x="2155" y="4365"/>
                    </a:lnTo>
                    <a:lnTo>
                      <a:pt x="2148" y="4361"/>
                    </a:lnTo>
                    <a:lnTo>
                      <a:pt x="2140" y="4356"/>
                    </a:lnTo>
                    <a:lnTo>
                      <a:pt x="2132" y="4354"/>
                    </a:lnTo>
                    <a:lnTo>
                      <a:pt x="2123" y="4353"/>
                    </a:lnTo>
                    <a:lnTo>
                      <a:pt x="2116" y="4354"/>
                    </a:lnTo>
                    <a:lnTo>
                      <a:pt x="2108" y="4355"/>
                    </a:lnTo>
                    <a:lnTo>
                      <a:pt x="2100" y="4356"/>
                    </a:lnTo>
                    <a:lnTo>
                      <a:pt x="2093" y="4359"/>
                    </a:lnTo>
                    <a:lnTo>
                      <a:pt x="2086" y="4363"/>
                    </a:lnTo>
                    <a:lnTo>
                      <a:pt x="2080" y="4368"/>
                    </a:lnTo>
                    <a:lnTo>
                      <a:pt x="2074" y="4373"/>
                    </a:lnTo>
                    <a:lnTo>
                      <a:pt x="2068" y="4381"/>
                    </a:lnTo>
                    <a:lnTo>
                      <a:pt x="2053" y="4368"/>
                    </a:lnTo>
                    <a:lnTo>
                      <a:pt x="2035" y="4348"/>
                    </a:lnTo>
                    <a:lnTo>
                      <a:pt x="2026" y="4338"/>
                    </a:lnTo>
                    <a:lnTo>
                      <a:pt x="2017" y="4325"/>
                    </a:lnTo>
                    <a:lnTo>
                      <a:pt x="2007" y="4312"/>
                    </a:lnTo>
                    <a:lnTo>
                      <a:pt x="1999" y="4299"/>
                    </a:lnTo>
                    <a:lnTo>
                      <a:pt x="1991" y="4284"/>
                    </a:lnTo>
                    <a:lnTo>
                      <a:pt x="1984" y="4269"/>
                    </a:lnTo>
                    <a:lnTo>
                      <a:pt x="1979" y="4254"/>
                    </a:lnTo>
                    <a:lnTo>
                      <a:pt x="1975" y="4239"/>
                    </a:lnTo>
                    <a:lnTo>
                      <a:pt x="1973" y="4224"/>
                    </a:lnTo>
                    <a:lnTo>
                      <a:pt x="1972" y="4208"/>
                    </a:lnTo>
                    <a:lnTo>
                      <a:pt x="1973" y="4201"/>
                    </a:lnTo>
                    <a:lnTo>
                      <a:pt x="1973" y="4193"/>
                    </a:lnTo>
                    <a:lnTo>
                      <a:pt x="1975" y="4186"/>
                    </a:lnTo>
                    <a:lnTo>
                      <a:pt x="1978" y="4179"/>
                    </a:lnTo>
                    <a:lnTo>
                      <a:pt x="1964" y="4171"/>
                    </a:lnTo>
                    <a:lnTo>
                      <a:pt x="1948" y="4165"/>
                    </a:lnTo>
                    <a:lnTo>
                      <a:pt x="1931" y="4159"/>
                    </a:lnTo>
                    <a:lnTo>
                      <a:pt x="1913" y="4154"/>
                    </a:lnTo>
                    <a:lnTo>
                      <a:pt x="1896" y="4150"/>
                    </a:lnTo>
                    <a:lnTo>
                      <a:pt x="1881" y="4146"/>
                    </a:lnTo>
                    <a:lnTo>
                      <a:pt x="1869" y="4145"/>
                    </a:lnTo>
                    <a:lnTo>
                      <a:pt x="1859" y="4144"/>
                    </a:lnTo>
                    <a:lnTo>
                      <a:pt x="1850" y="4145"/>
                    </a:lnTo>
                    <a:lnTo>
                      <a:pt x="1840" y="4145"/>
                    </a:lnTo>
                    <a:lnTo>
                      <a:pt x="1830" y="4146"/>
                    </a:lnTo>
                    <a:lnTo>
                      <a:pt x="1818" y="4148"/>
                    </a:lnTo>
                    <a:lnTo>
                      <a:pt x="1808" y="4151"/>
                    </a:lnTo>
                    <a:lnTo>
                      <a:pt x="1798" y="4153"/>
                    </a:lnTo>
                    <a:lnTo>
                      <a:pt x="1788" y="4155"/>
                    </a:lnTo>
                    <a:lnTo>
                      <a:pt x="1783" y="4158"/>
                    </a:lnTo>
                    <a:lnTo>
                      <a:pt x="1770" y="4144"/>
                    </a:lnTo>
                    <a:lnTo>
                      <a:pt x="1753" y="4129"/>
                    </a:lnTo>
                    <a:lnTo>
                      <a:pt x="1734" y="4112"/>
                    </a:lnTo>
                    <a:lnTo>
                      <a:pt x="1716" y="4092"/>
                    </a:lnTo>
                    <a:lnTo>
                      <a:pt x="1707" y="4082"/>
                    </a:lnTo>
                    <a:lnTo>
                      <a:pt x="1699" y="4072"/>
                    </a:lnTo>
                    <a:lnTo>
                      <a:pt x="1691" y="4060"/>
                    </a:lnTo>
                    <a:lnTo>
                      <a:pt x="1684" y="4048"/>
                    </a:lnTo>
                    <a:lnTo>
                      <a:pt x="1679" y="4035"/>
                    </a:lnTo>
                    <a:lnTo>
                      <a:pt x="1675" y="4021"/>
                    </a:lnTo>
                    <a:lnTo>
                      <a:pt x="1673" y="4006"/>
                    </a:lnTo>
                    <a:lnTo>
                      <a:pt x="1671" y="3991"/>
                    </a:lnTo>
                    <a:lnTo>
                      <a:pt x="1671" y="3982"/>
                    </a:lnTo>
                    <a:lnTo>
                      <a:pt x="1674" y="3974"/>
                    </a:lnTo>
                    <a:lnTo>
                      <a:pt x="1677" y="3967"/>
                    </a:lnTo>
                    <a:lnTo>
                      <a:pt x="1683" y="3962"/>
                    </a:lnTo>
                    <a:lnTo>
                      <a:pt x="1689" y="3956"/>
                    </a:lnTo>
                    <a:lnTo>
                      <a:pt x="1694" y="3950"/>
                    </a:lnTo>
                    <a:lnTo>
                      <a:pt x="1701" y="3945"/>
                    </a:lnTo>
                    <a:lnTo>
                      <a:pt x="1709" y="3941"/>
                    </a:lnTo>
                    <a:lnTo>
                      <a:pt x="1725" y="3932"/>
                    </a:lnTo>
                    <a:lnTo>
                      <a:pt x="1741" y="3923"/>
                    </a:lnTo>
                    <a:lnTo>
                      <a:pt x="1749" y="3918"/>
                    </a:lnTo>
                    <a:lnTo>
                      <a:pt x="1756" y="3912"/>
                    </a:lnTo>
                    <a:lnTo>
                      <a:pt x="1763" y="3906"/>
                    </a:lnTo>
                    <a:lnTo>
                      <a:pt x="1769" y="3901"/>
                    </a:lnTo>
                    <a:lnTo>
                      <a:pt x="1775" y="3892"/>
                    </a:lnTo>
                    <a:lnTo>
                      <a:pt x="1779" y="3881"/>
                    </a:lnTo>
                    <a:lnTo>
                      <a:pt x="1783" y="3872"/>
                    </a:lnTo>
                    <a:lnTo>
                      <a:pt x="1785" y="3863"/>
                    </a:lnTo>
                    <a:lnTo>
                      <a:pt x="1787" y="3843"/>
                    </a:lnTo>
                    <a:lnTo>
                      <a:pt x="1787" y="3823"/>
                    </a:lnTo>
                    <a:lnTo>
                      <a:pt x="1787" y="3802"/>
                    </a:lnTo>
                    <a:lnTo>
                      <a:pt x="1788" y="3781"/>
                    </a:lnTo>
                    <a:lnTo>
                      <a:pt x="1790" y="3771"/>
                    </a:lnTo>
                    <a:lnTo>
                      <a:pt x="1791" y="3761"/>
                    </a:lnTo>
                    <a:lnTo>
                      <a:pt x="1793" y="3751"/>
                    </a:lnTo>
                    <a:lnTo>
                      <a:pt x="1796" y="3740"/>
                    </a:lnTo>
                    <a:lnTo>
                      <a:pt x="1798" y="3737"/>
                    </a:lnTo>
                    <a:lnTo>
                      <a:pt x="1801" y="3733"/>
                    </a:lnTo>
                    <a:lnTo>
                      <a:pt x="1803" y="3731"/>
                    </a:lnTo>
                    <a:lnTo>
                      <a:pt x="1807" y="3729"/>
                    </a:lnTo>
                    <a:lnTo>
                      <a:pt x="1815" y="3724"/>
                    </a:lnTo>
                    <a:lnTo>
                      <a:pt x="1824" y="3721"/>
                    </a:lnTo>
                    <a:lnTo>
                      <a:pt x="1832" y="3715"/>
                    </a:lnTo>
                    <a:lnTo>
                      <a:pt x="1839" y="3708"/>
                    </a:lnTo>
                    <a:lnTo>
                      <a:pt x="1841" y="3703"/>
                    </a:lnTo>
                    <a:lnTo>
                      <a:pt x="1843" y="3698"/>
                    </a:lnTo>
                    <a:lnTo>
                      <a:pt x="1845" y="3692"/>
                    </a:lnTo>
                    <a:lnTo>
                      <a:pt x="1846" y="3684"/>
                    </a:lnTo>
                    <a:lnTo>
                      <a:pt x="1845" y="3678"/>
                    </a:lnTo>
                    <a:lnTo>
                      <a:pt x="1842" y="3673"/>
                    </a:lnTo>
                    <a:lnTo>
                      <a:pt x="1840" y="3667"/>
                    </a:lnTo>
                    <a:lnTo>
                      <a:pt x="1835" y="3662"/>
                    </a:lnTo>
                    <a:lnTo>
                      <a:pt x="1825" y="3651"/>
                    </a:lnTo>
                    <a:lnTo>
                      <a:pt x="1811" y="3640"/>
                    </a:lnTo>
                    <a:lnTo>
                      <a:pt x="1777" y="3617"/>
                    </a:lnTo>
                    <a:lnTo>
                      <a:pt x="1737" y="3595"/>
                    </a:lnTo>
                    <a:lnTo>
                      <a:pt x="1717" y="3582"/>
                    </a:lnTo>
                    <a:lnTo>
                      <a:pt x="1698" y="3569"/>
                    </a:lnTo>
                    <a:lnTo>
                      <a:pt x="1679" y="3556"/>
                    </a:lnTo>
                    <a:lnTo>
                      <a:pt x="1663" y="3541"/>
                    </a:lnTo>
                    <a:lnTo>
                      <a:pt x="1655" y="3533"/>
                    </a:lnTo>
                    <a:lnTo>
                      <a:pt x="1650" y="3525"/>
                    </a:lnTo>
                    <a:lnTo>
                      <a:pt x="1644" y="3517"/>
                    </a:lnTo>
                    <a:lnTo>
                      <a:pt x="1638" y="3507"/>
                    </a:lnTo>
                    <a:lnTo>
                      <a:pt x="1635" y="3498"/>
                    </a:lnTo>
                    <a:lnTo>
                      <a:pt x="1631" y="3489"/>
                    </a:lnTo>
                    <a:lnTo>
                      <a:pt x="1630" y="3479"/>
                    </a:lnTo>
                    <a:lnTo>
                      <a:pt x="1629" y="3468"/>
                    </a:lnTo>
                    <a:lnTo>
                      <a:pt x="1630" y="3465"/>
                    </a:lnTo>
                    <a:lnTo>
                      <a:pt x="1634" y="3460"/>
                    </a:lnTo>
                    <a:lnTo>
                      <a:pt x="1638" y="3455"/>
                    </a:lnTo>
                    <a:lnTo>
                      <a:pt x="1645" y="3448"/>
                    </a:lnTo>
                    <a:lnTo>
                      <a:pt x="1661" y="3433"/>
                    </a:lnTo>
                    <a:lnTo>
                      <a:pt x="1679" y="3416"/>
                    </a:lnTo>
                    <a:lnTo>
                      <a:pt x="1699" y="3398"/>
                    </a:lnTo>
                    <a:lnTo>
                      <a:pt x="1717" y="3381"/>
                    </a:lnTo>
                    <a:lnTo>
                      <a:pt x="1732" y="3367"/>
                    </a:lnTo>
                    <a:lnTo>
                      <a:pt x="1740" y="3357"/>
                    </a:lnTo>
                    <a:lnTo>
                      <a:pt x="1733" y="3351"/>
                    </a:lnTo>
                    <a:lnTo>
                      <a:pt x="1725" y="3347"/>
                    </a:lnTo>
                    <a:lnTo>
                      <a:pt x="1718" y="3341"/>
                    </a:lnTo>
                    <a:lnTo>
                      <a:pt x="1712" y="3335"/>
                    </a:lnTo>
                    <a:lnTo>
                      <a:pt x="1707" y="3330"/>
                    </a:lnTo>
                    <a:lnTo>
                      <a:pt x="1702" y="3323"/>
                    </a:lnTo>
                    <a:lnTo>
                      <a:pt x="1700" y="3316"/>
                    </a:lnTo>
                    <a:lnTo>
                      <a:pt x="1699" y="3308"/>
                    </a:lnTo>
                    <a:lnTo>
                      <a:pt x="1701" y="3285"/>
                    </a:lnTo>
                    <a:lnTo>
                      <a:pt x="1704" y="3269"/>
                    </a:lnTo>
                    <a:lnTo>
                      <a:pt x="1705" y="3257"/>
                    </a:lnTo>
                    <a:lnTo>
                      <a:pt x="1705" y="3247"/>
                    </a:lnTo>
                    <a:lnTo>
                      <a:pt x="1706" y="3233"/>
                    </a:lnTo>
                    <a:lnTo>
                      <a:pt x="1706" y="3215"/>
                    </a:lnTo>
                    <a:lnTo>
                      <a:pt x="1706" y="3187"/>
                    </a:lnTo>
                    <a:lnTo>
                      <a:pt x="1706" y="3148"/>
                    </a:lnTo>
                    <a:lnTo>
                      <a:pt x="1658" y="3148"/>
                    </a:lnTo>
                    <a:lnTo>
                      <a:pt x="1653" y="3150"/>
                    </a:lnTo>
                    <a:lnTo>
                      <a:pt x="1648" y="3152"/>
                    </a:lnTo>
                    <a:lnTo>
                      <a:pt x="1642" y="3155"/>
                    </a:lnTo>
                    <a:lnTo>
                      <a:pt x="1634" y="3159"/>
                    </a:lnTo>
                    <a:lnTo>
                      <a:pt x="1624" y="3162"/>
                    </a:lnTo>
                    <a:lnTo>
                      <a:pt x="1615" y="3166"/>
                    </a:lnTo>
                    <a:lnTo>
                      <a:pt x="1605" y="3168"/>
                    </a:lnTo>
                    <a:lnTo>
                      <a:pt x="1595" y="3169"/>
                    </a:lnTo>
                    <a:lnTo>
                      <a:pt x="1587" y="3168"/>
                    </a:lnTo>
                    <a:lnTo>
                      <a:pt x="1575" y="3164"/>
                    </a:lnTo>
                    <a:lnTo>
                      <a:pt x="1560" y="3159"/>
                    </a:lnTo>
                    <a:lnTo>
                      <a:pt x="1544" y="3152"/>
                    </a:lnTo>
                    <a:lnTo>
                      <a:pt x="1506" y="3132"/>
                    </a:lnTo>
                    <a:lnTo>
                      <a:pt x="1466" y="3111"/>
                    </a:lnTo>
                    <a:lnTo>
                      <a:pt x="1428" y="3088"/>
                    </a:lnTo>
                    <a:lnTo>
                      <a:pt x="1396" y="3066"/>
                    </a:lnTo>
                    <a:lnTo>
                      <a:pt x="1382" y="3057"/>
                    </a:lnTo>
                    <a:lnTo>
                      <a:pt x="1373" y="3049"/>
                    </a:lnTo>
                    <a:lnTo>
                      <a:pt x="1366" y="3042"/>
                    </a:lnTo>
                    <a:lnTo>
                      <a:pt x="1365" y="3037"/>
                    </a:lnTo>
                    <a:lnTo>
                      <a:pt x="1295" y="3030"/>
                    </a:lnTo>
                    <a:lnTo>
                      <a:pt x="1292" y="3034"/>
                    </a:lnTo>
                    <a:lnTo>
                      <a:pt x="1288" y="3038"/>
                    </a:lnTo>
                    <a:lnTo>
                      <a:pt x="1285" y="3044"/>
                    </a:lnTo>
                    <a:lnTo>
                      <a:pt x="1280" y="3050"/>
                    </a:lnTo>
                    <a:lnTo>
                      <a:pt x="1276" y="3055"/>
                    </a:lnTo>
                    <a:lnTo>
                      <a:pt x="1270" y="3060"/>
                    </a:lnTo>
                    <a:lnTo>
                      <a:pt x="1266" y="3064"/>
                    </a:lnTo>
                    <a:lnTo>
                      <a:pt x="1260" y="3065"/>
                    </a:lnTo>
                    <a:lnTo>
                      <a:pt x="1253" y="3064"/>
                    </a:lnTo>
                    <a:lnTo>
                      <a:pt x="1247" y="3062"/>
                    </a:lnTo>
                    <a:lnTo>
                      <a:pt x="1241" y="3059"/>
                    </a:lnTo>
                    <a:lnTo>
                      <a:pt x="1237" y="3055"/>
                    </a:lnTo>
                    <a:lnTo>
                      <a:pt x="1229" y="3047"/>
                    </a:lnTo>
                    <a:lnTo>
                      <a:pt x="1222" y="3037"/>
                    </a:lnTo>
                    <a:lnTo>
                      <a:pt x="1215" y="3027"/>
                    </a:lnTo>
                    <a:lnTo>
                      <a:pt x="1207" y="3018"/>
                    </a:lnTo>
                    <a:lnTo>
                      <a:pt x="1202" y="3014"/>
                    </a:lnTo>
                    <a:lnTo>
                      <a:pt x="1197" y="3011"/>
                    </a:lnTo>
                    <a:lnTo>
                      <a:pt x="1191" y="3010"/>
                    </a:lnTo>
                    <a:lnTo>
                      <a:pt x="1184" y="3008"/>
                    </a:lnTo>
                    <a:lnTo>
                      <a:pt x="1173" y="3010"/>
                    </a:lnTo>
                    <a:lnTo>
                      <a:pt x="1161" y="3011"/>
                    </a:lnTo>
                    <a:lnTo>
                      <a:pt x="1151" y="3013"/>
                    </a:lnTo>
                    <a:lnTo>
                      <a:pt x="1139" y="3015"/>
                    </a:lnTo>
                    <a:lnTo>
                      <a:pt x="1119" y="3022"/>
                    </a:lnTo>
                    <a:lnTo>
                      <a:pt x="1097" y="3031"/>
                    </a:lnTo>
                    <a:lnTo>
                      <a:pt x="1076" y="3043"/>
                    </a:lnTo>
                    <a:lnTo>
                      <a:pt x="1056" y="3055"/>
                    </a:lnTo>
                    <a:lnTo>
                      <a:pt x="1035" y="3069"/>
                    </a:lnTo>
                    <a:lnTo>
                      <a:pt x="1014" y="3084"/>
                    </a:lnTo>
                    <a:lnTo>
                      <a:pt x="973" y="3113"/>
                    </a:lnTo>
                    <a:lnTo>
                      <a:pt x="932" y="3138"/>
                    </a:lnTo>
                    <a:lnTo>
                      <a:pt x="911" y="3150"/>
                    </a:lnTo>
                    <a:lnTo>
                      <a:pt x="891" y="3159"/>
                    </a:lnTo>
                    <a:lnTo>
                      <a:pt x="880" y="3162"/>
                    </a:lnTo>
                    <a:lnTo>
                      <a:pt x="870" y="3166"/>
                    </a:lnTo>
                    <a:lnTo>
                      <a:pt x="860" y="3168"/>
                    </a:lnTo>
                    <a:lnTo>
                      <a:pt x="849" y="3169"/>
                    </a:lnTo>
                    <a:lnTo>
                      <a:pt x="828" y="3170"/>
                    </a:lnTo>
                    <a:lnTo>
                      <a:pt x="805" y="3170"/>
                    </a:lnTo>
                    <a:lnTo>
                      <a:pt x="782" y="3169"/>
                    </a:lnTo>
                    <a:lnTo>
                      <a:pt x="760" y="3168"/>
                    </a:lnTo>
                    <a:lnTo>
                      <a:pt x="750" y="3169"/>
                    </a:lnTo>
                    <a:lnTo>
                      <a:pt x="739" y="3170"/>
                    </a:lnTo>
                    <a:lnTo>
                      <a:pt x="730" y="3172"/>
                    </a:lnTo>
                    <a:lnTo>
                      <a:pt x="721" y="3176"/>
                    </a:lnTo>
                    <a:lnTo>
                      <a:pt x="713" y="3181"/>
                    </a:lnTo>
                    <a:lnTo>
                      <a:pt x="706" y="3186"/>
                    </a:lnTo>
                    <a:lnTo>
                      <a:pt x="700" y="3194"/>
                    </a:lnTo>
                    <a:lnTo>
                      <a:pt x="697" y="3203"/>
                    </a:lnTo>
                    <a:lnTo>
                      <a:pt x="432" y="3197"/>
                    </a:lnTo>
                    <a:lnTo>
                      <a:pt x="432" y="3210"/>
                    </a:lnTo>
                    <a:lnTo>
                      <a:pt x="292" y="3197"/>
                    </a:lnTo>
                    <a:lnTo>
                      <a:pt x="293" y="3186"/>
                    </a:lnTo>
                    <a:lnTo>
                      <a:pt x="293" y="3175"/>
                    </a:lnTo>
                    <a:lnTo>
                      <a:pt x="294" y="3162"/>
                    </a:lnTo>
                    <a:lnTo>
                      <a:pt x="296" y="3150"/>
                    </a:lnTo>
                    <a:lnTo>
                      <a:pt x="297" y="3137"/>
                    </a:lnTo>
                    <a:lnTo>
                      <a:pt x="298" y="3122"/>
                    </a:lnTo>
                    <a:lnTo>
                      <a:pt x="299" y="3108"/>
                    </a:lnTo>
                    <a:lnTo>
                      <a:pt x="299" y="3092"/>
                    </a:lnTo>
                    <a:lnTo>
                      <a:pt x="300" y="3078"/>
                    </a:lnTo>
                    <a:lnTo>
                      <a:pt x="302" y="3066"/>
                    </a:lnTo>
                    <a:lnTo>
                      <a:pt x="306" y="3054"/>
                    </a:lnTo>
                    <a:lnTo>
                      <a:pt x="312" y="3044"/>
                    </a:lnTo>
                    <a:lnTo>
                      <a:pt x="317" y="3034"/>
                    </a:lnTo>
                    <a:lnTo>
                      <a:pt x="323" y="3025"/>
                    </a:lnTo>
                    <a:lnTo>
                      <a:pt x="331" y="3015"/>
                    </a:lnTo>
                    <a:lnTo>
                      <a:pt x="338" y="3007"/>
                    </a:lnTo>
                    <a:lnTo>
                      <a:pt x="352" y="2990"/>
                    </a:lnTo>
                    <a:lnTo>
                      <a:pt x="364" y="2973"/>
                    </a:lnTo>
                    <a:lnTo>
                      <a:pt x="369" y="2964"/>
                    </a:lnTo>
                    <a:lnTo>
                      <a:pt x="372" y="2955"/>
                    </a:lnTo>
                    <a:lnTo>
                      <a:pt x="375" y="2943"/>
                    </a:lnTo>
                    <a:lnTo>
                      <a:pt x="376" y="2933"/>
                    </a:lnTo>
                    <a:lnTo>
                      <a:pt x="376" y="2925"/>
                    </a:lnTo>
                    <a:lnTo>
                      <a:pt x="376" y="2918"/>
                    </a:lnTo>
                    <a:lnTo>
                      <a:pt x="376" y="2911"/>
                    </a:lnTo>
                    <a:lnTo>
                      <a:pt x="376" y="2904"/>
                    </a:lnTo>
                    <a:lnTo>
                      <a:pt x="376" y="2898"/>
                    </a:lnTo>
                    <a:lnTo>
                      <a:pt x="376" y="2891"/>
                    </a:lnTo>
                    <a:lnTo>
                      <a:pt x="376" y="2885"/>
                    </a:lnTo>
                    <a:lnTo>
                      <a:pt x="376" y="2877"/>
                    </a:lnTo>
                    <a:lnTo>
                      <a:pt x="377" y="2871"/>
                    </a:lnTo>
                    <a:lnTo>
                      <a:pt x="378" y="2865"/>
                    </a:lnTo>
                    <a:lnTo>
                      <a:pt x="380" y="2859"/>
                    </a:lnTo>
                    <a:lnTo>
                      <a:pt x="383" y="2855"/>
                    </a:lnTo>
                    <a:lnTo>
                      <a:pt x="386" y="2850"/>
                    </a:lnTo>
                    <a:lnTo>
                      <a:pt x="391" y="2847"/>
                    </a:lnTo>
                    <a:lnTo>
                      <a:pt x="395" y="2843"/>
                    </a:lnTo>
                    <a:lnTo>
                      <a:pt x="401" y="2840"/>
                    </a:lnTo>
                    <a:lnTo>
                      <a:pt x="414" y="2834"/>
                    </a:lnTo>
                    <a:lnTo>
                      <a:pt x="426" y="2830"/>
                    </a:lnTo>
                    <a:lnTo>
                      <a:pt x="441" y="2825"/>
                    </a:lnTo>
                    <a:lnTo>
                      <a:pt x="456" y="2822"/>
                    </a:lnTo>
                    <a:lnTo>
                      <a:pt x="471" y="2818"/>
                    </a:lnTo>
                    <a:lnTo>
                      <a:pt x="486" y="2815"/>
                    </a:lnTo>
                    <a:lnTo>
                      <a:pt x="499" y="2810"/>
                    </a:lnTo>
                    <a:lnTo>
                      <a:pt x="511" y="2805"/>
                    </a:lnTo>
                    <a:lnTo>
                      <a:pt x="517" y="2802"/>
                    </a:lnTo>
                    <a:lnTo>
                      <a:pt x="521" y="2799"/>
                    </a:lnTo>
                    <a:lnTo>
                      <a:pt x="526" y="2795"/>
                    </a:lnTo>
                    <a:lnTo>
                      <a:pt x="529" y="2792"/>
                    </a:lnTo>
                    <a:lnTo>
                      <a:pt x="532" y="2787"/>
                    </a:lnTo>
                    <a:lnTo>
                      <a:pt x="534" y="2783"/>
                    </a:lnTo>
                    <a:lnTo>
                      <a:pt x="535" y="2778"/>
                    </a:lnTo>
                    <a:lnTo>
                      <a:pt x="536" y="2772"/>
                    </a:lnTo>
                    <a:lnTo>
                      <a:pt x="538" y="2766"/>
                    </a:lnTo>
                    <a:lnTo>
                      <a:pt x="538" y="2762"/>
                    </a:lnTo>
                    <a:lnTo>
                      <a:pt x="536" y="2757"/>
                    </a:lnTo>
                    <a:lnTo>
                      <a:pt x="536" y="2753"/>
                    </a:lnTo>
                    <a:lnTo>
                      <a:pt x="533" y="2744"/>
                    </a:lnTo>
                    <a:lnTo>
                      <a:pt x="528" y="2734"/>
                    </a:lnTo>
                    <a:lnTo>
                      <a:pt x="524" y="2725"/>
                    </a:lnTo>
                    <a:lnTo>
                      <a:pt x="519" y="2715"/>
                    </a:lnTo>
                    <a:lnTo>
                      <a:pt x="517" y="2706"/>
                    </a:lnTo>
                    <a:lnTo>
                      <a:pt x="516" y="2695"/>
                    </a:lnTo>
                    <a:lnTo>
                      <a:pt x="516" y="2687"/>
                    </a:lnTo>
                    <a:lnTo>
                      <a:pt x="517" y="2679"/>
                    </a:lnTo>
                    <a:lnTo>
                      <a:pt x="519" y="2674"/>
                    </a:lnTo>
                    <a:lnTo>
                      <a:pt x="521" y="2668"/>
                    </a:lnTo>
                    <a:lnTo>
                      <a:pt x="528" y="2658"/>
                    </a:lnTo>
                    <a:lnTo>
                      <a:pt x="538" y="2650"/>
                    </a:lnTo>
                    <a:lnTo>
                      <a:pt x="546" y="2640"/>
                    </a:lnTo>
                    <a:lnTo>
                      <a:pt x="554" y="2630"/>
                    </a:lnTo>
                    <a:lnTo>
                      <a:pt x="557" y="2623"/>
                    </a:lnTo>
                    <a:lnTo>
                      <a:pt x="560" y="2616"/>
                    </a:lnTo>
                    <a:lnTo>
                      <a:pt x="563" y="2608"/>
                    </a:lnTo>
                    <a:lnTo>
                      <a:pt x="564" y="2598"/>
                    </a:lnTo>
                    <a:lnTo>
                      <a:pt x="355" y="2487"/>
                    </a:lnTo>
                    <a:lnTo>
                      <a:pt x="341" y="2484"/>
                    </a:lnTo>
                    <a:lnTo>
                      <a:pt x="328" y="2481"/>
                    </a:lnTo>
                    <a:lnTo>
                      <a:pt x="313" y="2475"/>
                    </a:lnTo>
                    <a:lnTo>
                      <a:pt x="297" y="2468"/>
                    </a:lnTo>
                    <a:lnTo>
                      <a:pt x="281" y="2460"/>
                    </a:lnTo>
                    <a:lnTo>
                      <a:pt x="266" y="2452"/>
                    </a:lnTo>
                    <a:lnTo>
                      <a:pt x="250" y="2442"/>
                    </a:lnTo>
                    <a:lnTo>
                      <a:pt x="234" y="2432"/>
                    </a:lnTo>
                    <a:lnTo>
                      <a:pt x="219" y="2420"/>
                    </a:lnTo>
                    <a:lnTo>
                      <a:pt x="205" y="2409"/>
                    </a:lnTo>
                    <a:lnTo>
                      <a:pt x="191" y="2397"/>
                    </a:lnTo>
                    <a:lnTo>
                      <a:pt x="177" y="2386"/>
                    </a:lnTo>
                    <a:lnTo>
                      <a:pt x="166" y="2374"/>
                    </a:lnTo>
                    <a:lnTo>
                      <a:pt x="156" y="2363"/>
                    </a:lnTo>
                    <a:lnTo>
                      <a:pt x="147" y="2351"/>
                    </a:lnTo>
                    <a:lnTo>
                      <a:pt x="140" y="2340"/>
                    </a:lnTo>
                    <a:lnTo>
                      <a:pt x="137" y="2335"/>
                    </a:lnTo>
                    <a:lnTo>
                      <a:pt x="136" y="2328"/>
                    </a:lnTo>
                    <a:lnTo>
                      <a:pt x="135" y="2321"/>
                    </a:lnTo>
                    <a:lnTo>
                      <a:pt x="135" y="2313"/>
                    </a:lnTo>
                    <a:lnTo>
                      <a:pt x="136" y="2297"/>
                    </a:lnTo>
                    <a:lnTo>
                      <a:pt x="137" y="2280"/>
                    </a:lnTo>
                    <a:lnTo>
                      <a:pt x="139" y="2263"/>
                    </a:lnTo>
                    <a:lnTo>
                      <a:pt x="137" y="2246"/>
                    </a:lnTo>
                    <a:lnTo>
                      <a:pt x="136" y="2237"/>
                    </a:lnTo>
                    <a:lnTo>
                      <a:pt x="134" y="2230"/>
                    </a:lnTo>
                    <a:lnTo>
                      <a:pt x="130" y="2222"/>
                    </a:lnTo>
                    <a:lnTo>
                      <a:pt x="126" y="2215"/>
                    </a:lnTo>
                    <a:lnTo>
                      <a:pt x="119" y="2210"/>
                    </a:lnTo>
                    <a:lnTo>
                      <a:pt x="111" y="2208"/>
                    </a:lnTo>
                    <a:lnTo>
                      <a:pt x="101" y="2206"/>
                    </a:lnTo>
                    <a:lnTo>
                      <a:pt x="90" y="2205"/>
                    </a:lnTo>
                    <a:lnTo>
                      <a:pt x="80" y="2203"/>
                    </a:lnTo>
                    <a:lnTo>
                      <a:pt x="71" y="2201"/>
                    </a:lnTo>
                    <a:lnTo>
                      <a:pt x="62" y="2199"/>
                    </a:lnTo>
                    <a:lnTo>
                      <a:pt x="56" y="2194"/>
                    </a:lnTo>
                    <a:lnTo>
                      <a:pt x="53" y="2190"/>
                    </a:lnTo>
                    <a:lnTo>
                      <a:pt x="49" y="2179"/>
                    </a:lnTo>
                    <a:lnTo>
                      <a:pt x="46" y="2167"/>
                    </a:lnTo>
                    <a:lnTo>
                      <a:pt x="41" y="2151"/>
                    </a:lnTo>
                    <a:lnTo>
                      <a:pt x="32" y="2112"/>
                    </a:lnTo>
                    <a:lnTo>
                      <a:pt x="23" y="2068"/>
                    </a:lnTo>
                    <a:lnTo>
                      <a:pt x="14" y="2023"/>
                    </a:lnTo>
                    <a:lnTo>
                      <a:pt x="7" y="1983"/>
                    </a:lnTo>
                    <a:lnTo>
                      <a:pt x="2" y="1953"/>
                    </a:lnTo>
                    <a:lnTo>
                      <a:pt x="0" y="1936"/>
                    </a:lnTo>
                    <a:lnTo>
                      <a:pt x="2" y="1920"/>
                    </a:lnTo>
                    <a:lnTo>
                      <a:pt x="6" y="1902"/>
                    </a:lnTo>
                    <a:lnTo>
                      <a:pt x="11" y="1882"/>
                    </a:lnTo>
                    <a:lnTo>
                      <a:pt x="17" y="1863"/>
                    </a:lnTo>
                    <a:lnTo>
                      <a:pt x="24" y="1843"/>
                    </a:lnTo>
                    <a:lnTo>
                      <a:pt x="30" y="1825"/>
                    </a:lnTo>
                    <a:lnTo>
                      <a:pt x="33" y="1807"/>
                    </a:lnTo>
                    <a:lnTo>
                      <a:pt x="35" y="1790"/>
                    </a:lnTo>
                    <a:lnTo>
                      <a:pt x="34" y="1778"/>
                    </a:lnTo>
                    <a:lnTo>
                      <a:pt x="31" y="1766"/>
                    </a:lnTo>
                    <a:lnTo>
                      <a:pt x="26" y="1755"/>
                    </a:lnTo>
                    <a:lnTo>
                      <a:pt x="22" y="1743"/>
                    </a:lnTo>
                    <a:lnTo>
                      <a:pt x="17" y="1733"/>
                    </a:lnTo>
                    <a:lnTo>
                      <a:pt x="15" y="1721"/>
                    </a:lnTo>
                    <a:lnTo>
                      <a:pt x="14" y="1714"/>
                    </a:lnTo>
                    <a:lnTo>
                      <a:pt x="12" y="1708"/>
                    </a:lnTo>
                    <a:lnTo>
                      <a:pt x="14" y="1700"/>
                    </a:lnTo>
                    <a:lnTo>
                      <a:pt x="14" y="1693"/>
                    </a:lnTo>
                    <a:lnTo>
                      <a:pt x="20" y="1692"/>
                    </a:lnTo>
                    <a:lnTo>
                      <a:pt x="30" y="1691"/>
                    </a:lnTo>
                    <a:lnTo>
                      <a:pt x="41" y="1688"/>
                    </a:lnTo>
                    <a:lnTo>
                      <a:pt x="54" y="1686"/>
                    </a:lnTo>
                    <a:lnTo>
                      <a:pt x="65" y="1683"/>
                    </a:lnTo>
                    <a:lnTo>
                      <a:pt x="78" y="1680"/>
                    </a:lnTo>
                    <a:lnTo>
                      <a:pt x="88" y="1679"/>
                    </a:lnTo>
                    <a:lnTo>
                      <a:pt x="97" y="1678"/>
                    </a:lnTo>
                    <a:lnTo>
                      <a:pt x="100" y="1656"/>
                    </a:lnTo>
                    <a:lnTo>
                      <a:pt x="101" y="1637"/>
                    </a:lnTo>
                    <a:lnTo>
                      <a:pt x="101" y="1618"/>
                    </a:lnTo>
                    <a:lnTo>
                      <a:pt x="101" y="1601"/>
                    </a:lnTo>
                    <a:lnTo>
                      <a:pt x="100" y="1585"/>
                    </a:lnTo>
                    <a:lnTo>
                      <a:pt x="98" y="1570"/>
                    </a:lnTo>
                    <a:lnTo>
                      <a:pt x="97" y="1554"/>
                    </a:lnTo>
                    <a:lnTo>
                      <a:pt x="97" y="1539"/>
                    </a:lnTo>
                    <a:lnTo>
                      <a:pt x="98" y="1530"/>
                    </a:lnTo>
                    <a:lnTo>
                      <a:pt x="101" y="1522"/>
                    </a:lnTo>
                    <a:lnTo>
                      <a:pt x="105" y="1516"/>
                    </a:lnTo>
                    <a:lnTo>
                      <a:pt x="111" y="1511"/>
                    </a:lnTo>
                    <a:lnTo>
                      <a:pt x="119" y="1507"/>
                    </a:lnTo>
                    <a:lnTo>
                      <a:pt x="127" y="1505"/>
                    </a:lnTo>
                    <a:lnTo>
                      <a:pt x="136" y="1503"/>
                    </a:lnTo>
                    <a:lnTo>
                      <a:pt x="147" y="1501"/>
                    </a:lnTo>
                    <a:lnTo>
                      <a:pt x="168" y="1500"/>
                    </a:lnTo>
                    <a:lnTo>
                      <a:pt x="191" y="1499"/>
                    </a:lnTo>
                    <a:lnTo>
                      <a:pt x="203" y="1498"/>
                    </a:lnTo>
                    <a:lnTo>
                      <a:pt x="215" y="1497"/>
                    </a:lnTo>
                    <a:lnTo>
                      <a:pt x="226" y="1493"/>
                    </a:lnTo>
                    <a:lnTo>
                      <a:pt x="237" y="1490"/>
                    </a:lnTo>
                    <a:lnTo>
                      <a:pt x="242" y="1489"/>
                    </a:lnTo>
                    <a:lnTo>
                      <a:pt x="246" y="1485"/>
                    </a:lnTo>
                    <a:lnTo>
                      <a:pt x="250" y="1482"/>
                    </a:lnTo>
                    <a:lnTo>
                      <a:pt x="254" y="1479"/>
                    </a:lnTo>
                    <a:lnTo>
                      <a:pt x="260" y="1471"/>
                    </a:lnTo>
                    <a:lnTo>
                      <a:pt x="265" y="1460"/>
                    </a:lnTo>
                    <a:lnTo>
                      <a:pt x="272" y="1437"/>
                    </a:lnTo>
                    <a:lnTo>
                      <a:pt x="277" y="1413"/>
                    </a:lnTo>
                    <a:lnTo>
                      <a:pt x="280" y="1402"/>
                    </a:lnTo>
                    <a:lnTo>
                      <a:pt x="283" y="1390"/>
                    </a:lnTo>
                    <a:lnTo>
                      <a:pt x="286" y="1380"/>
                    </a:lnTo>
                    <a:lnTo>
                      <a:pt x="292" y="1370"/>
                    </a:lnTo>
                    <a:lnTo>
                      <a:pt x="294" y="1366"/>
                    </a:lnTo>
                    <a:lnTo>
                      <a:pt x="298" y="1363"/>
                    </a:lnTo>
                    <a:lnTo>
                      <a:pt x="301" y="1359"/>
                    </a:lnTo>
                    <a:lnTo>
                      <a:pt x="306" y="1357"/>
                    </a:lnTo>
                    <a:lnTo>
                      <a:pt x="310" y="1355"/>
                    </a:lnTo>
                    <a:lnTo>
                      <a:pt x="315" y="1352"/>
                    </a:lnTo>
                    <a:lnTo>
                      <a:pt x="321" y="1351"/>
                    </a:lnTo>
                    <a:lnTo>
                      <a:pt x="328" y="1351"/>
                    </a:lnTo>
                    <a:lnTo>
                      <a:pt x="335" y="1352"/>
                    </a:lnTo>
                    <a:lnTo>
                      <a:pt x="340" y="1356"/>
                    </a:lnTo>
                    <a:lnTo>
                      <a:pt x="346" y="1360"/>
                    </a:lnTo>
                    <a:lnTo>
                      <a:pt x="352" y="1365"/>
                    </a:lnTo>
                    <a:lnTo>
                      <a:pt x="356" y="1371"/>
                    </a:lnTo>
                    <a:lnTo>
                      <a:pt x="362" y="1375"/>
                    </a:lnTo>
                    <a:lnTo>
                      <a:pt x="369" y="1378"/>
                    </a:lnTo>
                    <a:lnTo>
                      <a:pt x="376" y="1379"/>
                    </a:lnTo>
                    <a:lnTo>
                      <a:pt x="385" y="1379"/>
                    </a:lnTo>
                    <a:lnTo>
                      <a:pt x="394" y="1378"/>
                    </a:lnTo>
                    <a:lnTo>
                      <a:pt x="403" y="1375"/>
                    </a:lnTo>
                    <a:lnTo>
                      <a:pt x="413" y="1373"/>
                    </a:lnTo>
                    <a:lnTo>
                      <a:pt x="422" y="1370"/>
                    </a:lnTo>
                    <a:lnTo>
                      <a:pt x="431" y="1366"/>
                    </a:lnTo>
                    <a:lnTo>
                      <a:pt x="439" y="1360"/>
                    </a:lnTo>
                    <a:lnTo>
                      <a:pt x="447" y="1356"/>
                    </a:lnTo>
                    <a:lnTo>
                      <a:pt x="454" y="1350"/>
                    </a:lnTo>
                    <a:lnTo>
                      <a:pt x="461" y="1343"/>
                    </a:lnTo>
                    <a:lnTo>
                      <a:pt x="466" y="1336"/>
                    </a:lnTo>
                    <a:lnTo>
                      <a:pt x="471" y="1329"/>
                    </a:lnTo>
                    <a:lnTo>
                      <a:pt x="474" y="1321"/>
                    </a:lnTo>
                    <a:lnTo>
                      <a:pt x="478" y="1313"/>
                    </a:lnTo>
                    <a:lnTo>
                      <a:pt x="480" y="1304"/>
                    </a:lnTo>
                    <a:lnTo>
                      <a:pt x="480" y="1295"/>
                    </a:lnTo>
                    <a:lnTo>
                      <a:pt x="481" y="1287"/>
                    </a:lnTo>
                    <a:lnTo>
                      <a:pt x="482" y="1277"/>
                    </a:lnTo>
                    <a:lnTo>
                      <a:pt x="484" y="1266"/>
                    </a:lnTo>
                    <a:lnTo>
                      <a:pt x="484" y="1256"/>
                    </a:lnTo>
                    <a:lnTo>
                      <a:pt x="484" y="1246"/>
                    </a:lnTo>
                    <a:lnTo>
                      <a:pt x="480" y="1237"/>
                    </a:lnTo>
                    <a:lnTo>
                      <a:pt x="478" y="1233"/>
                    </a:lnTo>
                    <a:lnTo>
                      <a:pt x="476" y="1230"/>
                    </a:lnTo>
                    <a:lnTo>
                      <a:pt x="471" y="1227"/>
                    </a:lnTo>
                    <a:lnTo>
                      <a:pt x="466" y="1226"/>
                    </a:lnTo>
                    <a:lnTo>
                      <a:pt x="439" y="1226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13" name="Freeform 532"/>
              <p:cNvSpPr>
                <a:spLocks/>
              </p:cNvSpPr>
              <p:nvPr/>
            </p:nvSpPr>
            <p:spPr bwMode="auto">
              <a:xfrm>
                <a:off x="840" y="2952"/>
                <a:ext cx="871" cy="961"/>
              </a:xfrm>
              <a:custGeom>
                <a:avLst/>
                <a:gdLst>
                  <a:gd name="T0" fmla="*/ 11 w 4717"/>
                  <a:gd name="T1" fmla="*/ 4 h 5209"/>
                  <a:gd name="T2" fmla="*/ 11 w 4717"/>
                  <a:gd name="T3" fmla="*/ 3 h 5209"/>
                  <a:gd name="T4" fmla="*/ 13 w 4717"/>
                  <a:gd name="T5" fmla="*/ 4 h 5209"/>
                  <a:gd name="T6" fmla="*/ 13 w 4717"/>
                  <a:gd name="T7" fmla="*/ 5 h 5209"/>
                  <a:gd name="T8" fmla="*/ 17 w 4717"/>
                  <a:gd name="T9" fmla="*/ 4 h 5209"/>
                  <a:gd name="T10" fmla="*/ 16 w 4717"/>
                  <a:gd name="T11" fmla="*/ 3 h 5209"/>
                  <a:gd name="T12" fmla="*/ 18 w 4717"/>
                  <a:gd name="T13" fmla="*/ 2 h 5209"/>
                  <a:gd name="T14" fmla="*/ 20 w 4717"/>
                  <a:gd name="T15" fmla="*/ 1 h 5209"/>
                  <a:gd name="T16" fmla="*/ 18 w 4717"/>
                  <a:gd name="T17" fmla="*/ 1 h 5209"/>
                  <a:gd name="T18" fmla="*/ 20 w 4717"/>
                  <a:gd name="T19" fmla="*/ 0 h 5209"/>
                  <a:gd name="T20" fmla="*/ 22 w 4717"/>
                  <a:gd name="T21" fmla="*/ 1 h 5209"/>
                  <a:gd name="T22" fmla="*/ 23 w 4717"/>
                  <a:gd name="T23" fmla="*/ 1 h 5209"/>
                  <a:gd name="T24" fmla="*/ 24 w 4717"/>
                  <a:gd name="T25" fmla="*/ 2 h 5209"/>
                  <a:gd name="T26" fmla="*/ 24 w 4717"/>
                  <a:gd name="T27" fmla="*/ 4 h 5209"/>
                  <a:gd name="T28" fmla="*/ 25 w 4717"/>
                  <a:gd name="T29" fmla="*/ 4 h 5209"/>
                  <a:gd name="T30" fmla="*/ 27 w 4717"/>
                  <a:gd name="T31" fmla="*/ 6 h 5209"/>
                  <a:gd name="T32" fmla="*/ 26 w 4717"/>
                  <a:gd name="T33" fmla="*/ 7 h 5209"/>
                  <a:gd name="T34" fmla="*/ 26 w 4717"/>
                  <a:gd name="T35" fmla="*/ 8 h 5209"/>
                  <a:gd name="T36" fmla="*/ 28 w 4717"/>
                  <a:gd name="T37" fmla="*/ 10 h 5209"/>
                  <a:gd name="T38" fmla="*/ 29 w 4717"/>
                  <a:gd name="T39" fmla="*/ 11 h 5209"/>
                  <a:gd name="T40" fmla="*/ 30 w 4717"/>
                  <a:gd name="T41" fmla="*/ 14 h 5209"/>
                  <a:gd name="T42" fmla="*/ 30 w 4717"/>
                  <a:gd name="T43" fmla="*/ 16 h 5209"/>
                  <a:gd name="T44" fmla="*/ 29 w 4717"/>
                  <a:gd name="T45" fmla="*/ 16 h 5209"/>
                  <a:gd name="T46" fmla="*/ 28 w 4717"/>
                  <a:gd name="T47" fmla="*/ 16 h 5209"/>
                  <a:gd name="T48" fmla="*/ 28 w 4717"/>
                  <a:gd name="T49" fmla="*/ 18 h 5209"/>
                  <a:gd name="T50" fmla="*/ 26 w 4717"/>
                  <a:gd name="T51" fmla="*/ 19 h 5209"/>
                  <a:gd name="T52" fmla="*/ 25 w 4717"/>
                  <a:gd name="T53" fmla="*/ 22 h 5209"/>
                  <a:gd name="T54" fmla="*/ 26 w 4717"/>
                  <a:gd name="T55" fmla="*/ 27 h 5209"/>
                  <a:gd name="T56" fmla="*/ 26 w 4717"/>
                  <a:gd name="T57" fmla="*/ 29 h 5209"/>
                  <a:gd name="T58" fmla="*/ 26 w 4717"/>
                  <a:gd name="T59" fmla="*/ 30 h 5209"/>
                  <a:gd name="T60" fmla="*/ 25 w 4717"/>
                  <a:gd name="T61" fmla="*/ 31 h 5209"/>
                  <a:gd name="T62" fmla="*/ 24 w 4717"/>
                  <a:gd name="T63" fmla="*/ 31 h 5209"/>
                  <a:gd name="T64" fmla="*/ 22 w 4717"/>
                  <a:gd name="T65" fmla="*/ 32 h 5209"/>
                  <a:gd name="T66" fmla="*/ 20 w 4717"/>
                  <a:gd name="T67" fmla="*/ 32 h 5209"/>
                  <a:gd name="T68" fmla="*/ 17 w 4717"/>
                  <a:gd name="T69" fmla="*/ 31 h 5209"/>
                  <a:gd name="T70" fmla="*/ 15 w 4717"/>
                  <a:gd name="T71" fmla="*/ 29 h 5209"/>
                  <a:gd name="T72" fmla="*/ 17 w 4717"/>
                  <a:gd name="T73" fmla="*/ 31 h 5209"/>
                  <a:gd name="T74" fmla="*/ 15 w 4717"/>
                  <a:gd name="T75" fmla="*/ 31 h 5209"/>
                  <a:gd name="T76" fmla="*/ 13 w 4717"/>
                  <a:gd name="T77" fmla="*/ 30 h 5209"/>
                  <a:gd name="T78" fmla="*/ 12 w 4717"/>
                  <a:gd name="T79" fmla="*/ 30 h 5209"/>
                  <a:gd name="T80" fmla="*/ 11 w 4717"/>
                  <a:gd name="T81" fmla="*/ 29 h 5209"/>
                  <a:gd name="T82" fmla="*/ 9 w 4717"/>
                  <a:gd name="T83" fmla="*/ 30 h 5209"/>
                  <a:gd name="T84" fmla="*/ 10 w 4717"/>
                  <a:gd name="T85" fmla="*/ 31 h 5209"/>
                  <a:gd name="T86" fmla="*/ 11 w 4717"/>
                  <a:gd name="T87" fmla="*/ 32 h 5209"/>
                  <a:gd name="T88" fmla="*/ 8 w 4717"/>
                  <a:gd name="T89" fmla="*/ 32 h 5209"/>
                  <a:gd name="T90" fmla="*/ 7 w 4717"/>
                  <a:gd name="T91" fmla="*/ 32 h 5209"/>
                  <a:gd name="T92" fmla="*/ 4 w 4717"/>
                  <a:gd name="T93" fmla="*/ 33 h 5209"/>
                  <a:gd name="T94" fmla="*/ 2 w 4717"/>
                  <a:gd name="T95" fmla="*/ 32 h 5209"/>
                  <a:gd name="T96" fmla="*/ 1 w 4717"/>
                  <a:gd name="T97" fmla="*/ 32 h 5209"/>
                  <a:gd name="T98" fmla="*/ 0 w 4717"/>
                  <a:gd name="T99" fmla="*/ 31 h 5209"/>
                  <a:gd name="T100" fmla="*/ 0 w 4717"/>
                  <a:gd name="T101" fmla="*/ 29 h 5209"/>
                  <a:gd name="T102" fmla="*/ 1 w 4717"/>
                  <a:gd name="T103" fmla="*/ 27 h 5209"/>
                  <a:gd name="T104" fmla="*/ 1 w 4717"/>
                  <a:gd name="T105" fmla="*/ 26 h 5209"/>
                  <a:gd name="T106" fmla="*/ 1 w 4717"/>
                  <a:gd name="T107" fmla="*/ 23 h 5209"/>
                  <a:gd name="T108" fmla="*/ 2 w 4717"/>
                  <a:gd name="T109" fmla="*/ 21 h 5209"/>
                  <a:gd name="T110" fmla="*/ 3 w 4717"/>
                  <a:gd name="T111" fmla="*/ 19 h 5209"/>
                  <a:gd name="T112" fmla="*/ 4 w 4717"/>
                  <a:gd name="T113" fmla="*/ 17 h 5209"/>
                  <a:gd name="T114" fmla="*/ 6 w 4717"/>
                  <a:gd name="T115" fmla="*/ 15 h 5209"/>
                  <a:gd name="T116" fmla="*/ 7 w 4717"/>
                  <a:gd name="T117" fmla="*/ 12 h 5209"/>
                  <a:gd name="T118" fmla="*/ 9 w 4717"/>
                  <a:gd name="T119" fmla="*/ 10 h 5209"/>
                  <a:gd name="T120" fmla="*/ 10 w 4717"/>
                  <a:gd name="T121" fmla="*/ 7 h 5209"/>
                  <a:gd name="T122" fmla="*/ 11 w 4717"/>
                  <a:gd name="T123" fmla="*/ 6 h 5209"/>
                  <a:gd name="T124" fmla="*/ 10 w 4717"/>
                  <a:gd name="T125" fmla="*/ 4 h 52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717"/>
                  <a:gd name="T190" fmla="*/ 0 h 5209"/>
                  <a:gd name="T191" fmla="*/ 4717 w 4717"/>
                  <a:gd name="T192" fmla="*/ 5209 h 52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717" h="5209">
                    <a:moveTo>
                      <a:pt x="1559" y="460"/>
                    </a:moveTo>
                    <a:lnTo>
                      <a:pt x="1568" y="454"/>
                    </a:lnTo>
                    <a:lnTo>
                      <a:pt x="1574" y="450"/>
                    </a:lnTo>
                    <a:lnTo>
                      <a:pt x="1581" y="445"/>
                    </a:lnTo>
                    <a:lnTo>
                      <a:pt x="1588" y="441"/>
                    </a:lnTo>
                    <a:lnTo>
                      <a:pt x="1596" y="437"/>
                    </a:lnTo>
                    <a:lnTo>
                      <a:pt x="1604" y="434"/>
                    </a:lnTo>
                    <a:lnTo>
                      <a:pt x="1612" y="433"/>
                    </a:lnTo>
                    <a:lnTo>
                      <a:pt x="1623" y="432"/>
                    </a:lnTo>
                    <a:lnTo>
                      <a:pt x="1631" y="433"/>
                    </a:lnTo>
                    <a:lnTo>
                      <a:pt x="1639" y="434"/>
                    </a:lnTo>
                    <a:lnTo>
                      <a:pt x="1645" y="435"/>
                    </a:lnTo>
                    <a:lnTo>
                      <a:pt x="1652" y="438"/>
                    </a:lnTo>
                    <a:lnTo>
                      <a:pt x="1659" y="441"/>
                    </a:lnTo>
                    <a:lnTo>
                      <a:pt x="1666" y="445"/>
                    </a:lnTo>
                    <a:lnTo>
                      <a:pt x="1672" y="449"/>
                    </a:lnTo>
                    <a:lnTo>
                      <a:pt x="1678" y="453"/>
                    </a:lnTo>
                    <a:lnTo>
                      <a:pt x="1688" y="465"/>
                    </a:lnTo>
                    <a:lnTo>
                      <a:pt x="1698" y="476"/>
                    </a:lnTo>
                    <a:lnTo>
                      <a:pt x="1707" y="489"/>
                    </a:lnTo>
                    <a:lnTo>
                      <a:pt x="1718" y="503"/>
                    </a:lnTo>
                    <a:lnTo>
                      <a:pt x="1727" y="515"/>
                    </a:lnTo>
                    <a:lnTo>
                      <a:pt x="1737" y="529"/>
                    </a:lnTo>
                    <a:lnTo>
                      <a:pt x="1748" y="542"/>
                    </a:lnTo>
                    <a:lnTo>
                      <a:pt x="1759" y="552"/>
                    </a:lnTo>
                    <a:lnTo>
                      <a:pt x="1765" y="558"/>
                    </a:lnTo>
                    <a:lnTo>
                      <a:pt x="1770" y="562"/>
                    </a:lnTo>
                    <a:lnTo>
                      <a:pt x="1777" y="567"/>
                    </a:lnTo>
                    <a:lnTo>
                      <a:pt x="1784" y="570"/>
                    </a:lnTo>
                    <a:lnTo>
                      <a:pt x="1792" y="573"/>
                    </a:lnTo>
                    <a:lnTo>
                      <a:pt x="1800" y="575"/>
                    </a:lnTo>
                    <a:lnTo>
                      <a:pt x="1808" y="577"/>
                    </a:lnTo>
                    <a:lnTo>
                      <a:pt x="1817" y="578"/>
                    </a:lnTo>
                    <a:lnTo>
                      <a:pt x="1823" y="577"/>
                    </a:lnTo>
                    <a:lnTo>
                      <a:pt x="1829" y="576"/>
                    </a:lnTo>
                    <a:lnTo>
                      <a:pt x="1835" y="574"/>
                    </a:lnTo>
                    <a:lnTo>
                      <a:pt x="1839" y="571"/>
                    </a:lnTo>
                    <a:lnTo>
                      <a:pt x="1848" y="565"/>
                    </a:lnTo>
                    <a:lnTo>
                      <a:pt x="1855" y="557"/>
                    </a:lnTo>
                    <a:lnTo>
                      <a:pt x="1860" y="549"/>
                    </a:lnTo>
                    <a:lnTo>
                      <a:pt x="1863" y="541"/>
                    </a:lnTo>
                    <a:lnTo>
                      <a:pt x="1866" y="534"/>
                    </a:lnTo>
                    <a:lnTo>
                      <a:pt x="1866" y="529"/>
                    </a:lnTo>
                    <a:lnTo>
                      <a:pt x="1866" y="523"/>
                    </a:lnTo>
                    <a:lnTo>
                      <a:pt x="1864" y="518"/>
                    </a:lnTo>
                    <a:lnTo>
                      <a:pt x="1861" y="512"/>
                    </a:lnTo>
                    <a:lnTo>
                      <a:pt x="1859" y="506"/>
                    </a:lnTo>
                    <a:lnTo>
                      <a:pt x="1851" y="497"/>
                    </a:lnTo>
                    <a:lnTo>
                      <a:pt x="1842" y="488"/>
                    </a:lnTo>
                    <a:lnTo>
                      <a:pt x="1832" y="479"/>
                    </a:lnTo>
                    <a:lnTo>
                      <a:pt x="1825" y="468"/>
                    </a:lnTo>
                    <a:lnTo>
                      <a:pt x="1822" y="464"/>
                    </a:lnTo>
                    <a:lnTo>
                      <a:pt x="1820" y="458"/>
                    </a:lnTo>
                    <a:lnTo>
                      <a:pt x="1817" y="452"/>
                    </a:lnTo>
                    <a:lnTo>
                      <a:pt x="1817" y="445"/>
                    </a:lnTo>
                    <a:lnTo>
                      <a:pt x="1819" y="434"/>
                    </a:lnTo>
                    <a:lnTo>
                      <a:pt x="1821" y="422"/>
                    </a:lnTo>
                    <a:lnTo>
                      <a:pt x="1825" y="412"/>
                    </a:lnTo>
                    <a:lnTo>
                      <a:pt x="1830" y="403"/>
                    </a:lnTo>
                    <a:lnTo>
                      <a:pt x="1837" y="395"/>
                    </a:lnTo>
                    <a:lnTo>
                      <a:pt x="1844" y="388"/>
                    </a:lnTo>
                    <a:lnTo>
                      <a:pt x="1852" y="382"/>
                    </a:lnTo>
                    <a:lnTo>
                      <a:pt x="1859" y="377"/>
                    </a:lnTo>
                    <a:lnTo>
                      <a:pt x="1889" y="379"/>
                    </a:lnTo>
                    <a:lnTo>
                      <a:pt x="1913" y="380"/>
                    </a:lnTo>
                    <a:lnTo>
                      <a:pt x="1934" y="381"/>
                    </a:lnTo>
                    <a:lnTo>
                      <a:pt x="1952" y="382"/>
                    </a:lnTo>
                    <a:lnTo>
                      <a:pt x="1965" y="383"/>
                    </a:lnTo>
                    <a:lnTo>
                      <a:pt x="1977" y="383"/>
                    </a:lnTo>
                    <a:lnTo>
                      <a:pt x="1985" y="383"/>
                    </a:lnTo>
                    <a:lnTo>
                      <a:pt x="1992" y="383"/>
                    </a:lnTo>
                    <a:lnTo>
                      <a:pt x="1991" y="401"/>
                    </a:lnTo>
                    <a:lnTo>
                      <a:pt x="1992" y="418"/>
                    </a:lnTo>
                    <a:lnTo>
                      <a:pt x="1993" y="434"/>
                    </a:lnTo>
                    <a:lnTo>
                      <a:pt x="1995" y="449"/>
                    </a:lnTo>
                    <a:lnTo>
                      <a:pt x="1999" y="464"/>
                    </a:lnTo>
                    <a:lnTo>
                      <a:pt x="2002" y="477"/>
                    </a:lnTo>
                    <a:lnTo>
                      <a:pt x="2007" y="490"/>
                    </a:lnTo>
                    <a:lnTo>
                      <a:pt x="2011" y="502"/>
                    </a:lnTo>
                    <a:lnTo>
                      <a:pt x="2017" y="513"/>
                    </a:lnTo>
                    <a:lnTo>
                      <a:pt x="2023" y="524"/>
                    </a:lnTo>
                    <a:lnTo>
                      <a:pt x="2030" y="534"/>
                    </a:lnTo>
                    <a:lnTo>
                      <a:pt x="2038" y="544"/>
                    </a:lnTo>
                    <a:lnTo>
                      <a:pt x="2046" y="552"/>
                    </a:lnTo>
                    <a:lnTo>
                      <a:pt x="2054" y="561"/>
                    </a:lnTo>
                    <a:lnTo>
                      <a:pt x="2063" y="568"/>
                    </a:lnTo>
                    <a:lnTo>
                      <a:pt x="2072" y="576"/>
                    </a:lnTo>
                    <a:lnTo>
                      <a:pt x="2093" y="589"/>
                    </a:lnTo>
                    <a:lnTo>
                      <a:pt x="2114" y="600"/>
                    </a:lnTo>
                    <a:lnTo>
                      <a:pt x="2137" y="610"/>
                    </a:lnTo>
                    <a:lnTo>
                      <a:pt x="2160" y="620"/>
                    </a:lnTo>
                    <a:lnTo>
                      <a:pt x="2186" y="628"/>
                    </a:lnTo>
                    <a:lnTo>
                      <a:pt x="2211" y="635"/>
                    </a:lnTo>
                    <a:lnTo>
                      <a:pt x="2237" y="641"/>
                    </a:lnTo>
                    <a:lnTo>
                      <a:pt x="2263" y="648"/>
                    </a:lnTo>
                    <a:lnTo>
                      <a:pt x="2263" y="654"/>
                    </a:lnTo>
                    <a:lnTo>
                      <a:pt x="2262" y="661"/>
                    </a:lnTo>
                    <a:lnTo>
                      <a:pt x="2262" y="667"/>
                    </a:lnTo>
                    <a:lnTo>
                      <a:pt x="2260" y="672"/>
                    </a:lnTo>
                    <a:lnTo>
                      <a:pt x="2255" y="684"/>
                    </a:lnTo>
                    <a:lnTo>
                      <a:pt x="2249" y="695"/>
                    </a:lnTo>
                    <a:lnTo>
                      <a:pt x="2230" y="717"/>
                    </a:lnTo>
                    <a:lnTo>
                      <a:pt x="2210" y="740"/>
                    </a:lnTo>
                    <a:lnTo>
                      <a:pt x="2199" y="753"/>
                    </a:lnTo>
                    <a:lnTo>
                      <a:pt x="2189" y="765"/>
                    </a:lnTo>
                    <a:lnTo>
                      <a:pt x="2179" y="778"/>
                    </a:lnTo>
                    <a:lnTo>
                      <a:pt x="2169" y="793"/>
                    </a:lnTo>
                    <a:lnTo>
                      <a:pt x="2163" y="809"/>
                    </a:lnTo>
                    <a:lnTo>
                      <a:pt x="2157" y="825"/>
                    </a:lnTo>
                    <a:lnTo>
                      <a:pt x="2155" y="834"/>
                    </a:lnTo>
                    <a:lnTo>
                      <a:pt x="2153" y="843"/>
                    </a:lnTo>
                    <a:lnTo>
                      <a:pt x="2152" y="854"/>
                    </a:lnTo>
                    <a:lnTo>
                      <a:pt x="2151" y="864"/>
                    </a:lnTo>
                    <a:lnTo>
                      <a:pt x="2152" y="873"/>
                    </a:lnTo>
                    <a:lnTo>
                      <a:pt x="2155" y="881"/>
                    </a:lnTo>
                    <a:lnTo>
                      <a:pt x="2157" y="887"/>
                    </a:lnTo>
                    <a:lnTo>
                      <a:pt x="2161" y="891"/>
                    </a:lnTo>
                    <a:lnTo>
                      <a:pt x="2166" y="895"/>
                    </a:lnTo>
                    <a:lnTo>
                      <a:pt x="2172" y="897"/>
                    </a:lnTo>
                    <a:lnTo>
                      <a:pt x="2179" y="898"/>
                    </a:lnTo>
                    <a:lnTo>
                      <a:pt x="2187" y="898"/>
                    </a:lnTo>
                    <a:lnTo>
                      <a:pt x="2195" y="898"/>
                    </a:lnTo>
                    <a:lnTo>
                      <a:pt x="2203" y="896"/>
                    </a:lnTo>
                    <a:lnTo>
                      <a:pt x="2211" y="894"/>
                    </a:lnTo>
                    <a:lnTo>
                      <a:pt x="2219" y="889"/>
                    </a:lnTo>
                    <a:lnTo>
                      <a:pt x="2227" y="885"/>
                    </a:lnTo>
                    <a:lnTo>
                      <a:pt x="2235" y="879"/>
                    </a:lnTo>
                    <a:lnTo>
                      <a:pt x="2244" y="873"/>
                    </a:lnTo>
                    <a:lnTo>
                      <a:pt x="2252" y="865"/>
                    </a:lnTo>
                    <a:lnTo>
                      <a:pt x="2269" y="849"/>
                    </a:lnTo>
                    <a:lnTo>
                      <a:pt x="2285" y="831"/>
                    </a:lnTo>
                    <a:lnTo>
                      <a:pt x="2302" y="811"/>
                    </a:lnTo>
                    <a:lnTo>
                      <a:pt x="2318" y="789"/>
                    </a:lnTo>
                    <a:lnTo>
                      <a:pt x="2351" y="747"/>
                    </a:lnTo>
                    <a:lnTo>
                      <a:pt x="2380" y="708"/>
                    </a:lnTo>
                    <a:lnTo>
                      <a:pt x="2394" y="691"/>
                    </a:lnTo>
                    <a:lnTo>
                      <a:pt x="2407" y="676"/>
                    </a:lnTo>
                    <a:lnTo>
                      <a:pt x="2419" y="663"/>
                    </a:lnTo>
                    <a:lnTo>
                      <a:pt x="2430" y="655"/>
                    </a:lnTo>
                    <a:lnTo>
                      <a:pt x="2625" y="662"/>
                    </a:lnTo>
                    <a:lnTo>
                      <a:pt x="2630" y="654"/>
                    </a:lnTo>
                    <a:lnTo>
                      <a:pt x="2635" y="647"/>
                    </a:lnTo>
                    <a:lnTo>
                      <a:pt x="2640" y="640"/>
                    </a:lnTo>
                    <a:lnTo>
                      <a:pt x="2644" y="633"/>
                    </a:lnTo>
                    <a:lnTo>
                      <a:pt x="2648" y="628"/>
                    </a:lnTo>
                    <a:lnTo>
                      <a:pt x="2651" y="621"/>
                    </a:lnTo>
                    <a:lnTo>
                      <a:pt x="2652" y="614"/>
                    </a:lnTo>
                    <a:lnTo>
                      <a:pt x="2653" y="606"/>
                    </a:lnTo>
                    <a:lnTo>
                      <a:pt x="2637" y="600"/>
                    </a:lnTo>
                    <a:lnTo>
                      <a:pt x="2623" y="594"/>
                    </a:lnTo>
                    <a:lnTo>
                      <a:pt x="2610" y="586"/>
                    </a:lnTo>
                    <a:lnTo>
                      <a:pt x="2599" y="578"/>
                    </a:lnTo>
                    <a:lnTo>
                      <a:pt x="2594" y="574"/>
                    </a:lnTo>
                    <a:lnTo>
                      <a:pt x="2589" y="568"/>
                    </a:lnTo>
                    <a:lnTo>
                      <a:pt x="2586" y="563"/>
                    </a:lnTo>
                    <a:lnTo>
                      <a:pt x="2582" y="557"/>
                    </a:lnTo>
                    <a:lnTo>
                      <a:pt x="2580" y="551"/>
                    </a:lnTo>
                    <a:lnTo>
                      <a:pt x="2578" y="544"/>
                    </a:lnTo>
                    <a:lnTo>
                      <a:pt x="2576" y="537"/>
                    </a:lnTo>
                    <a:lnTo>
                      <a:pt x="2576" y="529"/>
                    </a:lnTo>
                    <a:lnTo>
                      <a:pt x="2576" y="527"/>
                    </a:lnTo>
                    <a:lnTo>
                      <a:pt x="2578" y="524"/>
                    </a:lnTo>
                    <a:lnTo>
                      <a:pt x="2580" y="522"/>
                    </a:lnTo>
                    <a:lnTo>
                      <a:pt x="2583" y="520"/>
                    </a:lnTo>
                    <a:lnTo>
                      <a:pt x="2589" y="516"/>
                    </a:lnTo>
                    <a:lnTo>
                      <a:pt x="2597" y="514"/>
                    </a:lnTo>
                    <a:lnTo>
                      <a:pt x="2605" y="512"/>
                    </a:lnTo>
                    <a:lnTo>
                      <a:pt x="2612" y="510"/>
                    </a:lnTo>
                    <a:lnTo>
                      <a:pt x="2617" y="508"/>
                    </a:lnTo>
                    <a:lnTo>
                      <a:pt x="2618" y="508"/>
                    </a:lnTo>
                    <a:lnTo>
                      <a:pt x="2633" y="502"/>
                    </a:lnTo>
                    <a:lnTo>
                      <a:pt x="2646" y="496"/>
                    </a:lnTo>
                    <a:lnTo>
                      <a:pt x="2659" y="490"/>
                    </a:lnTo>
                    <a:lnTo>
                      <a:pt x="2673" y="487"/>
                    </a:lnTo>
                    <a:lnTo>
                      <a:pt x="2685" y="483"/>
                    </a:lnTo>
                    <a:lnTo>
                      <a:pt x="2698" y="481"/>
                    </a:lnTo>
                    <a:lnTo>
                      <a:pt x="2712" y="480"/>
                    </a:lnTo>
                    <a:lnTo>
                      <a:pt x="2724" y="479"/>
                    </a:lnTo>
                    <a:lnTo>
                      <a:pt x="2751" y="479"/>
                    </a:lnTo>
                    <a:lnTo>
                      <a:pt x="2778" y="480"/>
                    </a:lnTo>
                    <a:lnTo>
                      <a:pt x="2808" y="480"/>
                    </a:lnTo>
                    <a:lnTo>
                      <a:pt x="2841" y="481"/>
                    </a:lnTo>
                    <a:lnTo>
                      <a:pt x="2848" y="481"/>
                    </a:lnTo>
                    <a:lnTo>
                      <a:pt x="2855" y="480"/>
                    </a:lnTo>
                    <a:lnTo>
                      <a:pt x="2862" y="479"/>
                    </a:lnTo>
                    <a:lnTo>
                      <a:pt x="2868" y="476"/>
                    </a:lnTo>
                    <a:lnTo>
                      <a:pt x="2878" y="472"/>
                    </a:lnTo>
                    <a:lnTo>
                      <a:pt x="2887" y="465"/>
                    </a:lnTo>
                    <a:lnTo>
                      <a:pt x="2895" y="457"/>
                    </a:lnTo>
                    <a:lnTo>
                      <a:pt x="2901" y="448"/>
                    </a:lnTo>
                    <a:lnTo>
                      <a:pt x="2906" y="438"/>
                    </a:lnTo>
                    <a:lnTo>
                      <a:pt x="2910" y="428"/>
                    </a:lnTo>
                    <a:lnTo>
                      <a:pt x="2916" y="405"/>
                    </a:lnTo>
                    <a:lnTo>
                      <a:pt x="2920" y="383"/>
                    </a:lnTo>
                    <a:lnTo>
                      <a:pt x="2923" y="373"/>
                    </a:lnTo>
                    <a:lnTo>
                      <a:pt x="2925" y="364"/>
                    </a:lnTo>
                    <a:lnTo>
                      <a:pt x="2927" y="356"/>
                    </a:lnTo>
                    <a:lnTo>
                      <a:pt x="2932" y="348"/>
                    </a:lnTo>
                    <a:lnTo>
                      <a:pt x="2938" y="341"/>
                    </a:lnTo>
                    <a:lnTo>
                      <a:pt x="2946" y="336"/>
                    </a:lnTo>
                    <a:lnTo>
                      <a:pt x="2953" y="332"/>
                    </a:lnTo>
                    <a:lnTo>
                      <a:pt x="2961" y="329"/>
                    </a:lnTo>
                    <a:lnTo>
                      <a:pt x="2970" y="328"/>
                    </a:lnTo>
                    <a:lnTo>
                      <a:pt x="2978" y="327"/>
                    </a:lnTo>
                    <a:lnTo>
                      <a:pt x="2987" y="327"/>
                    </a:lnTo>
                    <a:lnTo>
                      <a:pt x="2996" y="328"/>
                    </a:lnTo>
                    <a:lnTo>
                      <a:pt x="3016" y="331"/>
                    </a:lnTo>
                    <a:lnTo>
                      <a:pt x="3036" y="334"/>
                    </a:lnTo>
                    <a:lnTo>
                      <a:pt x="3047" y="335"/>
                    </a:lnTo>
                    <a:lnTo>
                      <a:pt x="3057" y="335"/>
                    </a:lnTo>
                    <a:lnTo>
                      <a:pt x="3067" y="335"/>
                    </a:lnTo>
                    <a:lnTo>
                      <a:pt x="3078" y="334"/>
                    </a:lnTo>
                    <a:lnTo>
                      <a:pt x="3087" y="333"/>
                    </a:lnTo>
                    <a:lnTo>
                      <a:pt x="3094" y="329"/>
                    </a:lnTo>
                    <a:lnTo>
                      <a:pt x="3100" y="325"/>
                    </a:lnTo>
                    <a:lnTo>
                      <a:pt x="3107" y="319"/>
                    </a:lnTo>
                    <a:lnTo>
                      <a:pt x="3112" y="312"/>
                    </a:lnTo>
                    <a:lnTo>
                      <a:pt x="3116" y="304"/>
                    </a:lnTo>
                    <a:lnTo>
                      <a:pt x="3120" y="296"/>
                    </a:lnTo>
                    <a:lnTo>
                      <a:pt x="3123" y="287"/>
                    </a:lnTo>
                    <a:lnTo>
                      <a:pt x="3129" y="269"/>
                    </a:lnTo>
                    <a:lnTo>
                      <a:pt x="3131" y="248"/>
                    </a:lnTo>
                    <a:lnTo>
                      <a:pt x="3133" y="229"/>
                    </a:lnTo>
                    <a:lnTo>
                      <a:pt x="3134" y="209"/>
                    </a:lnTo>
                    <a:lnTo>
                      <a:pt x="3133" y="199"/>
                    </a:lnTo>
                    <a:lnTo>
                      <a:pt x="3130" y="190"/>
                    </a:lnTo>
                    <a:lnTo>
                      <a:pt x="3128" y="182"/>
                    </a:lnTo>
                    <a:lnTo>
                      <a:pt x="3123" y="175"/>
                    </a:lnTo>
                    <a:lnTo>
                      <a:pt x="3119" y="169"/>
                    </a:lnTo>
                    <a:lnTo>
                      <a:pt x="3113" y="164"/>
                    </a:lnTo>
                    <a:lnTo>
                      <a:pt x="3106" y="161"/>
                    </a:lnTo>
                    <a:lnTo>
                      <a:pt x="3098" y="160"/>
                    </a:lnTo>
                    <a:lnTo>
                      <a:pt x="3089" y="162"/>
                    </a:lnTo>
                    <a:lnTo>
                      <a:pt x="3081" y="164"/>
                    </a:lnTo>
                    <a:lnTo>
                      <a:pt x="3074" y="169"/>
                    </a:lnTo>
                    <a:lnTo>
                      <a:pt x="3067" y="175"/>
                    </a:lnTo>
                    <a:lnTo>
                      <a:pt x="3060" y="179"/>
                    </a:lnTo>
                    <a:lnTo>
                      <a:pt x="3053" y="184"/>
                    </a:lnTo>
                    <a:lnTo>
                      <a:pt x="3045" y="187"/>
                    </a:lnTo>
                    <a:lnTo>
                      <a:pt x="3036" y="188"/>
                    </a:lnTo>
                    <a:lnTo>
                      <a:pt x="3028" y="187"/>
                    </a:lnTo>
                    <a:lnTo>
                      <a:pt x="3020" y="184"/>
                    </a:lnTo>
                    <a:lnTo>
                      <a:pt x="3012" y="179"/>
                    </a:lnTo>
                    <a:lnTo>
                      <a:pt x="3004" y="174"/>
                    </a:lnTo>
                    <a:lnTo>
                      <a:pt x="2996" y="167"/>
                    </a:lnTo>
                    <a:lnTo>
                      <a:pt x="2989" y="159"/>
                    </a:lnTo>
                    <a:lnTo>
                      <a:pt x="2981" y="151"/>
                    </a:lnTo>
                    <a:lnTo>
                      <a:pt x="2975" y="141"/>
                    </a:lnTo>
                    <a:lnTo>
                      <a:pt x="2963" y="123"/>
                    </a:lnTo>
                    <a:lnTo>
                      <a:pt x="2954" y="106"/>
                    </a:lnTo>
                    <a:lnTo>
                      <a:pt x="2948" y="92"/>
                    </a:lnTo>
                    <a:lnTo>
                      <a:pt x="2946" y="84"/>
                    </a:lnTo>
                    <a:lnTo>
                      <a:pt x="2946" y="81"/>
                    </a:lnTo>
                    <a:lnTo>
                      <a:pt x="2947" y="78"/>
                    </a:lnTo>
                    <a:lnTo>
                      <a:pt x="2949" y="75"/>
                    </a:lnTo>
                    <a:lnTo>
                      <a:pt x="2953" y="73"/>
                    </a:lnTo>
                    <a:lnTo>
                      <a:pt x="2962" y="66"/>
                    </a:lnTo>
                    <a:lnTo>
                      <a:pt x="2973" y="59"/>
                    </a:lnTo>
                    <a:lnTo>
                      <a:pt x="3002" y="45"/>
                    </a:lnTo>
                    <a:lnTo>
                      <a:pt x="3035" y="31"/>
                    </a:lnTo>
                    <a:lnTo>
                      <a:pt x="3069" y="20"/>
                    </a:lnTo>
                    <a:lnTo>
                      <a:pt x="3100" y="10"/>
                    </a:lnTo>
                    <a:lnTo>
                      <a:pt x="3126" y="3"/>
                    </a:lnTo>
                    <a:lnTo>
                      <a:pt x="3141" y="0"/>
                    </a:lnTo>
                    <a:lnTo>
                      <a:pt x="3141" y="5"/>
                    </a:lnTo>
                    <a:lnTo>
                      <a:pt x="3141" y="11"/>
                    </a:lnTo>
                    <a:lnTo>
                      <a:pt x="3139" y="16"/>
                    </a:lnTo>
                    <a:lnTo>
                      <a:pt x="3139" y="21"/>
                    </a:lnTo>
                    <a:lnTo>
                      <a:pt x="3138" y="27"/>
                    </a:lnTo>
                    <a:lnTo>
                      <a:pt x="3137" y="31"/>
                    </a:lnTo>
                    <a:lnTo>
                      <a:pt x="3136" y="37"/>
                    </a:lnTo>
                    <a:lnTo>
                      <a:pt x="3134" y="42"/>
                    </a:lnTo>
                    <a:lnTo>
                      <a:pt x="3202" y="42"/>
                    </a:lnTo>
                    <a:lnTo>
                      <a:pt x="3206" y="34"/>
                    </a:lnTo>
                    <a:lnTo>
                      <a:pt x="3209" y="27"/>
                    </a:lnTo>
                    <a:lnTo>
                      <a:pt x="3213" y="20"/>
                    </a:lnTo>
                    <a:lnTo>
                      <a:pt x="3217" y="13"/>
                    </a:lnTo>
                    <a:lnTo>
                      <a:pt x="3221" y="8"/>
                    </a:lnTo>
                    <a:lnTo>
                      <a:pt x="3224" y="4"/>
                    </a:lnTo>
                    <a:lnTo>
                      <a:pt x="3228" y="1"/>
                    </a:lnTo>
                    <a:lnTo>
                      <a:pt x="3231" y="0"/>
                    </a:lnTo>
                    <a:lnTo>
                      <a:pt x="3235" y="1"/>
                    </a:lnTo>
                    <a:lnTo>
                      <a:pt x="3239" y="3"/>
                    </a:lnTo>
                    <a:lnTo>
                      <a:pt x="3245" y="7"/>
                    </a:lnTo>
                    <a:lnTo>
                      <a:pt x="3251" y="12"/>
                    </a:lnTo>
                    <a:lnTo>
                      <a:pt x="3267" y="23"/>
                    </a:lnTo>
                    <a:lnTo>
                      <a:pt x="3283" y="37"/>
                    </a:lnTo>
                    <a:lnTo>
                      <a:pt x="3300" y="53"/>
                    </a:lnTo>
                    <a:lnTo>
                      <a:pt x="3315" y="68"/>
                    </a:lnTo>
                    <a:lnTo>
                      <a:pt x="3327" y="81"/>
                    </a:lnTo>
                    <a:lnTo>
                      <a:pt x="3335" y="91"/>
                    </a:lnTo>
                    <a:lnTo>
                      <a:pt x="3384" y="91"/>
                    </a:lnTo>
                    <a:lnTo>
                      <a:pt x="3377" y="84"/>
                    </a:lnTo>
                    <a:lnTo>
                      <a:pt x="3377" y="35"/>
                    </a:lnTo>
                    <a:lnTo>
                      <a:pt x="3396" y="35"/>
                    </a:lnTo>
                    <a:lnTo>
                      <a:pt x="3413" y="34"/>
                    </a:lnTo>
                    <a:lnTo>
                      <a:pt x="3429" y="32"/>
                    </a:lnTo>
                    <a:lnTo>
                      <a:pt x="3443" y="30"/>
                    </a:lnTo>
                    <a:lnTo>
                      <a:pt x="3456" y="27"/>
                    </a:lnTo>
                    <a:lnTo>
                      <a:pt x="3467" y="23"/>
                    </a:lnTo>
                    <a:lnTo>
                      <a:pt x="3478" y="19"/>
                    </a:lnTo>
                    <a:lnTo>
                      <a:pt x="3488" y="14"/>
                    </a:lnTo>
                    <a:lnTo>
                      <a:pt x="3488" y="84"/>
                    </a:lnTo>
                    <a:lnTo>
                      <a:pt x="3479" y="99"/>
                    </a:lnTo>
                    <a:lnTo>
                      <a:pt x="3472" y="113"/>
                    </a:lnTo>
                    <a:lnTo>
                      <a:pt x="3467" y="126"/>
                    </a:lnTo>
                    <a:lnTo>
                      <a:pt x="3464" y="139"/>
                    </a:lnTo>
                    <a:lnTo>
                      <a:pt x="3462" y="153"/>
                    </a:lnTo>
                    <a:lnTo>
                      <a:pt x="3460" y="165"/>
                    </a:lnTo>
                    <a:lnTo>
                      <a:pt x="3460" y="180"/>
                    </a:lnTo>
                    <a:lnTo>
                      <a:pt x="3460" y="195"/>
                    </a:lnTo>
                    <a:lnTo>
                      <a:pt x="3460" y="203"/>
                    </a:lnTo>
                    <a:lnTo>
                      <a:pt x="3462" y="211"/>
                    </a:lnTo>
                    <a:lnTo>
                      <a:pt x="3464" y="219"/>
                    </a:lnTo>
                    <a:lnTo>
                      <a:pt x="3466" y="227"/>
                    </a:lnTo>
                    <a:lnTo>
                      <a:pt x="3471" y="234"/>
                    </a:lnTo>
                    <a:lnTo>
                      <a:pt x="3475" y="239"/>
                    </a:lnTo>
                    <a:lnTo>
                      <a:pt x="3478" y="241"/>
                    </a:lnTo>
                    <a:lnTo>
                      <a:pt x="3481" y="242"/>
                    </a:lnTo>
                    <a:lnTo>
                      <a:pt x="3485" y="243"/>
                    </a:lnTo>
                    <a:lnTo>
                      <a:pt x="3488" y="243"/>
                    </a:lnTo>
                    <a:lnTo>
                      <a:pt x="3495" y="243"/>
                    </a:lnTo>
                    <a:lnTo>
                      <a:pt x="3501" y="241"/>
                    </a:lnTo>
                    <a:lnTo>
                      <a:pt x="3507" y="239"/>
                    </a:lnTo>
                    <a:lnTo>
                      <a:pt x="3513" y="235"/>
                    </a:lnTo>
                    <a:lnTo>
                      <a:pt x="3525" y="226"/>
                    </a:lnTo>
                    <a:lnTo>
                      <a:pt x="3535" y="215"/>
                    </a:lnTo>
                    <a:lnTo>
                      <a:pt x="3544" y="204"/>
                    </a:lnTo>
                    <a:lnTo>
                      <a:pt x="3552" y="194"/>
                    </a:lnTo>
                    <a:lnTo>
                      <a:pt x="3559" y="186"/>
                    </a:lnTo>
                    <a:lnTo>
                      <a:pt x="3565" y="182"/>
                    </a:lnTo>
                    <a:lnTo>
                      <a:pt x="3567" y="188"/>
                    </a:lnTo>
                    <a:lnTo>
                      <a:pt x="3569" y="195"/>
                    </a:lnTo>
                    <a:lnTo>
                      <a:pt x="3571" y="202"/>
                    </a:lnTo>
                    <a:lnTo>
                      <a:pt x="3572" y="209"/>
                    </a:lnTo>
                    <a:lnTo>
                      <a:pt x="3572" y="216"/>
                    </a:lnTo>
                    <a:lnTo>
                      <a:pt x="3572" y="223"/>
                    </a:lnTo>
                    <a:lnTo>
                      <a:pt x="3572" y="230"/>
                    </a:lnTo>
                    <a:lnTo>
                      <a:pt x="3572" y="237"/>
                    </a:lnTo>
                    <a:lnTo>
                      <a:pt x="3583" y="231"/>
                    </a:lnTo>
                    <a:lnTo>
                      <a:pt x="3593" y="223"/>
                    </a:lnTo>
                    <a:lnTo>
                      <a:pt x="3605" y="215"/>
                    </a:lnTo>
                    <a:lnTo>
                      <a:pt x="3615" y="204"/>
                    </a:lnTo>
                    <a:lnTo>
                      <a:pt x="3626" y="195"/>
                    </a:lnTo>
                    <a:lnTo>
                      <a:pt x="3635" y="185"/>
                    </a:lnTo>
                    <a:lnTo>
                      <a:pt x="3643" y="176"/>
                    </a:lnTo>
                    <a:lnTo>
                      <a:pt x="3648" y="168"/>
                    </a:lnTo>
                    <a:lnTo>
                      <a:pt x="3712" y="175"/>
                    </a:lnTo>
                    <a:lnTo>
                      <a:pt x="3712" y="194"/>
                    </a:lnTo>
                    <a:lnTo>
                      <a:pt x="3712" y="210"/>
                    </a:lnTo>
                    <a:lnTo>
                      <a:pt x="3710" y="225"/>
                    </a:lnTo>
                    <a:lnTo>
                      <a:pt x="3710" y="240"/>
                    </a:lnTo>
                    <a:lnTo>
                      <a:pt x="3709" y="254"/>
                    </a:lnTo>
                    <a:lnTo>
                      <a:pt x="3708" y="268"/>
                    </a:lnTo>
                    <a:lnTo>
                      <a:pt x="3707" y="282"/>
                    </a:lnTo>
                    <a:lnTo>
                      <a:pt x="3705" y="300"/>
                    </a:lnTo>
                    <a:lnTo>
                      <a:pt x="3705" y="307"/>
                    </a:lnTo>
                    <a:lnTo>
                      <a:pt x="3706" y="313"/>
                    </a:lnTo>
                    <a:lnTo>
                      <a:pt x="3707" y="319"/>
                    </a:lnTo>
                    <a:lnTo>
                      <a:pt x="3709" y="325"/>
                    </a:lnTo>
                    <a:lnTo>
                      <a:pt x="3715" y="335"/>
                    </a:lnTo>
                    <a:lnTo>
                      <a:pt x="3723" y="346"/>
                    </a:lnTo>
                    <a:lnTo>
                      <a:pt x="3731" y="354"/>
                    </a:lnTo>
                    <a:lnTo>
                      <a:pt x="3741" y="362"/>
                    </a:lnTo>
                    <a:lnTo>
                      <a:pt x="3752" y="368"/>
                    </a:lnTo>
                    <a:lnTo>
                      <a:pt x="3763" y="377"/>
                    </a:lnTo>
                    <a:lnTo>
                      <a:pt x="3773" y="383"/>
                    </a:lnTo>
                    <a:lnTo>
                      <a:pt x="3784" y="391"/>
                    </a:lnTo>
                    <a:lnTo>
                      <a:pt x="3793" y="398"/>
                    </a:lnTo>
                    <a:lnTo>
                      <a:pt x="3801" y="407"/>
                    </a:lnTo>
                    <a:lnTo>
                      <a:pt x="3808" y="417"/>
                    </a:lnTo>
                    <a:lnTo>
                      <a:pt x="3812" y="427"/>
                    </a:lnTo>
                    <a:lnTo>
                      <a:pt x="3815" y="433"/>
                    </a:lnTo>
                    <a:lnTo>
                      <a:pt x="3816" y="440"/>
                    </a:lnTo>
                    <a:lnTo>
                      <a:pt x="3816" y="445"/>
                    </a:lnTo>
                    <a:lnTo>
                      <a:pt x="3816" y="453"/>
                    </a:lnTo>
                    <a:lnTo>
                      <a:pt x="3812" y="456"/>
                    </a:lnTo>
                    <a:lnTo>
                      <a:pt x="3804" y="465"/>
                    </a:lnTo>
                    <a:lnTo>
                      <a:pt x="3794" y="477"/>
                    </a:lnTo>
                    <a:lnTo>
                      <a:pt x="3780" y="492"/>
                    </a:lnTo>
                    <a:lnTo>
                      <a:pt x="3768" y="507"/>
                    </a:lnTo>
                    <a:lnTo>
                      <a:pt x="3757" y="520"/>
                    </a:lnTo>
                    <a:lnTo>
                      <a:pt x="3749" y="531"/>
                    </a:lnTo>
                    <a:lnTo>
                      <a:pt x="3746" y="536"/>
                    </a:lnTo>
                    <a:lnTo>
                      <a:pt x="3746" y="585"/>
                    </a:lnTo>
                    <a:lnTo>
                      <a:pt x="3761" y="582"/>
                    </a:lnTo>
                    <a:lnTo>
                      <a:pt x="3772" y="580"/>
                    </a:lnTo>
                    <a:lnTo>
                      <a:pt x="3783" y="576"/>
                    </a:lnTo>
                    <a:lnTo>
                      <a:pt x="3791" y="571"/>
                    </a:lnTo>
                    <a:lnTo>
                      <a:pt x="3804" y="563"/>
                    </a:lnTo>
                    <a:lnTo>
                      <a:pt x="3814" y="555"/>
                    </a:lnTo>
                    <a:lnTo>
                      <a:pt x="3823" y="549"/>
                    </a:lnTo>
                    <a:lnTo>
                      <a:pt x="3834" y="542"/>
                    </a:lnTo>
                    <a:lnTo>
                      <a:pt x="3841" y="539"/>
                    </a:lnTo>
                    <a:lnTo>
                      <a:pt x="3849" y="538"/>
                    </a:lnTo>
                    <a:lnTo>
                      <a:pt x="3859" y="537"/>
                    </a:lnTo>
                    <a:lnTo>
                      <a:pt x="3871" y="536"/>
                    </a:lnTo>
                    <a:lnTo>
                      <a:pt x="3875" y="567"/>
                    </a:lnTo>
                    <a:lnTo>
                      <a:pt x="3878" y="600"/>
                    </a:lnTo>
                    <a:lnTo>
                      <a:pt x="3880" y="635"/>
                    </a:lnTo>
                    <a:lnTo>
                      <a:pt x="3884" y="667"/>
                    </a:lnTo>
                    <a:lnTo>
                      <a:pt x="3887" y="682"/>
                    </a:lnTo>
                    <a:lnTo>
                      <a:pt x="3890" y="694"/>
                    </a:lnTo>
                    <a:lnTo>
                      <a:pt x="3896" y="707"/>
                    </a:lnTo>
                    <a:lnTo>
                      <a:pt x="3903" y="717"/>
                    </a:lnTo>
                    <a:lnTo>
                      <a:pt x="3906" y="722"/>
                    </a:lnTo>
                    <a:lnTo>
                      <a:pt x="3911" y="726"/>
                    </a:lnTo>
                    <a:lnTo>
                      <a:pt x="3916" y="730"/>
                    </a:lnTo>
                    <a:lnTo>
                      <a:pt x="3921" y="733"/>
                    </a:lnTo>
                    <a:lnTo>
                      <a:pt x="3927" y="735"/>
                    </a:lnTo>
                    <a:lnTo>
                      <a:pt x="3934" y="737"/>
                    </a:lnTo>
                    <a:lnTo>
                      <a:pt x="3941" y="738"/>
                    </a:lnTo>
                    <a:lnTo>
                      <a:pt x="3948" y="739"/>
                    </a:lnTo>
                    <a:lnTo>
                      <a:pt x="3958" y="738"/>
                    </a:lnTo>
                    <a:lnTo>
                      <a:pt x="3967" y="738"/>
                    </a:lnTo>
                    <a:lnTo>
                      <a:pt x="3976" y="735"/>
                    </a:lnTo>
                    <a:lnTo>
                      <a:pt x="3986" y="734"/>
                    </a:lnTo>
                    <a:lnTo>
                      <a:pt x="4000" y="729"/>
                    </a:lnTo>
                    <a:lnTo>
                      <a:pt x="4014" y="723"/>
                    </a:lnTo>
                    <a:lnTo>
                      <a:pt x="4026" y="715"/>
                    </a:lnTo>
                    <a:lnTo>
                      <a:pt x="4036" y="705"/>
                    </a:lnTo>
                    <a:lnTo>
                      <a:pt x="4046" y="694"/>
                    </a:lnTo>
                    <a:lnTo>
                      <a:pt x="4054" y="684"/>
                    </a:lnTo>
                    <a:lnTo>
                      <a:pt x="4068" y="660"/>
                    </a:lnTo>
                    <a:lnTo>
                      <a:pt x="4081" y="636"/>
                    </a:lnTo>
                    <a:lnTo>
                      <a:pt x="4088" y="624"/>
                    </a:lnTo>
                    <a:lnTo>
                      <a:pt x="4093" y="613"/>
                    </a:lnTo>
                    <a:lnTo>
                      <a:pt x="4100" y="601"/>
                    </a:lnTo>
                    <a:lnTo>
                      <a:pt x="4108" y="592"/>
                    </a:lnTo>
                    <a:lnTo>
                      <a:pt x="4120" y="605"/>
                    </a:lnTo>
                    <a:lnTo>
                      <a:pt x="4129" y="619"/>
                    </a:lnTo>
                    <a:lnTo>
                      <a:pt x="4135" y="632"/>
                    </a:lnTo>
                    <a:lnTo>
                      <a:pt x="4139" y="646"/>
                    </a:lnTo>
                    <a:lnTo>
                      <a:pt x="4143" y="660"/>
                    </a:lnTo>
                    <a:lnTo>
                      <a:pt x="4144" y="675"/>
                    </a:lnTo>
                    <a:lnTo>
                      <a:pt x="4145" y="688"/>
                    </a:lnTo>
                    <a:lnTo>
                      <a:pt x="4145" y="703"/>
                    </a:lnTo>
                    <a:lnTo>
                      <a:pt x="4145" y="734"/>
                    </a:lnTo>
                    <a:lnTo>
                      <a:pt x="4147" y="766"/>
                    </a:lnTo>
                    <a:lnTo>
                      <a:pt x="4151" y="784"/>
                    </a:lnTo>
                    <a:lnTo>
                      <a:pt x="4155" y="801"/>
                    </a:lnTo>
                    <a:lnTo>
                      <a:pt x="4162" y="818"/>
                    </a:lnTo>
                    <a:lnTo>
                      <a:pt x="4171" y="836"/>
                    </a:lnTo>
                    <a:lnTo>
                      <a:pt x="4182" y="850"/>
                    </a:lnTo>
                    <a:lnTo>
                      <a:pt x="4192" y="862"/>
                    </a:lnTo>
                    <a:lnTo>
                      <a:pt x="4202" y="872"/>
                    </a:lnTo>
                    <a:lnTo>
                      <a:pt x="4211" y="880"/>
                    </a:lnTo>
                    <a:lnTo>
                      <a:pt x="4219" y="889"/>
                    </a:lnTo>
                    <a:lnTo>
                      <a:pt x="4225" y="897"/>
                    </a:lnTo>
                    <a:lnTo>
                      <a:pt x="4226" y="903"/>
                    </a:lnTo>
                    <a:lnTo>
                      <a:pt x="4227" y="908"/>
                    </a:lnTo>
                    <a:lnTo>
                      <a:pt x="4227" y="913"/>
                    </a:lnTo>
                    <a:lnTo>
                      <a:pt x="4226" y="919"/>
                    </a:lnTo>
                    <a:lnTo>
                      <a:pt x="4225" y="927"/>
                    </a:lnTo>
                    <a:lnTo>
                      <a:pt x="4223" y="934"/>
                    </a:lnTo>
                    <a:lnTo>
                      <a:pt x="4219" y="941"/>
                    </a:lnTo>
                    <a:lnTo>
                      <a:pt x="4215" y="948"/>
                    </a:lnTo>
                    <a:lnTo>
                      <a:pt x="4202" y="961"/>
                    </a:lnTo>
                    <a:lnTo>
                      <a:pt x="4188" y="974"/>
                    </a:lnTo>
                    <a:lnTo>
                      <a:pt x="4180" y="981"/>
                    </a:lnTo>
                    <a:lnTo>
                      <a:pt x="4174" y="989"/>
                    </a:lnTo>
                    <a:lnTo>
                      <a:pt x="4168" y="997"/>
                    </a:lnTo>
                    <a:lnTo>
                      <a:pt x="4162" y="1005"/>
                    </a:lnTo>
                    <a:lnTo>
                      <a:pt x="4156" y="1014"/>
                    </a:lnTo>
                    <a:lnTo>
                      <a:pt x="4153" y="1023"/>
                    </a:lnTo>
                    <a:lnTo>
                      <a:pt x="4151" y="1034"/>
                    </a:lnTo>
                    <a:lnTo>
                      <a:pt x="4150" y="1045"/>
                    </a:lnTo>
                    <a:lnTo>
                      <a:pt x="4151" y="1059"/>
                    </a:lnTo>
                    <a:lnTo>
                      <a:pt x="4153" y="1070"/>
                    </a:lnTo>
                    <a:lnTo>
                      <a:pt x="4156" y="1080"/>
                    </a:lnTo>
                    <a:lnTo>
                      <a:pt x="4162" y="1086"/>
                    </a:lnTo>
                    <a:lnTo>
                      <a:pt x="4168" y="1092"/>
                    </a:lnTo>
                    <a:lnTo>
                      <a:pt x="4174" y="1097"/>
                    </a:lnTo>
                    <a:lnTo>
                      <a:pt x="4180" y="1099"/>
                    </a:lnTo>
                    <a:lnTo>
                      <a:pt x="4188" y="1102"/>
                    </a:lnTo>
                    <a:lnTo>
                      <a:pt x="4195" y="1105"/>
                    </a:lnTo>
                    <a:lnTo>
                      <a:pt x="4202" y="1108"/>
                    </a:lnTo>
                    <a:lnTo>
                      <a:pt x="4209" y="1112"/>
                    </a:lnTo>
                    <a:lnTo>
                      <a:pt x="4215" y="1115"/>
                    </a:lnTo>
                    <a:lnTo>
                      <a:pt x="4219" y="1121"/>
                    </a:lnTo>
                    <a:lnTo>
                      <a:pt x="4223" y="1128"/>
                    </a:lnTo>
                    <a:lnTo>
                      <a:pt x="4225" y="1138"/>
                    </a:lnTo>
                    <a:lnTo>
                      <a:pt x="4226" y="1150"/>
                    </a:lnTo>
                    <a:lnTo>
                      <a:pt x="4226" y="1159"/>
                    </a:lnTo>
                    <a:lnTo>
                      <a:pt x="4224" y="1168"/>
                    </a:lnTo>
                    <a:lnTo>
                      <a:pt x="4221" y="1176"/>
                    </a:lnTo>
                    <a:lnTo>
                      <a:pt x="4217" y="1183"/>
                    </a:lnTo>
                    <a:lnTo>
                      <a:pt x="4211" y="1190"/>
                    </a:lnTo>
                    <a:lnTo>
                      <a:pt x="4207" y="1195"/>
                    </a:lnTo>
                    <a:lnTo>
                      <a:pt x="4201" y="1201"/>
                    </a:lnTo>
                    <a:lnTo>
                      <a:pt x="4195" y="1206"/>
                    </a:lnTo>
                    <a:lnTo>
                      <a:pt x="4184" y="1215"/>
                    </a:lnTo>
                    <a:lnTo>
                      <a:pt x="4174" y="1225"/>
                    </a:lnTo>
                    <a:lnTo>
                      <a:pt x="4169" y="1230"/>
                    </a:lnTo>
                    <a:lnTo>
                      <a:pt x="4167" y="1234"/>
                    </a:lnTo>
                    <a:lnTo>
                      <a:pt x="4164" y="1240"/>
                    </a:lnTo>
                    <a:lnTo>
                      <a:pt x="4163" y="1247"/>
                    </a:lnTo>
                    <a:lnTo>
                      <a:pt x="4164" y="1254"/>
                    </a:lnTo>
                    <a:lnTo>
                      <a:pt x="4166" y="1262"/>
                    </a:lnTo>
                    <a:lnTo>
                      <a:pt x="4167" y="1271"/>
                    </a:lnTo>
                    <a:lnTo>
                      <a:pt x="4169" y="1280"/>
                    </a:lnTo>
                    <a:lnTo>
                      <a:pt x="4176" y="1299"/>
                    </a:lnTo>
                    <a:lnTo>
                      <a:pt x="4185" y="1319"/>
                    </a:lnTo>
                    <a:lnTo>
                      <a:pt x="4197" y="1341"/>
                    </a:lnTo>
                    <a:lnTo>
                      <a:pt x="4209" y="1362"/>
                    </a:lnTo>
                    <a:lnTo>
                      <a:pt x="4224" y="1383"/>
                    </a:lnTo>
                    <a:lnTo>
                      <a:pt x="4240" y="1404"/>
                    </a:lnTo>
                    <a:lnTo>
                      <a:pt x="4257" y="1425"/>
                    </a:lnTo>
                    <a:lnTo>
                      <a:pt x="4274" y="1443"/>
                    </a:lnTo>
                    <a:lnTo>
                      <a:pt x="4294" y="1460"/>
                    </a:lnTo>
                    <a:lnTo>
                      <a:pt x="4313" y="1475"/>
                    </a:lnTo>
                    <a:lnTo>
                      <a:pt x="4324" y="1482"/>
                    </a:lnTo>
                    <a:lnTo>
                      <a:pt x="4334" y="1488"/>
                    </a:lnTo>
                    <a:lnTo>
                      <a:pt x="4343" y="1492"/>
                    </a:lnTo>
                    <a:lnTo>
                      <a:pt x="4354" y="1497"/>
                    </a:lnTo>
                    <a:lnTo>
                      <a:pt x="4364" y="1500"/>
                    </a:lnTo>
                    <a:lnTo>
                      <a:pt x="4374" y="1503"/>
                    </a:lnTo>
                    <a:lnTo>
                      <a:pt x="4383" y="1504"/>
                    </a:lnTo>
                    <a:lnTo>
                      <a:pt x="4394" y="1505"/>
                    </a:lnTo>
                    <a:lnTo>
                      <a:pt x="4391" y="1514"/>
                    </a:lnTo>
                    <a:lnTo>
                      <a:pt x="4389" y="1523"/>
                    </a:lnTo>
                    <a:lnTo>
                      <a:pt x="4388" y="1531"/>
                    </a:lnTo>
                    <a:lnTo>
                      <a:pt x="4388" y="1538"/>
                    </a:lnTo>
                    <a:lnTo>
                      <a:pt x="4387" y="1545"/>
                    </a:lnTo>
                    <a:lnTo>
                      <a:pt x="4387" y="1552"/>
                    </a:lnTo>
                    <a:lnTo>
                      <a:pt x="4387" y="1560"/>
                    </a:lnTo>
                    <a:lnTo>
                      <a:pt x="4387" y="1567"/>
                    </a:lnTo>
                    <a:lnTo>
                      <a:pt x="4386" y="1574"/>
                    </a:lnTo>
                    <a:lnTo>
                      <a:pt x="4385" y="1580"/>
                    </a:lnTo>
                    <a:lnTo>
                      <a:pt x="4383" y="1585"/>
                    </a:lnTo>
                    <a:lnTo>
                      <a:pt x="4381" y="1590"/>
                    </a:lnTo>
                    <a:lnTo>
                      <a:pt x="4375" y="1600"/>
                    </a:lnTo>
                    <a:lnTo>
                      <a:pt x="4370" y="1609"/>
                    </a:lnTo>
                    <a:lnTo>
                      <a:pt x="4363" y="1619"/>
                    </a:lnTo>
                    <a:lnTo>
                      <a:pt x="4357" y="1628"/>
                    </a:lnTo>
                    <a:lnTo>
                      <a:pt x="4355" y="1633"/>
                    </a:lnTo>
                    <a:lnTo>
                      <a:pt x="4354" y="1638"/>
                    </a:lnTo>
                    <a:lnTo>
                      <a:pt x="4352" y="1645"/>
                    </a:lnTo>
                    <a:lnTo>
                      <a:pt x="4351" y="1651"/>
                    </a:lnTo>
                    <a:lnTo>
                      <a:pt x="4351" y="1661"/>
                    </a:lnTo>
                    <a:lnTo>
                      <a:pt x="4352" y="1671"/>
                    </a:lnTo>
                    <a:lnTo>
                      <a:pt x="4352" y="1681"/>
                    </a:lnTo>
                    <a:lnTo>
                      <a:pt x="4355" y="1689"/>
                    </a:lnTo>
                    <a:lnTo>
                      <a:pt x="4357" y="1697"/>
                    </a:lnTo>
                    <a:lnTo>
                      <a:pt x="4360" y="1705"/>
                    </a:lnTo>
                    <a:lnTo>
                      <a:pt x="4364" y="1710"/>
                    </a:lnTo>
                    <a:lnTo>
                      <a:pt x="4367" y="1717"/>
                    </a:lnTo>
                    <a:lnTo>
                      <a:pt x="4372" y="1722"/>
                    </a:lnTo>
                    <a:lnTo>
                      <a:pt x="4377" y="1728"/>
                    </a:lnTo>
                    <a:lnTo>
                      <a:pt x="4382" y="1732"/>
                    </a:lnTo>
                    <a:lnTo>
                      <a:pt x="4388" y="1737"/>
                    </a:lnTo>
                    <a:lnTo>
                      <a:pt x="4401" y="1744"/>
                    </a:lnTo>
                    <a:lnTo>
                      <a:pt x="4414" y="1750"/>
                    </a:lnTo>
                    <a:lnTo>
                      <a:pt x="4445" y="1761"/>
                    </a:lnTo>
                    <a:lnTo>
                      <a:pt x="4477" y="1770"/>
                    </a:lnTo>
                    <a:lnTo>
                      <a:pt x="4493" y="1776"/>
                    </a:lnTo>
                    <a:lnTo>
                      <a:pt x="4510" y="1781"/>
                    </a:lnTo>
                    <a:lnTo>
                      <a:pt x="4524" y="1788"/>
                    </a:lnTo>
                    <a:lnTo>
                      <a:pt x="4539" y="1797"/>
                    </a:lnTo>
                    <a:lnTo>
                      <a:pt x="4549" y="1803"/>
                    </a:lnTo>
                    <a:lnTo>
                      <a:pt x="4558" y="1810"/>
                    </a:lnTo>
                    <a:lnTo>
                      <a:pt x="4566" y="1817"/>
                    </a:lnTo>
                    <a:lnTo>
                      <a:pt x="4573" y="1824"/>
                    </a:lnTo>
                    <a:lnTo>
                      <a:pt x="4586" y="1840"/>
                    </a:lnTo>
                    <a:lnTo>
                      <a:pt x="4599" y="1857"/>
                    </a:lnTo>
                    <a:lnTo>
                      <a:pt x="4610" y="1875"/>
                    </a:lnTo>
                    <a:lnTo>
                      <a:pt x="4620" y="1895"/>
                    </a:lnTo>
                    <a:lnTo>
                      <a:pt x="4628" y="1916"/>
                    </a:lnTo>
                    <a:lnTo>
                      <a:pt x="4634" y="1937"/>
                    </a:lnTo>
                    <a:lnTo>
                      <a:pt x="4640" y="1959"/>
                    </a:lnTo>
                    <a:lnTo>
                      <a:pt x="4645" y="1982"/>
                    </a:lnTo>
                    <a:lnTo>
                      <a:pt x="4648" y="2005"/>
                    </a:lnTo>
                    <a:lnTo>
                      <a:pt x="4651" y="2029"/>
                    </a:lnTo>
                    <a:lnTo>
                      <a:pt x="4652" y="2053"/>
                    </a:lnTo>
                    <a:lnTo>
                      <a:pt x="4653" y="2077"/>
                    </a:lnTo>
                    <a:lnTo>
                      <a:pt x="4652" y="2100"/>
                    </a:lnTo>
                    <a:lnTo>
                      <a:pt x="4652" y="2124"/>
                    </a:lnTo>
                    <a:lnTo>
                      <a:pt x="4652" y="2137"/>
                    </a:lnTo>
                    <a:lnTo>
                      <a:pt x="4653" y="2148"/>
                    </a:lnTo>
                    <a:lnTo>
                      <a:pt x="4655" y="2160"/>
                    </a:lnTo>
                    <a:lnTo>
                      <a:pt x="4659" y="2170"/>
                    </a:lnTo>
                    <a:lnTo>
                      <a:pt x="4667" y="2190"/>
                    </a:lnTo>
                    <a:lnTo>
                      <a:pt x="4676" y="2207"/>
                    </a:lnTo>
                    <a:lnTo>
                      <a:pt x="4685" y="2225"/>
                    </a:lnTo>
                    <a:lnTo>
                      <a:pt x="4692" y="2242"/>
                    </a:lnTo>
                    <a:lnTo>
                      <a:pt x="4695" y="2253"/>
                    </a:lnTo>
                    <a:lnTo>
                      <a:pt x="4698" y="2263"/>
                    </a:lnTo>
                    <a:lnTo>
                      <a:pt x="4700" y="2273"/>
                    </a:lnTo>
                    <a:lnTo>
                      <a:pt x="4700" y="2285"/>
                    </a:lnTo>
                    <a:lnTo>
                      <a:pt x="4700" y="2292"/>
                    </a:lnTo>
                    <a:lnTo>
                      <a:pt x="4698" y="2300"/>
                    </a:lnTo>
                    <a:lnTo>
                      <a:pt x="4695" y="2307"/>
                    </a:lnTo>
                    <a:lnTo>
                      <a:pt x="4691" y="2315"/>
                    </a:lnTo>
                    <a:lnTo>
                      <a:pt x="4681" y="2328"/>
                    </a:lnTo>
                    <a:lnTo>
                      <a:pt x="4671" y="2343"/>
                    </a:lnTo>
                    <a:lnTo>
                      <a:pt x="4660" y="2361"/>
                    </a:lnTo>
                    <a:lnTo>
                      <a:pt x="4651" y="2379"/>
                    </a:lnTo>
                    <a:lnTo>
                      <a:pt x="4646" y="2389"/>
                    </a:lnTo>
                    <a:lnTo>
                      <a:pt x="4641" y="2400"/>
                    </a:lnTo>
                    <a:lnTo>
                      <a:pt x="4639" y="2411"/>
                    </a:lnTo>
                    <a:lnTo>
                      <a:pt x="4637" y="2424"/>
                    </a:lnTo>
                    <a:lnTo>
                      <a:pt x="4638" y="2434"/>
                    </a:lnTo>
                    <a:lnTo>
                      <a:pt x="4639" y="2443"/>
                    </a:lnTo>
                    <a:lnTo>
                      <a:pt x="4640" y="2451"/>
                    </a:lnTo>
                    <a:lnTo>
                      <a:pt x="4644" y="2459"/>
                    </a:lnTo>
                    <a:lnTo>
                      <a:pt x="4647" y="2466"/>
                    </a:lnTo>
                    <a:lnTo>
                      <a:pt x="4651" y="2473"/>
                    </a:lnTo>
                    <a:lnTo>
                      <a:pt x="4655" y="2479"/>
                    </a:lnTo>
                    <a:lnTo>
                      <a:pt x="4660" y="2483"/>
                    </a:lnTo>
                    <a:lnTo>
                      <a:pt x="4665" y="2488"/>
                    </a:lnTo>
                    <a:lnTo>
                      <a:pt x="4671" y="2491"/>
                    </a:lnTo>
                    <a:lnTo>
                      <a:pt x="4678" y="2494"/>
                    </a:lnTo>
                    <a:lnTo>
                      <a:pt x="4684" y="2496"/>
                    </a:lnTo>
                    <a:lnTo>
                      <a:pt x="4699" y="2499"/>
                    </a:lnTo>
                    <a:lnTo>
                      <a:pt x="4714" y="2501"/>
                    </a:lnTo>
                    <a:lnTo>
                      <a:pt x="4716" y="2510"/>
                    </a:lnTo>
                    <a:lnTo>
                      <a:pt x="4717" y="2518"/>
                    </a:lnTo>
                    <a:lnTo>
                      <a:pt x="4717" y="2525"/>
                    </a:lnTo>
                    <a:lnTo>
                      <a:pt x="4717" y="2530"/>
                    </a:lnTo>
                    <a:lnTo>
                      <a:pt x="4716" y="2535"/>
                    </a:lnTo>
                    <a:lnTo>
                      <a:pt x="4715" y="2540"/>
                    </a:lnTo>
                    <a:lnTo>
                      <a:pt x="4714" y="2544"/>
                    </a:lnTo>
                    <a:lnTo>
                      <a:pt x="4714" y="2549"/>
                    </a:lnTo>
                    <a:lnTo>
                      <a:pt x="4712" y="2560"/>
                    </a:lnTo>
                    <a:lnTo>
                      <a:pt x="4710" y="2573"/>
                    </a:lnTo>
                    <a:lnTo>
                      <a:pt x="4706" y="2585"/>
                    </a:lnTo>
                    <a:lnTo>
                      <a:pt x="4700" y="2598"/>
                    </a:lnTo>
                    <a:lnTo>
                      <a:pt x="4693" y="2609"/>
                    </a:lnTo>
                    <a:lnTo>
                      <a:pt x="4685" y="2618"/>
                    </a:lnTo>
                    <a:lnTo>
                      <a:pt x="4680" y="2621"/>
                    </a:lnTo>
                    <a:lnTo>
                      <a:pt x="4676" y="2623"/>
                    </a:lnTo>
                    <a:lnTo>
                      <a:pt x="4670" y="2626"/>
                    </a:lnTo>
                    <a:lnTo>
                      <a:pt x="4665" y="2626"/>
                    </a:lnTo>
                    <a:lnTo>
                      <a:pt x="4659" y="2626"/>
                    </a:lnTo>
                    <a:lnTo>
                      <a:pt x="4654" y="2622"/>
                    </a:lnTo>
                    <a:lnTo>
                      <a:pt x="4649" y="2619"/>
                    </a:lnTo>
                    <a:lnTo>
                      <a:pt x="4645" y="2614"/>
                    </a:lnTo>
                    <a:lnTo>
                      <a:pt x="4641" y="2608"/>
                    </a:lnTo>
                    <a:lnTo>
                      <a:pt x="4639" y="2601"/>
                    </a:lnTo>
                    <a:lnTo>
                      <a:pt x="4637" y="2595"/>
                    </a:lnTo>
                    <a:lnTo>
                      <a:pt x="4634" y="2588"/>
                    </a:lnTo>
                    <a:lnTo>
                      <a:pt x="4632" y="2574"/>
                    </a:lnTo>
                    <a:lnTo>
                      <a:pt x="4631" y="2561"/>
                    </a:lnTo>
                    <a:lnTo>
                      <a:pt x="4630" y="2552"/>
                    </a:lnTo>
                    <a:lnTo>
                      <a:pt x="4630" y="2549"/>
                    </a:lnTo>
                    <a:lnTo>
                      <a:pt x="4618" y="2564"/>
                    </a:lnTo>
                    <a:lnTo>
                      <a:pt x="4608" y="2579"/>
                    </a:lnTo>
                    <a:lnTo>
                      <a:pt x="4599" y="2593"/>
                    </a:lnTo>
                    <a:lnTo>
                      <a:pt x="4590" y="2607"/>
                    </a:lnTo>
                    <a:lnTo>
                      <a:pt x="4585" y="2614"/>
                    </a:lnTo>
                    <a:lnTo>
                      <a:pt x="4581" y="2620"/>
                    </a:lnTo>
                    <a:lnTo>
                      <a:pt x="4575" y="2626"/>
                    </a:lnTo>
                    <a:lnTo>
                      <a:pt x="4569" y="2630"/>
                    </a:lnTo>
                    <a:lnTo>
                      <a:pt x="4563" y="2635"/>
                    </a:lnTo>
                    <a:lnTo>
                      <a:pt x="4557" y="2637"/>
                    </a:lnTo>
                    <a:lnTo>
                      <a:pt x="4549" y="2639"/>
                    </a:lnTo>
                    <a:lnTo>
                      <a:pt x="4539" y="2639"/>
                    </a:lnTo>
                    <a:lnTo>
                      <a:pt x="4535" y="2639"/>
                    </a:lnTo>
                    <a:lnTo>
                      <a:pt x="4530" y="2637"/>
                    </a:lnTo>
                    <a:lnTo>
                      <a:pt x="4526" y="2635"/>
                    </a:lnTo>
                    <a:lnTo>
                      <a:pt x="4521" y="2631"/>
                    </a:lnTo>
                    <a:lnTo>
                      <a:pt x="4512" y="2622"/>
                    </a:lnTo>
                    <a:lnTo>
                      <a:pt x="4504" y="2612"/>
                    </a:lnTo>
                    <a:lnTo>
                      <a:pt x="4493" y="2601"/>
                    </a:lnTo>
                    <a:lnTo>
                      <a:pt x="4483" y="2592"/>
                    </a:lnTo>
                    <a:lnTo>
                      <a:pt x="4477" y="2589"/>
                    </a:lnTo>
                    <a:lnTo>
                      <a:pt x="4471" y="2587"/>
                    </a:lnTo>
                    <a:lnTo>
                      <a:pt x="4464" y="2584"/>
                    </a:lnTo>
                    <a:lnTo>
                      <a:pt x="4457" y="2584"/>
                    </a:lnTo>
                    <a:lnTo>
                      <a:pt x="4442" y="2584"/>
                    </a:lnTo>
                    <a:lnTo>
                      <a:pt x="4429" y="2587"/>
                    </a:lnTo>
                    <a:lnTo>
                      <a:pt x="4418" y="2590"/>
                    </a:lnTo>
                    <a:lnTo>
                      <a:pt x="4409" y="2596"/>
                    </a:lnTo>
                    <a:lnTo>
                      <a:pt x="4404" y="2598"/>
                    </a:lnTo>
                    <a:lnTo>
                      <a:pt x="4401" y="2603"/>
                    </a:lnTo>
                    <a:lnTo>
                      <a:pt x="4397" y="2606"/>
                    </a:lnTo>
                    <a:lnTo>
                      <a:pt x="4395" y="2611"/>
                    </a:lnTo>
                    <a:lnTo>
                      <a:pt x="4390" y="2621"/>
                    </a:lnTo>
                    <a:lnTo>
                      <a:pt x="4387" y="2632"/>
                    </a:lnTo>
                    <a:lnTo>
                      <a:pt x="4388" y="2643"/>
                    </a:lnTo>
                    <a:lnTo>
                      <a:pt x="4390" y="2652"/>
                    </a:lnTo>
                    <a:lnTo>
                      <a:pt x="4395" y="2661"/>
                    </a:lnTo>
                    <a:lnTo>
                      <a:pt x="4399" y="2669"/>
                    </a:lnTo>
                    <a:lnTo>
                      <a:pt x="4413" y="2684"/>
                    </a:lnTo>
                    <a:lnTo>
                      <a:pt x="4428" y="2699"/>
                    </a:lnTo>
                    <a:lnTo>
                      <a:pt x="4444" y="2714"/>
                    </a:lnTo>
                    <a:lnTo>
                      <a:pt x="4457" y="2729"/>
                    </a:lnTo>
                    <a:lnTo>
                      <a:pt x="4463" y="2737"/>
                    </a:lnTo>
                    <a:lnTo>
                      <a:pt x="4467" y="2746"/>
                    </a:lnTo>
                    <a:lnTo>
                      <a:pt x="4469" y="2755"/>
                    </a:lnTo>
                    <a:lnTo>
                      <a:pt x="4471" y="2765"/>
                    </a:lnTo>
                    <a:lnTo>
                      <a:pt x="4469" y="2785"/>
                    </a:lnTo>
                    <a:lnTo>
                      <a:pt x="4468" y="2804"/>
                    </a:lnTo>
                    <a:lnTo>
                      <a:pt x="4466" y="2823"/>
                    </a:lnTo>
                    <a:lnTo>
                      <a:pt x="4463" y="2840"/>
                    </a:lnTo>
                    <a:lnTo>
                      <a:pt x="4459" y="2857"/>
                    </a:lnTo>
                    <a:lnTo>
                      <a:pt x="4454" y="2873"/>
                    </a:lnTo>
                    <a:lnTo>
                      <a:pt x="4449" y="2889"/>
                    </a:lnTo>
                    <a:lnTo>
                      <a:pt x="4442" y="2904"/>
                    </a:lnTo>
                    <a:lnTo>
                      <a:pt x="4435" y="2918"/>
                    </a:lnTo>
                    <a:lnTo>
                      <a:pt x="4428" y="2932"/>
                    </a:lnTo>
                    <a:lnTo>
                      <a:pt x="4420" y="2946"/>
                    </a:lnTo>
                    <a:lnTo>
                      <a:pt x="4411" y="2958"/>
                    </a:lnTo>
                    <a:lnTo>
                      <a:pt x="4403" y="2970"/>
                    </a:lnTo>
                    <a:lnTo>
                      <a:pt x="4393" y="2981"/>
                    </a:lnTo>
                    <a:lnTo>
                      <a:pt x="4383" y="2993"/>
                    </a:lnTo>
                    <a:lnTo>
                      <a:pt x="4373" y="3003"/>
                    </a:lnTo>
                    <a:lnTo>
                      <a:pt x="4351" y="3022"/>
                    </a:lnTo>
                    <a:lnTo>
                      <a:pt x="4328" y="3041"/>
                    </a:lnTo>
                    <a:lnTo>
                      <a:pt x="4305" y="3057"/>
                    </a:lnTo>
                    <a:lnTo>
                      <a:pt x="4283" y="3072"/>
                    </a:lnTo>
                    <a:lnTo>
                      <a:pt x="4235" y="3098"/>
                    </a:lnTo>
                    <a:lnTo>
                      <a:pt x="4192" y="3120"/>
                    </a:lnTo>
                    <a:lnTo>
                      <a:pt x="4187" y="3112"/>
                    </a:lnTo>
                    <a:lnTo>
                      <a:pt x="4183" y="3103"/>
                    </a:lnTo>
                    <a:lnTo>
                      <a:pt x="4180" y="3093"/>
                    </a:lnTo>
                    <a:lnTo>
                      <a:pt x="4177" y="3084"/>
                    </a:lnTo>
                    <a:lnTo>
                      <a:pt x="4174" y="3076"/>
                    </a:lnTo>
                    <a:lnTo>
                      <a:pt x="4169" y="3071"/>
                    </a:lnTo>
                    <a:lnTo>
                      <a:pt x="4167" y="3068"/>
                    </a:lnTo>
                    <a:lnTo>
                      <a:pt x="4163" y="3066"/>
                    </a:lnTo>
                    <a:lnTo>
                      <a:pt x="4161" y="3065"/>
                    </a:lnTo>
                    <a:lnTo>
                      <a:pt x="4156" y="3065"/>
                    </a:lnTo>
                    <a:lnTo>
                      <a:pt x="4148" y="3065"/>
                    </a:lnTo>
                    <a:lnTo>
                      <a:pt x="4140" y="3067"/>
                    </a:lnTo>
                    <a:lnTo>
                      <a:pt x="4132" y="3069"/>
                    </a:lnTo>
                    <a:lnTo>
                      <a:pt x="4124" y="3073"/>
                    </a:lnTo>
                    <a:lnTo>
                      <a:pt x="4115" y="3077"/>
                    </a:lnTo>
                    <a:lnTo>
                      <a:pt x="4106" y="3082"/>
                    </a:lnTo>
                    <a:lnTo>
                      <a:pt x="4098" y="3088"/>
                    </a:lnTo>
                    <a:lnTo>
                      <a:pt x="4089" y="3095"/>
                    </a:lnTo>
                    <a:lnTo>
                      <a:pt x="4072" y="3110"/>
                    </a:lnTo>
                    <a:lnTo>
                      <a:pt x="4054" y="3127"/>
                    </a:lnTo>
                    <a:lnTo>
                      <a:pt x="4037" y="3146"/>
                    </a:lnTo>
                    <a:lnTo>
                      <a:pt x="4021" y="3167"/>
                    </a:lnTo>
                    <a:lnTo>
                      <a:pt x="4006" y="3189"/>
                    </a:lnTo>
                    <a:lnTo>
                      <a:pt x="3992" y="3210"/>
                    </a:lnTo>
                    <a:lnTo>
                      <a:pt x="3980" y="3233"/>
                    </a:lnTo>
                    <a:lnTo>
                      <a:pt x="3968" y="3255"/>
                    </a:lnTo>
                    <a:lnTo>
                      <a:pt x="3960" y="3278"/>
                    </a:lnTo>
                    <a:lnTo>
                      <a:pt x="3953" y="3299"/>
                    </a:lnTo>
                    <a:lnTo>
                      <a:pt x="3951" y="3309"/>
                    </a:lnTo>
                    <a:lnTo>
                      <a:pt x="3949" y="3318"/>
                    </a:lnTo>
                    <a:lnTo>
                      <a:pt x="3949" y="3327"/>
                    </a:lnTo>
                    <a:lnTo>
                      <a:pt x="3948" y="3337"/>
                    </a:lnTo>
                    <a:lnTo>
                      <a:pt x="3949" y="3343"/>
                    </a:lnTo>
                    <a:lnTo>
                      <a:pt x="3952" y="3353"/>
                    </a:lnTo>
                    <a:lnTo>
                      <a:pt x="3957" y="3362"/>
                    </a:lnTo>
                    <a:lnTo>
                      <a:pt x="3963" y="3373"/>
                    </a:lnTo>
                    <a:lnTo>
                      <a:pt x="3978" y="3397"/>
                    </a:lnTo>
                    <a:lnTo>
                      <a:pt x="3995" y="3424"/>
                    </a:lnTo>
                    <a:lnTo>
                      <a:pt x="4013" y="3451"/>
                    </a:lnTo>
                    <a:lnTo>
                      <a:pt x="4030" y="3477"/>
                    </a:lnTo>
                    <a:lnTo>
                      <a:pt x="4037" y="3488"/>
                    </a:lnTo>
                    <a:lnTo>
                      <a:pt x="4044" y="3499"/>
                    </a:lnTo>
                    <a:lnTo>
                      <a:pt x="4049" y="3509"/>
                    </a:lnTo>
                    <a:lnTo>
                      <a:pt x="4052" y="3518"/>
                    </a:lnTo>
                    <a:lnTo>
                      <a:pt x="4069" y="3579"/>
                    </a:lnTo>
                    <a:lnTo>
                      <a:pt x="4088" y="3642"/>
                    </a:lnTo>
                    <a:lnTo>
                      <a:pt x="4106" y="3707"/>
                    </a:lnTo>
                    <a:lnTo>
                      <a:pt x="4124" y="3772"/>
                    </a:lnTo>
                    <a:lnTo>
                      <a:pt x="4132" y="3806"/>
                    </a:lnTo>
                    <a:lnTo>
                      <a:pt x="4139" y="3839"/>
                    </a:lnTo>
                    <a:lnTo>
                      <a:pt x="4146" y="3871"/>
                    </a:lnTo>
                    <a:lnTo>
                      <a:pt x="4152" y="3904"/>
                    </a:lnTo>
                    <a:lnTo>
                      <a:pt x="4158" y="3936"/>
                    </a:lnTo>
                    <a:lnTo>
                      <a:pt x="4161" y="3970"/>
                    </a:lnTo>
                    <a:lnTo>
                      <a:pt x="4163" y="4001"/>
                    </a:lnTo>
                    <a:lnTo>
                      <a:pt x="4163" y="4033"/>
                    </a:lnTo>
                    <a:lnTo>
                      <a:pt x="4163" y="4056"/>
                    </a:lnTo>
                    <a:lnTo>
                      <a:pt x="4161" y="4076"/>
                    </a:lnTo>
                    <a:lnTo>
                      <a:pt x="4156" y="4097"/>
                    </a:lnTo>
                    <a:lnTo>
                      <a:pt x="4152" y="4115"/>
                    </a:lnTo>
                    <a:lnTo>
                      <a:pt x="4146" y="4133"/>
                    </a:lnTo>
                    <a:lnTo>
                      <a:pt x="4139" y="4150"/>
                    </a:lnTo>
                    <a:lnTo>
                      <a:pt x="4132" y="4165"/>
                    </a:lnTo>
                    <a:lnTo>
                      <a:pt x="4124" y="4180"/>
                    </a:lnTo>
                    <a:lnTo>
                      <a:pt x="4109" y="4208"/>
                    </a:lnTo>
                    <a:lnTo>
                      <a:pt x="4097" y="4236"/>
                    </a:lnTo>
                    <a:lnTo>
                      <a:pt x="4091" y="4250"/>
                    </a:lnTo>
                    <a:lnTo>
                      <a:pt x="4085" y="4262"/>
                    </a:lnTo>
                    <a:lnTo>
                      <a:pt x="4082" y="4276"/>
                    </a:lnTo>
                    <a:lnTo>
                      <a:pt x="4081" y="4291"/>
                    </a:lnTo>
                    <a:lnTo>
                      <a:pt x="4081" y="4297"/>
                    </a:lnTo>
                    <a:lnTo>
                      <a:pt x="4082" y="4303"/>
                    </a:lnTo>
                    <a:lnTo>
                      <a:pt x="4084" y="4309"/>
                    </a:lnTo>
                    <a:lnTo>
                      <a:pt x="4088" y="4315"/>
                    </a:lnTo>
                    <a:lnTo>
                      <a:pt x="4096" y="4326"/>
                    </a:lnTo>
                    <a:lnTo>
                      <a:pt x="4105" y="4338"/>
                    </a:lnTo>
                    <a:lnTo>
                      <a:pt x="4114" y="4349"/>
                    </a:lnTo>
                    <a:lnTo>
                      <a:pt x="4121" y="4363"/>
                    </a:lnTo>
                    <a:lnTo>
                      <a:pt x="4124" y="4370"/>
                    </a:lnTo>
                    <a:lnTo>
                      <a:pt x="4127" y="4378"/>
                    </a:lnTo>
                    <a:lnTo>
                      <a:pt x="4129" y="4386"/>
                    </a:lnTo>
                    <a:lnTo>
                      <a:pt x="4129" y="4395"/>
                    </a:lnTo>
                    <a:lnTo>
                      <a:pt x="4129" y="4407"/>
                    </a:lnTo>
                    <a:lnTo>
                      <a:pt x="4128" y="4417"/>
                    </a:lnTo>
                    <a:lnTo>
                      <a:pt x="4127" y="4426"/>
                    </a:lnTo>
                    <a:lnTo>
                      <a:pt x="4124" y="4435"/>
                    </a:lnTo>
                    <a:lnTo>
                      <a:pt x="4120" y="4451"/>
                    </a:lnTo>
                    <a:lnTo>
                      <a:pt x="4115" y="4466"/>
                    </a:lnTo>
                    <a:lnTo>
                      <a:pt x="4109" y="4480"/>
                    </a:lnTo>
                    <a:lnTo>
                      <a:pt x="4106" y="4495"/>
                    </a:lnTo>
                    <a:lnTo>
                      <a:pt x="4102" y="4510"/>
                    </a:lnTo>
                    <a:lnTo>
                      <a:pt x="4101" y="4527"/>
                    </a:lnTo>
                    <a:lnTo>
                      <a:pt x="4100" y="4537"/>
                    </a:lnTo>
                    <a:lnTo>
                      <a:pt x="4101" y="4547"/>
                    </a:lnTo>
                    <a:lnTo>
                      <a:pt x="4102" y="4555"/>
                    </a:lnTo>
                    <a:lnTo>
                      <a:pt x="4105" y="4563"/>
                    </a:lnTo>
                    <a:lnTo>
                      <a:pt x="4112" y="4576"/>
                    </a:lnTo>
                    <a:lnTo>
                      <a:pt x="4120" y="4589"/>
                    </a:lnTo>
                    <a:lnTo>
                      <a:pt x="4128" y="4602"/>
                    </a:lnTo>
                    <a:lnTo>
                      <a:pt x="4136" y="4614"/>
                    </a:lnTo>
                    <a:lnTo>
                      <a:pt x="4138" y="4621"/>
                    </a:lnTo>
                    <a:lnTo>
                      <a:pt x="4140" y="4629"/>
                    </a:lnTo>
                    <a:lnTo>
                      <a:pt x="4143" y="4637"/>
                    </a:lnTo>
                    <a:lnTo>
                      <a:pt x="4143" y="4645"/>
                    </a:lnTo>
                    <a:lnTo>
                      <a:pt x="4143" y="4652"/>
                    </a:lnTo>
                    <a:lnTo>
                      <a:pt x="4141" y="4658"/>
                    </a:lnTo>
                    <a:lnTo>
                      <a:pt x="4139" y="4662"/>
                    </a:lnTo>
                    <a:lnTo>
                      <a:pt x="4137" y="4667"/>
                    </a:lnTo>
                    <a:lnTo>
                      <a:pt x="4133" y="4670"/>
                    </a:lnTo>
                    <a:lnTo>
                      <a:pt x="4130" y="4674"/>
                    </a:lnTo>
                    <a:lnTo>
                      <a:pt x="4125" y="4677"/>
                    </a:lnTo>
                    <a:lnTo>
                      <a:pt x="4121" y="4680"/>
                    </a:lnTo>
                    <a:lnTo>
                      <a:pt x="4111" y="4683"/>
                    </a:lnTo>
                    <a:lnTo>
                      <a:pt x="4099" y="4685"/>
                    </a:lnTo>
                    <a:lnTo>
                      <a:pt x="4086" y="4688"/>
                    </a:lnTo>
                    <a:lnTo>
                      <a:pt x="4074" y="4688"/>
                    </a:lnTo>
                    <a:lnTo>
                      <a:pt x="4074" y="4700"/>
                    </a:lnTo>
                    <a:lnTo>
                      <a:pt x="4074" y="4709"/>
                    </a:lnTo>
                    <a:lnTo>
                      <a:pt x="4074" y="4716"/>
                    </a:lnTo>
                    <a:lnTo>
                      <a:pt x="4074" y="4721"/>
                    </a:lnTo>
                    <a:lnTo>
                      <a:pt x="4074" y="4724"/>
                    </a:lnTo>
                    <a:lnTo>
                      <a:pt x="4074" y="4729"/>
                    </a:lnTo>
                    <a:lnTo>
                      <a:pt x="4074" y="4735"/>
                    </a:lnTo>
                    <a:lnTo>
                      <a:pt x="4074" y="4743"/>
                    </a:lnTo>
                    <a:lnTo>
                      <a:pt x="4074" y="4751"/>
                    </a:lnTo>
                    <a:lnTo>
                      <a:pt x="4076" y="4758"/>
                    </a:lnTo>
                    <a:lnTo>
                      <a:pt x="4080" y="4764"/>
                    </a:lnTo>
                    <a:lnTo>
                      <a:pt x="4084" y="4771"/>
                    </a:lnTo>
                    <a:lnTo>
                      <a:pt x="4096" y="4785"/>
                    </a:lnTo>
                    <a:lnTo>
                      <a:pt x="4108" y="4798"/>
                    </a:lnTo>
                    <a:lnTo>
                      <a:pt x="4115" y="4805"/>
                    </a:lnTo>
                    <a:lnTo>
                      <a:pt x="4121" y="4813"/>
                    </a:lnTo>
                    <a:lnTo>
                      <a:pt x="4127" y="4821"/>
                    </a:lnTo>
                    <a:lnTo>
                      <a:pt x="4132" y="4829"/>
                    </a:lnTo>
                    <a:lnTo>
                      <a:pt x="4137" y="4837"/>
                    </a:lnTo>
                    <a:lnTo>
                      <a:pt x="4140" y="4847"/>
                    </a:lnTo>
                    <a:lnTo>
                      <a:pt x="4143" y="4857"/>
                    </a:lnTo>
                    <a:lnTo>
                      <a:pt x="4143" y="4869"/>
                    </a:lnTo>
                    <a:lnTo>
                      <a:pt x="4141" y="4894"/>
                    </a:lnTo>
                    <a:lnTo>
                      <a:pt x="4139" y="4919"/>
                    </a:lnTo>
                    <a:lnTo>
                      <a:pt x="4137" y="4932"/>
                    </a:lnTo>
                    <a:lnTo>
                      <a:pt x="4133" y="4943"/>
                    </a:lnTo>
                    <a:lnTo>
                      <a:pt x="4130" y="4954"/>
                    </a:lnTo>
                    <a:lnTo>
                      <a:pt x="4125" y="4963"/>
                    </a:lnTo>
                    <a:lnTo>
                      <a:pt x="4121" y="4972"/>
                    </a:lnTo>
                    <a:lnTo>
                      <a:pt x="4115" y="4980"/>
                    </a:lnTo>
                    <a:lnTo>
                      <a:pt x="4108" y="4987"/>
                    </a:lnTo>
                    <a:lnTo>
                      <a:pt x="4101" y="4993"/>
                    </a:lnTo>
                    <a:lnTo>
                      <a:pt x="4094" y="4997"/>
                    </a:lnTo>
                    <a:lnTo>
                      <a:pt x="4085" y="5000"/>
                    </a:lnTo>
                    <a:lnTo>
                      <a:pt x="4076" y="5001"/>
                    </a:lnTo>
                    <a:lnTo>
                      <a:pt x="4066" y="5001"/>
                    </a:lnTo>
                    <a:lnTo>
                      <a:pt x="4061" y="5001"/>
                    </a:lnTo>
                    <a:lnTo>
                      <a:pt x="4057" y="5000"/>
                    </a:lnTo>
                    <a:lnTo>
                      <a:pt x="4052" y="4997"/>
                    </a:lnTo>
                    <a:lnTo>
                      <a:pt x="4049" y="4995"/>
                    </a:lnTo>
                    <a:lnTo>
                      <a:pt x="4042" y="4990"/>
                    </a:lnTo>
                    <a:lnTo>
                      <a:pt x="4035" y="4984"/>
                    </a:lnTo>
                    <a:lnTo>
                      <a:pt x="4028" y="4977"/>
                    </a:lnTo>
                    <a:lnTo>
                      <a:pt x="4021" y="4971"/>
                    </a:lnTo>
                    <a:lnTo>
                      <a:pt x="4018" y="4970"/>
                    </a:lnTo>
                    <a:lnTo>
                      <a:pt x="4013" y="4967"/>
                    </a:lnTo>
                    <a:lnTo>
                      <a:pt x="4008" y="4966"/>
                    </a:lnTo>
                    <a:lnTo>
                      <a:pt x="4004" y="4966"/>
                    </a:lnTo>
                    <a:lnTo>
                      <a:pt x="3995" y="4966"/>
                    </a:lnTo>
                    <a:lnTo>
                      <a:pt x="3986" y="4967"/>
                    </a:lnTo>
                    <a:lnTo>
                      <a:pt x="3975" y="4970"/>
                    </a:lnTo>
                    <a:lnTo>
                      <a:pt x="3966" y="4972"/>
                    </a:lnTo>
                    <a:lnTo>
                      <a:pt x="3945" y="4979"/>
                    </a:lnTo>
                    <a:lnTo>
                      <a:pt x="3925" y="4987"/>
                    </a:lnTo>
                    <a:lnTo>
                      <a:pt x="3904" y="4995"/>
                    </a:lnTo>
                    <a:lnTo>
                      <a:pt x="3882" y="5001"/>
                    </a:lnTo>
                    <a:lnTo>
                      <a:pt x="3871" y="5004"/>
                    </a:lnTo>
                    <a:lnTo>
                      <a:pt x="3859" y="5006"/>
                    </a:lnTo>
                    <a:lnTo>
                      <a:pt x="3848" y="5008"/>
                    </a:lnTo>
                    <a:lnTo>
                      <a:pt x="3837" y="5008"/>
                    </a:lnTo>
                    <a:lnTo>
                      <a:pt x="3826" y="5008"/>
                    </a:lnTo>
                    <a:lnTo>
                      <a:pt x="3818" y="5006"/>
                    </a:lnTo>
                    <a:lnTo>
                      <a:pt x="3810" y="5004"/>
                    </a:lnTo>
                    <a:lnTo>
                      <a:pt x="3803" y="5001"/>
                    </a:lnTo>
                    <a:lnTo>
                      <a:pt x="3792" y="4995"/>
                    </a:lnTo>
                    <a:lnTo>
                      <a:pt x="3781" y="4987"/>
                    </a:lnTo>
                    <a:lnTo>
                      <a:pt x="3772" y="4979"/>
                    </a:lnTo>
                    <a:lnTo>
                      <a:pt x="3761" y="4972"/>
                    </a:lnTo>
                    <a:lnTo>
                      <a:pt x="3755" y="4970"/>
                    </a:lnTo>
                    <a:lnTo>
                      <a:pt x="3748" y="4967"/>
                    </a:lnTo>
                    <a:lnTo>
                      <a:pt x="3740" y="4966"/>
                    </a:lnTo>
                    <a:lnTo>
                      <a:pt x="3732" y="4966"/>
                    </a:lnTo>
                    <a:lnTo>
                      <a:pt x="3723" y="4966"/>
                    </a:lnTo>
                    <a:lnTo>
                      <a:pt x="3714" y="4967"/>
                    </a:lnTo>
                    <a:lnTo>
                      <a:pt x="3705" y="4970"/>
                    </a:lnTo>
                    <a:lnTo>
                      <a:pt x="3697" y="4973"/>
                    </a:lnTo>
                    <a:lnTo>
                      <a:pt x="3689" y="4977"/>
                    </a:lnTo>
                    <a:lnTo>
                      <a:pt x="3682" y="4981"/>
                    </a:lnTo>
                    <a:lnTo>
                      <a:pt x="3675" y="4987"/>
                    </a:lnTo>
                    <a:lnTo>
                      <a:pt x="3668" y="4993"/>
                    </a:lnTo>
                    <a:lnTo>
                      <a:pt x="3654" y="5005"/>
                    </a:lnTo>
                    <a:lnTo>
                      <a:pt x="3643" y="5019"/>
                    </a:lnTo>
                    <a:lnTo>
                      <a:pt x="3630" y="5034"/>
                    </a:lnTo>
                    <a:lnTo>
                      <a:pt x="3619" y="5050"/>
                    </a:lnTo>
                    <a:lnTo>
                      <a:pt x="3607" y="5065"/>
                    </a:lnTo>
                    <a:lnTo>
                      <a:pt x="3595" y="5080"/>
                    </a:lnTo>
                    <a:lnTo>
                      <a:pt x="3582" y="5095"/>
                    </a:lnTo>
                    <a:lnTo>
                      <a:pt x="3567" y="5107"/>
                    </a:lnTo>
                    <a:lnTo>
                      <a:pt x="3560" y="5113"/>
                    </a:lnTo>
                    <a:lnTo>
                      <a:pt x="3552" y="5118"/>
                    </a:lnTo>
                    <a:lnTo>
                      <a:pt x="3544" y="5122"/>
                    </a:lnTo>
                    <a:lnTo>
                      <a:pt x="3535" y="5126"/>
                    </a:lnTo>
                    <a:lnTo>
                      <a:pt x="3526" y="5129"/>
                    </a:lnTo>
                    <a:lnTo>
                      <a:pt x="3517" y="5131"/>
                    </a:lnTo>
                    <a:lnTo>
                      <a:pt x="3506" y="5133"/>
                    </a:lnTo>
                    <a:lnTo>
                      <a:pt x="3495" y="5133"/>
                    </a:lnTo>
                    <a:lnTo>
                      <a:pt x="3476" y="5133"/>
                    </a:lnTo>
                    <a:lnTo>
                      <a:pt x="3457" y="5131"/>
                    </a:lnTo>
                    <a:lnTo>
                      <a:pt x="3436" y="5130"/>
                    </a:lnTo>
                    <a:lnTo>
                      <a:pt x="3416" y="5130"/>
                    </a:lnTo>
                    <a:lnTo>
                      <a:pt x="3407" y="5131"/>
                    </a:lnTo>
                    <a:lnTo>
                      <a:pt x="3396" y="5133"/>
                    </a:lnTo>
                    <a:lnTo>
                      <a:pt x="3386" y="5134"/>
                    </a:lnTo>
                    <a:lnTo>
                      <a:pt x="3377" y="5136"/>
                    </a:lnTo>
                    <a:lnTo>
                      <a:pt x="3368" y="5139"/>
                    </a:lnTo>
                    <a:lnTo>
                      <a:pt x="3358" y="5143"/>
                    </a:lnTo>
                    <a:lnTo>
                      <a:pt x="3350" y="5149"/>
                    </a:lnTo>
                    <a:lnTo>
                      <a:pt x="3342" y="5154"/>
                    </a:lnTo>
                    <a:lnTo>
                      <a:pt x="3333" y="5151"/>
                    </a:lnTo>
                    <a:lnTo>
                      <a:pt x="3324" y="5149"/>
                    </a:lnTo>
                    <a:lnTo>
                      <a:pt x="3316" y="5148"/>
                    </a:lnTo>
                    <a:lnTo>
                      <a:pt x="3307" y="5148"/>
                    </a:lnTo>
                    <a:lnTo>
                      <a:pt x="3290" y="5148"/>
                    </a:lnTo>
                    <a:lnTo>
                      <a:pt x="3274" y="5150"/>
                    </a:lnTo>
                    <a:lnTo>
                      <a:pt x="3258" y="5151"/>
                    </a:lnTo>
                    <a:lnTo>
                      <a:pt x="3241" y="5151"/>
                    </a:lnTo>
                    <a:lnTo>
                      <a:pt x="3233" y="5150"/>
                    </a:lnTo>
                    <a:lnTo>
                      <a:pt x="3225" y="5148"/>
                    </a:lnTo>
                    <a:lnTo>
                      <a:pt x="3217" y="5145"/>
                    </a:lnTo>
                    <a:lnTo>
                      <a:pt x="3209" y="5141"/>
                    </a:lnTo>
                    <a:lnTo>
                      <a:pt x="3204" y="5135"/>
                    </a:lnTo>
                    <a:lnTo>
                      <a:pt x="3199" y="5128"/>
                    </a:lnTo>
                    <a:lnTo>
                      <a:pt x="3196" y="5120"/>
                    </a:lnTo>
                    <a:lnTo>
                      <a:pt x="3192" y="5111"/>
                    </a:lnTo>
                    <a:lnTo>
                      <a:pt x="3188" y="5088"/>
                    </a:lnTo>
                    <a:lnTo>
                      <a:pt x="3184" y="5065"/>
                    </a:lnTo>
                    <a:lnTo>
                      <a:pt x="3181" y="5041"/>
                    </a:lnTo>
                    <a:lnTo>
                      <a:pt x="3176" y="5020"/>
                    </a:lnTo>
                    <a:lnTo>
                      <a:pt x="3172" y="5011"/>
                    </a:lnTo>
                    <a:lnTo>
                      <a:pt x="3167" y="5003"/>
                    </a:lnTo>
                    <a:lnTo>
                      <a:pt x="3165" y="5001"/>
                    </a:lnTo>
                    <a:lnTo>
                      <a:pt x="3161" y="4997"/>
                    </a:lnTo>
                    <a:lnTo>
                      <a:pt x="3158" y="4995"/>
                    </a:lnTo>
                    <a:lnTo>
                      <a:pt x="3154" y="4994"/>
                    </a:lnTo>
                    <a:lnTo>
                      <a:pt x="3131" y="4989"/>
                    </a:lnTo>
                    <a:lnTo>
                      <a:pt x="3104" y="4985"/>
                    </a:lnTo>
                    <a:lnTo>
                      <a:pt x="3074" y="4981"/>
                    </a:lnTo>
                    <a:lnTo>
                      <a:pt x="3041" y="4977"/>
                    </a:lnTo>
                    <a:lnTo>
                      <a:pt x="3006" y="4972"/>
                    </a:lnTo>
                    <a:lnTo>
                      <a:pt x="2971" y="4965"/>
                    </a:lnTo>
                    <a:lnTo>
                      <a:pt x="2935" y="4958"/>
                    </a:lnTo>
                    <a:lnTo>
                      <a:pt x="2900" y="4949"/>
                    </a:lnTo>
                    <a:lnTo>
                      <a:pt x="2883" y="4943"/>
                    </a:lnTo>
                    <a:lnTo>
                      <a:pt x="2867" y="4936"/>
                    </a:lnTo>
                    <a:lnTo>
                      <a:pt x="2850" y="4930"/>
                    </a:lnTo>
                    <a:lnTo>
                      <a:pt x="2834" y="4923"/>
                    </a:lnTo>
                    <a:lnTo>
                      <a:pt x="2820" y="4915"/>
                    </a:lnTo>
                    <a:lnTo>
                      <a:pt x="2806" y="4906"/>
                    </a:lnTo>
                    <a:lnTo>
                      <a:pt x="2792" y="4895"/>
                    </a:lnTo>
                    <a:lnTo>
                      <a:pt x="2781" y="4884"/>
                    </a:lnTo>
                    <a:lnTo>
                      <a:pt x="2769" y="4872"/>
                    </a:lnTo>
                    <a:lnTo>
                      <a:pt x="2759" y="4860"/>
                    </a:lnTo>
                    <a:lnTo>
                      <a:pt x="2751" y="4845"/>
                    </a:lnTo>
                    <a:lnTo>
                      <a:pt x="2743" y="4830"/>
                    </a:lnTo>
                    <a:lnTo>
                      <a:pt x="2737" y="4814"/>
                    </a:lnTo>
                    <a:lnTo>
                      <a:pt x="2734" y="4797"/>
                    </a:lnTo>
                    <a:lnTo>
                      <a:pt x="2730" y="4777"/>
                    </a:lnTo>
                    <a:lnTo>
                      <a:pt x="2729" y="4758"/>
                    </a:lnTo>
                    <a:lnTo>
                      <a:pt x="2720" y="4755"/>
                    </a:lnTo>
                    <a:lnTo>
                      <a:pt x="2709" y="4753"/>
                    </a:lnTo>
                    <a:lnTo>
                      <a:pt x="2700" y="4750"/>
                    </a:lnTo>
                    <a:lnTo>
                      <a:pt x="2691" y="4746"/>
                    </a:lnTo>
                    <a:lnTo>
                      <a:pt x="2672" y="4736"/>
                    </a:lnTo>
                    <a:lnTo>
                      <a:pt x="2652" y="4724"/>
                    </a:lnTo>
                    <a:lnTo>
                      <a:pt x="2614" y="4697"/>
                    </a:lnTo>
                    <a:lnTo>
                      <a:pt x="2575" y="4667"/>
                    </a:lnTo>
                    <a:lnTo>
                      <a:pt x="2556" y="4652"/>
                    </a:lnTo>
                    <a:lnTo>
                      <a:pt x="2536" y="4638"/>
                    </a:lnTo>
                    <a:lnTo>
                      <a:pt x="2517" y="4625"/>
                    </a:lnTo>
                    <a:lnTo>
                      <a:pt x="2497" y="4614"/>
                    </a:lnTo>
                    <a:lnTo>
                      <a:pt x="2487" y="4610"/>
                    </a:lnTo>
                    <a:lnTo>
                      <a:pt x="2478" y="4605"/>
                    </a:lnTo>
                    <a:lnTo>
                      <a:pt x="2468" y="4602"/>
                    </a:lnTo>
                    <a:lnTo>
                      <a:pt x="2457" y="4599"/>
                    </a:lnTo>
                    <a:lnTo>
                      <a:pt x="2447" y="4597"/>
                    </a:lnTo>
                    <a:lnTo>
                      <a:pt x="2437" y="4596"/>
                    </a:lnTo>
                    <a:lnTo>
                      <a:pt x="2426" y="4596"/>
                    </a:lnTo>
                    <a:lnTo>
                      <a:pt x="2416" y="4597"/>
                    </a:lnTo>
                    <a:lnTo>
                      <a:pt x="2419" y="4613"/>
                    </a:lnTo>
                    <a:lnTo>
                      <a:pt x="2425" y="4628"/>
                    </a:lnTo>
                    <a:lnTo>
                      <a:pt x="2431" y="4641"/>
                    </a:lnTo>
                    <a:lnTo>
                      <a:pt x="2439" y="4652"/>
                    </a:lnTo>
                    <a:lnTo>
                      <a:pt x="2448" y="4662"/>
                    </a:lnTo>
                    <a:lnTo>
                      <a:pt x="2458" y="4673"/>
                    </a:lnTo>
                    <a:lnTo>
                      <a:pt x="2470" y="4682"/>
                    </a:lnTo>
                    <a:lnTo>
                      <a:pt x="2482" y="4690"/>
                    </a:lnTo>
                    <a:lnTo>
                      <a:pt x="2508" y="4706"/>
                    </a:lnTo>
                    <a:lnTo>
                      <a:pt x="2535" y="4721"/>
                    </a:lnTo>
                    <a:lnTo>
                      <a:pt x="2549" y="4729"/>
                    </a:lnTo>
                    <a:lnTo>
                      <a:pt x="2564" y="4738"/>
                    </a:lnTo>
                    <a:lnTo>
                      <a:pt x="2576" y="4747"/>
                    </a:lnTo>
                    <a:lnTo>
                      <a:pt x="2590" y="4758"/>
                    </a:lnTo>
                    <a:lnTo>
                      <a:pt x="2604" y="4769"/>
                    </a:lnTo>
                    <a:lnTo>
                      <a:pt x="2615" y="4782"/>
                    </a:lnTo>
                    <a:lnTo>
                      <a:pt x="2627" y="4795"/>
                    </a:lnTo>
                    <a:lnTo>
                      <a:pt x="2636" y="4809"/>
                    </a:lnTo>
                    <a:lnTo>
                      <a:pt x="2645" y="4823"/>
                    </a:lnTo>
                    <a:lnTo>
                      <a:pt x="2653" y="4837"/>
                    </a:lnTo>
                    <a:lnTo>
                      <a:pt x="2660" y="4852"/>
                    </a:lnTo>
                    <a:lnTo>
                      <a:pt x="2667" y="4867"/>
                    </a:lnTo>
                    <a:lnTo>
                      <a:pt x="2680" y="4897"/>
                    </a:lnTo>
                    <a:lnTo>
                      <a:pt x="2692" y="4927"/>
                    </a:lnTo>
                    <a:lnTo>
                      <a:pt x="2699" y="4942"/>
                    </a:lnTo>
                    <a:lnTo>
                      <a:pt x="2706" y="4957"/>
                    </a:lnTo>
                    <a:lnTo>
                      <a:pt x="2714" y="4972"/>
                    </a:lnTo>
                    <a:lnTo>
                      <a:pt x="2722" y="4987"/>
                    </a:lnTo>
                    <a:lnTo>
                      <a:pt x="2632" y="4987"/>
                    </a:lnTo>
                    <a:lnTo>
                      <a:pt x="2591" y="4958"/>
                    </a:lnTo>
                    <a:lnTo>
                      <a:pt x="2547" y="4925"/>
                    </a:lnTo>
                    <a:lnTo>
                      <a:pt x="2499" y="4892"/>
                    </a:lnTo>
                    <a:lnTo>
                      <a:pt x="2451" y="4858"/>
                    </a:lnTo>
                    <a:lnTo>
                      <a:pt x="2427" y="4845"/>
                    </a:lnTo>
                    <a:lnTo>
                      <a:pt x="2406" y="4831"/>
                    </a:lnTo>
                    <a:lnTo>
                      <a:pt x="2385" y="4820"/>
                    </a:lnTo>
                    <a:lnTo>
                      <a:pt x="2366" y="4809"/>
                    </a:lnTo>
                    <a:lnTo>
                      <a:pt x="2348" y="4802"/>
                    </a:lnTo>
                    <a:lnTo>
                      <a:pt x="2333" y="4798"/>
                    </a:lnTo>
                    <a:lnTo>
                      <a:pt x="2327" y="4797"/>
                    </a:lnTo>
                    <a:lnTo>
                      <a:pt x="2321" y="4797"/>
                    </a:lnTo>
                    <a:lnTo>
                      <a:pt x="2316" y="4798"/>
                    </a:lnTo>
                    <a:lnTo>
                      <a:pt x="2312" y="4799"/>
                    </a:lnTo>
                    <a:lnTo>
                      <a:pt x="2325" y="4813"/>
                    </a:lnTo>
                    <a:lnTo>
                      <a:pt x="2339" y="4829"/>
                    </a:lnTo>
                    <a:lnTo>
                      <a:pt x="2353" y="4845"/>
                    </a:lnTo>
                    <a:lnTo>
                      <a:pt x="2368" y="4862"/>
                    </a:lnTo>
                    <a:lnTo>
                      <a:pt x="2384" y="4880"/>
                    </a:lnTo>
                    <a:lnTo>
                      <a:pt x="2399" y="4897"/>
                    </a:lnTo>
                    <a:lnTo>
                      <a:pt x="2415" y="4915"/>
                    </a:lnTo>
                    <a:lnTo>
                      <a:pt x="2430" y="4931"/>
                    </a:lnTo>
                    <a:lnTo>
                      <a:pt x="2388" y="4924"/>
                    </a:lnTo>
                    <a:lnTo>
                      <a:pt x="2385" y="4927"/>
                    </a:lnTo>
                    <a:lnTo>
                      <a:pt x="2377" y="4935"/>
                    </a:lnTo>
                    <a:lnTo>
                      <a:pt x="2363" y="4947"/>
                    </a:lnTo>
                    <a:lnTo>
                      <a:pt x="2344" y="4959"/>
                    </a:lnTo>
                    <a:lnTo>
                      <a:pt x="2332" y="4965"/>
                    </a:lnTo>
                    <a:lnTo>
                      <a:pt x="2320" y="4972"/>
                    </a:lnTo>
                    <a:lnTo>
                      <a:pt x="2306" y="4978"/>
                    </a:lnTo>
                    <a:lnTo>
                      <a:pt x="2291" y="4984"/>
                    </a:lnTo>
                    <a:lnTo>
                      <a:pt x="2275" y="4987"/>
                    </a:lnTo>
                    <a:lnTo>
                      <a:pt x="2259" y="4990"/>
                    </a:lnTo>
                    <a:lnTo>
                      <a:pt x="2241" y="4993"/>
                    </a:lnTo>
                    <a:lnTo>
                      <a:pt x="2221" y="4994"/>
                    </a:lnTo>
                    <a:lnTo>
                      <a:pt x="2213" y="4993"/>
                    </a:lnTo>
                    <a:lnTo>
                      <a:pt x="2206" y="4992"/>
                    </a:lnTo>
                    <a:lnTo>
                      <a:pt x="2199" y="4988"/>
                    </a:lnTo>
                    <a:lnTo>
                      <a:pt x="2192" y="4986"/>
                    </a:lnTo>
                    <a:lnTo>
                      <a:pt x="2187" y="4981"/>
                    </a:lnTo>
                    <a:lnTo>
                      <a:pt x="2182" y="4977"/>
                    </a:lnTo>
                    <a:lnTo>
                      <a:pt x="2177" y="4972"/>
                    </a:lnTo>
                    <a:lnTo>
                      <a:pt x="2173" y="4966"/>
                    </a:lnTo>
                    <a:lnTo>
                      <a:pt x="2165" y="4955"/>
                    </a:lnTo>
                    <a:lnTo>
                      <a:pt x="2159" y="4942"/>
                    </a:lnTo>
                    <a:lnTo>
                      <a:pt x="2153" y="4928"/>
                    </a:lnTo>
                    <a:lnTo>
                      <a:pt x="2148" y="4914"/>
                    </a:lnTo>
                    <a:lnTo>
                      <a:pt x="2143" y="4900"/>
                    </a:lnTo>
                    <a:lnTo>
                      <a:pt x="2137" y="4886"/>
                    </a:lnTo>
                    <a:lnTo>
                      <a:pt x="2130" y="4872"/>
                    </a:lnTo>
                    <a:lnTo>
                      <a:pt x="2124" y="4861"/>
                    </a:lnTo>
                    <a:lnTo>
                      <a:pt x="2119" y="4855"/>
                    </a:lnTo>
                    <a:lnTo>
                      <a:pt x="2114" y="4850"/>
                    </a:lnTo>
                    <a:lnTo>
                      <a:pt x="2109" y="4846"/>
                    </a:lnTo>
                    <a:lnTo>
                      <a:pt x="2103" y="4842"/>
                    </a:lnTo>
                    <a:lnTo>
                      <a:pt x="2097" y="4839"/>
                    </a:lnTo>
                    <a:lnTo>
                      <a:pt x="2090" y="4837"/>
                    </a:lnTo>
                    <a:lnTo>
                      <a:pt x="2083" y="4834"/>
                    </a:lnTo>
                    <a:lnTo>
                      <a:pt x="2075" y="4833"/>
                    </a:lnTo>
                    <a:lnTo>
                      <a:pt x="2070" y="4834"/>
                    </a:lnTo>
                    <a:lnTo>
                      <a:pt x="2065" y="4836"/>
                    </a:lnTo>
                    <a:lnTo>
                      <a:pt x="2061" y="4837"/>
                    </a:lnTo>
                    <a:lnTo>
                      <a:pt x="2056" y="4839"/>
                    </a:lnTo>
                    <a:lnTo>
                      <a:pt x="2047" y="4846"/>
                    </a:lnTo>
                    <a:lnTo>
                      <a:pt x="2040" y="4855"/>
                    </a:lnTo>
                    <a:lnTo>
                      <a:pt x="2034" y="4864"/>
                    </a:lnTo>
                    <a:lnTo>
                      <a:pt x="2030" y="4875"/>
                    </a:lnTo>
                    <a:lnTo>
                      <a:pt x="2027" y="4886"/>
                    </a:lnTo>
                    <a:lnTo>
                      <a:pt x="2026" y="4896"/>
                    </a:lnTo>
                    <a:lnTo>
                      <a:pt x="2005" y="4895"/>
                    </a:lnTo>
                    <a:lnTo>
                      <a:pt x="1985" y="4893"/>
                    </a:lnTo>
                    <a:lnTo>
                      <a:pt x="1965" y="4889"/>
                    </a:lnTo>
                    <a:lnTo>
                      <a:pt x="1945" y="4884"/>
                    </a:lnTo>
                    <a:lnTo>
                      <a:pt x="1923" y="4879"/>
                    </a:lnTo>
                    <a:lnTo>
                      <a:pt x="1901" y="4873"/>
                    </a:lnTo>
                    <a:lnTo>
                      <a:pt x="1877" y="4867"/>
                    </a:lnTo>
                    <a:lnTo>
                      <a:pt x="1852" y="4862"/>
                    </a:lnTo>
                    <a:lnTo>
                      <a:pt x="1870" y="4850"/>
                    </a:lnTo>
                    <a:lnTo>
                      <a:pt x="1886" y="4838"/>
                    </a:lnTo>
                    <a:lnTo>
                      <a:pt x="1901" y="4824"/>
                    </a:lnTo>
                    <a:lnTo>
                      <a:pt x="1914" y="4809"/>
                    </a:lnTo>
                    <a:lnTo>
                      <a:pt x="1925" y="4793"/>
                    </a:lnTo>
                    <a:lnTo>
                      <a:pt x="1936" y="4776"/>
                    </a:lnTo>
                    <a:lnTo>
                      <a:pt x="1944" y="4756"/>
                    </a:lnTo>
                    <a:lnTo>
                      <a:pt x="1949" y="4736"/>
                    </a:lnTo>
                    <a:lnTo>
                      <a:pt x="1942" y="4732"/>
                    </a:lnTo>
                    <a:lnTo>
                      <a:pt x="1933" y="4724"/>
                    </a:lnTo>
                    <a:lnTo>
                      <a:pt x="1922" y="4715"/>
                    </a:lnTo>
                    <a:lnTo>
                      <a:pt x="1909" y="4706"/>
                    </a:lnTo>
                    <a:lnTo>
                      <a:pt x="1894" y="4697"/>
                    </a:lnTo>
                    <a:lnTo>
                      <a:pt x="1881" y="4688"/>
                    </a:lnTo>
                    <a:lnTo>
                      <a:pt x="1872" y="4685"/>
                    </a:lnTo>
                    <a:lnTo>
                      <a:pt x="1866" y="4683"/>
                    </a:lnTo>
                    <a:lnTo>
                      <a:pt x="1859" y="4681"/>
                    </a:lnTo>
                    <a:lnTo>
                      <a:pt x="1852" y="4681"/>
                    </a:lnTo>
                    <a:lnTo>
                      <a:pt x="1843" y="4682"/>
                    </a:lnTo>
                    <a:lnTo>
                      <a:pt x="1835" y="4685"/>
                    </a:lnTo>
                    <a:lnTo>
                      <a:pt x="1828" y="4689"/>
                    </a:lnTo>
                    <a:lnTo>
                      <a:pt x="1821" y="4694"/>
                    </a:lnTo>
                    <a:lnTo>
                      <a:pt x="1814" y="4699"/>
                    </a:lnTo>
                    <a:lnTo>
                      <a:pt x="1807" y="4704"/>
                    </a:lnTo>
                    <a:lnTo>
                      <a:pt x="1799" y="4707"/>
                    </a:lnTo>
                    <a:lnTo>
                      <a:pt x="1790" y="4708"/>
                    </a:lnTo>
                    <a:lnTo>
                      <a:pt x="1781" y="4706"/>
                    </a:lnTo>
                    <a:lnTo>
                      <a:pt x="1773" y="4703"/>
                    </a:lnTo>
                    <a:lnTo>
                      <a:pt x="1766" y="4698"/>
                    </a:lnTo>
                    <a:lnTo>
                      <a:pt x="1759" y="4692"/>
                    </a:lnTo>
                    <a:lnTo>
                      <a:pt x="1748" y="4678"/>
                    </a:lnTo>
                    <a:lnTo>
                      <a:pt x="1737" y="4664"/>
                    </a:lnTo>
                    <a:lnTo>
                      <a:pt x="1727" y="4650"/>
                    </a:lnTo>
                    <a:lnTo>
                      <a:pt x="1715" y="4637"/>
                    </a:lnTo>
                    <a:lnTo>
                      <a:pt x="1709" y="4631"/>
                    </a:lnTo>
                    <a:lnTo>
                      <a:pt x="1702" y="4628"/>
                    </a:lnTo>
                    <a:lnTo>
                      <a:pt x="1694" y="4626"/>
                    </a:lnTo>
                    <a:lnTo>
                      <a:pt x="1684" y="4625"/>
                    </a:lnTo>
                    <a:lnTo>
                      <a:pt x="1679" y="4626"/>
                    </a:lnTo>
                    <a:lnTo>
                      <a:pt x="1673" y="4628"/>
                    </a:lnTo>
                    <a:lnTo>
                      <a:pt x="1667" y="4630"/>
                    </a:lnTo>
                    <a:lnTo>
                      <a:pt x="1662" y="4635"/>
                    </a:lnTo>
                    <a:lnTo>
                      <a:pt x="1651" y="4645"/>
                    </a:lnTo>
                    <a:lnTo>
                      <a:pt x="1643" y="4657"/>
                    </a:lnTo>
                    <a:lnTo>
                      <a:pt x="1636" y="4669"/>
                    </a:lnTo>
                    <a:lnTo>
                      <a:pt x="1631" y="4681"/>
                    </a:lnTo>
                    <a:lnTo>
                      <a:pt x="1626" y="4690"/>
                    </a:lnTo>
                    <a:lnTo>
                      <a:pt x="1623" y="4694"/>
                    </a:lnTo>
                    <a:lnTo>
                      <a:pt x="1585" y="4708"/>
                    </a:lnTo>
                    <a:lnTo>
                      <a:pt x="1555" y="4719"/>
                    </a:lnTo>
                    <a:lnTo>
                      <a:pt x="1543" y="4723"/>
                    </a:lnTo>
                    <a:lnTo>
                      <a:pt x="1533" y="4729"/>
                    </a:lnTo>
                    <a:lnTo>
                      <a:pt x="1523" y="4735"/>
                    </a:lnTo>
                    <a:lnTo>
                      <a:pt x="1515" y="4740"/>
                    </a:lnTo>
                    <a:lnTo>
                      <a:pt x="1508" y="4748"/>
                    </a:lnTo>
                    <a:lnTo>
                      <a:pt x="1502" y="4756"/>
                    </a:lnTo>
                    <a:lnTo>
                      <a:pt x="1496" y="4767"/>
                    </a:lnTo>
                    <a:lnTo>
                      <a:pt x="1492" y="4779"/>
                    </a:lnTo>
                    <a:lnTo>
                      <a:pt x="1487" y="4794"/>
                    </a:lnTo>
                    <a:lnTo>
                      <a:pt x="1484" y="4811"/>
                    </a:lnTo>
                    <a:lnTo>
                      <a:pt x="1480" y="4831"/>
                    </a:lnTo>
                    <a:lnTo>
                      <a:pt x="1476" y="4855"/>
                    </a:lnTo>
                    <a:lnTo>
                      <a:pt x="1467" y="4854"/>
                    </a:lnTo>
                    <a:lnTo>
                      <a:pt x="1456" y="4854"/>
                    </a:lnTo>
                    <a:lnTo>
                      <a:pt x="1445" y="4853"/>
                    </a:lnTo>
                    <a:lnTo>
                      <a:pt x="1433" y="4853"/>
                    </a:lnTo>
                    <a:lnTo>
                      <a:pt x="1423" y="4853"/>
                    </a:lnTo>
                    <a:lnTo>
                      <a:pt x="1414" y="4855"/>
                    </a:lnTo>
                    <a:lnTo>
                      <a:pt x="1412" y="4856"/>
                    </a:lnTo>
                    <a:lnTo>
                      <a:pt x="1408" y="4857"/>
                    </a:lnTo>
                    <a:lnTo>
                      <a:pt x="1407" y="4860"/>
                    </a:lnTo>
                    <a:lnTo>
                      <a:pt x="1407" y="4862"/>
                    </a:lnTo>
                    <a:lnTo>
                      <a:pt x="1408" y="4871"/>
                    </a:lnTo>
                    <a:lnTo>
                      <a:pt x="1412" y="4880"/>
                    </a:lnTo>
                    <a:lnTo>
                      <a:pt x="1416" y="4888"/>
                    </a:lnTo>
                    <a:lnTo>
                      <a:pt x="1424" y="4897"/>
                    </a:lnTo>
                    <a:lnTo>
                      <a:pt x="1432" y="4906"/>
                    </a:lnTo>
                    <a:lnTo>
                      <a:pt x="1443" y="4914"/>
                    </a:lnTo>
                    <a:lnTo>
                      <a:pt x="1454" y="4922"/>
                    </a:lnTo>
                    <a:lnTo>
                      <a:pt x="1465" y="4928"/>
                    </a:lnTo>
                    <a:lnTo>
                      <a:pt x="1478" y="4935"/>
                    </a:lnTo>
                    <a:lnTo>
                      <a:pt x="1492" y="4941"/>
                    </a:lnTo>
                    <a:lnTo>
                      <a:pt x="1504" y="4947"/>
                    </a:lnTo>
                    <a:lnTo>
                      <a:pt x="1518" y="4950"/>
                    </a:lnTo>
                    <a:lnTo>
                      <a:pt x="1531" y="4954"/>
                    </a:lnTo>
                    <a:lnTo>
                      <a:pt x="1543" y="4957"/>
                    </a:lnTo>
                    <a:lnTo>
                      <a:pt x="1556" y="4958"/>
                    </a:lnTo>
                    <a:lnTo>
                      <a:pt x="1566" y="4959"/>
                    </a:lnTo>
                    <a:lnTo>
                      <a:pt x="1576" y="4958"/>
                    </a:lnTo>
                    <a:lnTo>
                      <a:pt x="1584" y="4958"/>
                    </a:lnTo>
                    <a:lnTo>
                      <a:pt x="1590" y="4956"/>
                    </a:lnTo>
                    <a:lnTo>
                      <a:pt x="1597" y="4955"/>
                    </a:lnTo>
                    <a:lnTo>
                      <a:pt x="1609" y="4950"/>
                    </a:lnTo>
                    <a:lnTo>
                      <a:pt x="1620" y="4946"/>
                    </a:lnTo>
                    <a:lnTo>
                      <a:pt x="1632" y="4940"/>
                    </a:lnTo>
                    <a:lnTo>
                      <a:pt x="1644" y="4935"/>
                    </a:lnTo>
                    <a:lnTo>
                      <a:pt x="1651" y="4934"/>
                    </a:lnTo>
                    <a:lnTo>
                      <a:pt x="1659" y="4932"/>
                    </a:lnTo>
                    <a:lnTo>
                      <a:pt x="1668" y="4932"/>
                    </a:lnTo>
                    <a:lnTo>
                      <a:pt x="1678" y="4931"/>
                    </a:lnTo>
                    <a:lnTo>
                      <a:pt x="1696" y="4932"/>
                    </a:lnTo>
                    <a:lnTo>
                      <a:pt x="1713" y="4933"/>
                    </a:lnTo>
                    <a:lnTo>
                      <a:pt x="1721" y="4934"/>
                    </a:lnTo>
                    <a:lnTo>
                      <a:pt x="1728" y="4936"/>
                    </a:lnTo>
                    <a:lnTo>
                      <a:pt x="1735" y="4938"/>
                    </a:lnTo>
                    <a:lnTo>
                      <a:pt x="1742" y="4941"/>
                    </a:lnTo>
                    <a:lnTo>
                      <a:pt x="1748" y="4945"/>
                    </a:lnTo>
                    <a:lnTo>
                      <a:pt x="1753" y="4948"/>
                    </a:lnTo>
                    <a:lnTo>
                      <a:pt x="1758" y="4953"/>
                    </a:lnTo>
                    <a:lnTo>
                      <a:pt x="1761" y="4957"/>
                    </a:lnTo>
                    <a:lnTo>
                      <a:pt x="1765" y="4964"/>
                    </a:lnTo>
                    <a:lnTo>
                      <a:pt x="1767" y="4971"/>
                    </a:lnTo>
                    <a:lnTo>
                      <a:pt x="1768" y="4978"/>
                    </a:lnTo>
                    <a:lnTo>
                      <a:pt x="1768" y="4987"/>
                    </a:lnTo>
                    <a:lnTo>
                      <a:pt x="1768" y="4997"/>
                    </a:lnTo>
                    <a:lnTo>
                      <a:pt x="1767" y="5006"/>
                    </a:lnTo>
                    <a:lnTo>
                      <a:pt x="1765" y="5014"/>
                    </a:lnTo>
                    <a:lnTo>
                      <a:pt x="1761" y="5024"/>
                    </a:lnTo>
                    <a:lnTo>
                      <a:pt x="1754" y="5039"/>
                    </a:lnTo>
                    <a:lnTo>
                      <a:pt x="1746" y="5052"/>
                    </a:lnTo>
                    <a:lnTo>
                      <a:pt x="1736" y="5066"/>
                    </a:lnTo>
                    <a:lnTo>
                      <a:pt x="1727" y="5080"/>
                    </a:lnTo>
                    <a:lnTo>
                      <a:pt x="1723" y="5088"/>
                    </a:lnTo>
                    <a:lnTo>
                      <a:pt x="1719" y="5095"/>
                    </a:lnTo>
                    <a:lnTo>
                      <a:pt x="1715" y="5104"/>
                    </a:lnTo>
                    <a:lnTo>
                      <a:pt x="1713" y="5112"/>
                    </a:lnTo>
                    <a:lnTo>
                      <a:pt x="1671" y="5112"/>
                    </a:lnTo>
                    <a:lnTo>
                      <a:pt x="1664" y="5104"/>
                    </a:lnTo>
                    <a:lnTo>
                      <a:pt x="1656" y="5096"/>
                    </a:lnTo>
                    <a:lnTo>
                      <a:pt x="1648" y="5088"/>
                    </a:lnTo>
                    <a:lnTo>
                      <a:pt x="1642" y="5079"/>
                    </a:lnTo>
                    <a:lnTo>
                      <a:pt x="1635" y="5070"/>
                    </a:lnTo>
                    <a:lnTo>
                      <a:pt x="1629" y="5059"/>
                    </a:lnTo>
                    <a:lnTo>
                      <a:pt x="1626" y="5048"/>
                    </a:lnTo>
                    <a:lnTo>
                      <a:pt x="1623" y="5035"/>
                    </a:lnTo>
                    <a:lnTo>
                      <a:pt x="1603" y="5042"/>
                    </a:lnTo>
                    <a:lnTo>
                      <a:pt x="1585" y="5049"/>
                    </a:lnTo>
                    <a:lnTo>
                      <a:pt x="1568" y="5058"/>
                    </a:lnTo>
                    <a:lnTo>
                      <a:pt x="1550" y="5068"/>
                    </a:lnTo>
                    <a:lnTo>
                      <a:pt x="1516" y="5090"/>
                    </a:lnTo>
                    <a:lnTo>
                      <a:pt x="1482" y="5112"/>
                    </a:lnTo>
                    <a:lnTo>
                      <a:pt x="1463" y="5123"/>
                    </a:lnTo>
                    <a:lnTo>
                      <a:pt x="1445" y="5134"/>
                    </a:lnTo>
                    <a:lnTo>
                      <a:pt x="1425" y="5143"/>
                    </a:lnTo>
                    <a:lnTo>
                      <a:pt x="1405" y="5151"/>
                    </a:lnTo>
                    <a:lnTo>
                      <a:pt x="1383" y="5158"/>
                    </a:lnTo>
                    <a:lnTo>
                      <a:pt x="1360" y="5164"/>
                    </a:lnTo>
                    <a:lnTo>
                      <a:pt x="1349" y="5166"/>
                    </a:lnTo>
                    <a:lnTo>
                      <a:pt x="1336" y="5167"/>
                    </a:lnTo>
                    <a:lnTo>
                      <a:pt x="1322" y="5168"/>
                    </a:lnTo>
                    <a:lnTo>
                      <a:pt x="1310" y="5168"/>
                    </a:lnTo>
                    <a:lnTo>
                      <a:pt x="1300" y="5166"/>
                    </a:lnTo>
                    <a:lnTo>
                      <a:pt x="1291" y="5164"/>
                    </a:lnTo>
                    <a:lnTo>
                      <a:pt x="1283" y="5160"/>
                    </a:lnTo>
                    <a:lnTo>
                      <a:pt x="1275" y="5157"/>
                    </a:lnTo>
                    <a:lnTo>
                      <a:pt x="1268" y="5152"/>
                    </a:lnTo>
                    <a:lnTo>
                      <a:pt x="1261" y="5148"/>
                    </a:lnTo>
                    <a:lnTo>
                      <a:pt x="1255" y="5142"/>
                    </a:lnTo>
                    <a:lnTo>
                      <a:pt x="1249" y="5136"/>
                    </a:lnTo>
                    <a:lnTo>
                      <a:pt x="1244" y="5129"/>
                    </a:lnTo>
                    <a:lnTo>
                      <a:pt x="1240" y="5122"/>
                    </a:lnTo>
                    <a:lnTo>
                      <a:pt x="1235" y="5115"/>
                    </a:lnTo>
                    <a:lnTo>
                      <a:pt x="1232" y="5109"/>
                    </a:lnTo>
                    <a:lnTo>
                      <a:pt x="1229" y="5100"/>
                    </a:lnTo>
                    <a:lnTo>
                      <a:pt x="1227" y="5094"/>
                    </a:lnTo>
                    <a:lnTo>
                      <a:pt x="1226" y="5086"/>
                    </a:lnTo>
                    <a:lnTo>
                      <a:pt x="1226" y="5078"/>
                    </a:lnTo>
                    <a:lnTo>
                      <a:pt x="1209" y="5076"/>
                    </a:lnTo>
                    <a:lnTo>
                      <a:pt x="1193" y="5073"/>
                    </a:lnTo>
                    <a:lnTo>
                      <a:pt x="1178" y="5068"/>
                    </a:lnTo>
                    <a:lnTo>
                      <a:pt x="1163" y="5064"/>
                    </a:lnTo>
                    <a:lnTo>
                      <a:pt x="1148" y="5058"/>
                    </a:lnTo>
                    <a:lnTo>
                      <a:pt x="1133" y="5053"/>
                    </a:lnTo>
                    <a:lnTo>
                      <a:pt x="1118" y="5051"/>
                    </a:lnTo>
                    <a:lnTo>
                      <a:pt x="1100" y="5050"/>
                    </a:lnTo>
                    <a:lnTo>
                      <a:pt x="1092" y="5049"/>
                    </a:lnTo>
                    <a:lnTo>
                      <a:pt x="1083" y="5050"/>
                    </a:lnTo>
                    <a:lnTo>
                      <a:pt x="1075" y="5051"/>
                    </a:lnTo>
                    <a:lnTo>
                      <a:pt x="1066" y="5052"/>
                    </a:lnTo>
                    <a:lnTo>
                      <a:pt x="1053" y="5057"/>
                    </a:lnTo>
                    <a:lnTo>
                      <a:pt x="1039" y="5065"/>
                    </a:lnTo>
                    <a:lnTo>
                      <a:pt x="1026" y="5073"/>
                    </a:lnTo>
                    <a:lnTo>
                      <a:pt x="1015" y="5083"/>
                    </a:lnTo>
                    <a:lnTo>
                      <a:pt x="1005" y="5094"/>
                    </a:lnTo>
                    <a:lnTo>
                      <a:pt x="994" y="5105"/>
                    </a:lnTo>
                    <a:lnTo>
                      <a:pt x="974" y="5129"/>
                    </a:lnTo>
                    <a:lnTo>
                      <a:pt x="952" y="5151"/>
                    </a:lnTo>
                    <a:lnTo>
                      <a:pt x="939" y="5161"/>
                    </a:lnTo>
                    <a:lnTo>
                      <a:pt x="927" y="5170"/>
                    </a:lnTo>
                    <a:lnTo>
                      <a:pt x="920" y="5174"/>
                    </a:lnTo>
                    <a:lnTo>
                      <a:pt x="913" y="5177"/>
                    </a:lnTo>
                    <a:lnTo>
                      <a:pt x="906" y="5180"/>
                    </a:lnTo>
                    <a:lnTo>
                      <a:pt x="898" y="5182"/>
                    </a:lnTo>
                    <a:lnTo>
                      <a:pt x="869" y="5189"/>
                    </a:lnTo>
                    <a:lnTo>
                      <a:pt x="837" y="5195"/>
                    </a:lnTo>
                    <a:lnTo>
                      <a:pt x="804" y="5200"/>
                    </a:lnTo>
                    <a:lnTo>
                      <a:pt x="770" y="5204"/>
                    </a:lnTo>
                    <a:lnTo>
                      <a:pt x="736" y="5206"/>
                    </a:lnTo>
                    <a:lnTo>
                      <a:pt x="706" y="5208"/>
                    </a:lnTo>
                    <a:lnTo>
                      <a:pt x="681" y="5209"/>
                    </a:lnTo>
                    <a:lnTo>
                      <a:pt x="662" y="5209"/>
                    </a:lnTo>
                    <a:lnTo>
                      <a:pt x="654" y="5209"/>
                    </a:lnTo>
                    <a:lnTo>
                      <a:pt x="647" y="5208"/>
                    </a:lnTo>
                    <a:lnTo>
                      <a:pt x="640" y="5207"/>
                    </a:lnTo>
                    <a:lnTo>
                      <a:pt x="633" y="5205"/>
                    </a:lnTo>
                    <a:lnTo>
                      <a:pt x="622" y="5199"/>
                    </a:lnTo>
                    <a:lnTo>
                      <a:pt x="611" y="5192"/>
                    </a:lnTo>
                    <a:lnTo>
                      <a:pt x="601" y="5184"/>
                    </a:lnTo>
                    <a:lnTo>
                      <a:pt x="592" y="5174"/>
                    </a:lnTo>
                    <a:lnTo>
                      <a:pt x="583" y="5164"/>
                    </a:lnTo>
                    <a:lnTo>
                      <a:pt x="573" y="5153"/>
                    </a:lnTo>
                    <a:lnTo>
                      <a:pt x="564" y="5143"/>
                    </a:lnTo>
                    <a:lnTo>
                      <a:pt x="554" y="5131"/>
                    </a:lnTo>
                    <a:lnTo>
                      <a:pt x="543" y="5122"/>
                    </a:lnTo>
                    <a:lnTo>
                      <a:pt x="529" y="5113"/>
                    </a:lnTo>
                    <a:lnTo>
                      <a:pt x="515" y="5105"/>
                    </a:lnTo>
                    <a:lnTo>
                      <a:pt x="499" y="5098"/>
                    </a:lnTo>
                    <a:lnTo>
                      <a:pt x="490" y="5096"/>
                    </a:lnTo>
                    <a:lnTo>
                      <a:pt x="481" y="5094"/>
                    </a:lnTo>
                    <a:lnTo>
                      <a:pt x="470" y="5092"/>
                    </a:lnTo>
                    <a:lnTo>
                      <a:pt x="460" y="5091"/>
                    </a:lnTo>
                    <a:lnTo>
                      <a:pt x="447" y="5092"/>
                    </a:lnTo>
                    <a:lnTo>
                      <a:pt x="437" y="5096"/>
                    </a:lnTo>
                    <a:lnTo>
                      <a:pt x="427" y="5100"/>
                    </a:lnTo>
                    <a:lnTo>
                      <a:pt x="419" y="5106"/>
                    </a:lnTo>
                    <a:lnTo>
                      <a:pt x="404" y="5122"/>
                    </a:lnTo>
                    <a:lnTo>
                      <a:pt x="388" y="5139"/>
                    </a:lnTo>
                    <a:lnTo>
                      <a:pt x="380" y="5148"/>
                    </a:lnTo>
                    <a:lnTo>
                      <a:pt x="372" y="5157"/>
                    </a:lnTo>
                    <a:lnTo>
                      <a:pt x="361" y="5164"/>
                    </a:lnTo>
                    <a:lnTo>
                      <a:pt x="350" y="5170"/>
                    </a:lnTo>
                    <a:lnTo>
                      <a:pt x="337" y="5176"/>
                    </a:lnTo>
                    <a:lnTo>
                      <a:pt x="322" y="5180"/>
                    </a:lnTo>
                    <a:lnTo>
                      <a:pt x="314" y="5181"/>
                    </a:lnTo>
                    <a:lnTo>
                      <a:pt x="305" y="5182"/>
                    </a:lnTo>
                    <a:lnTo>
                      <a:pt x="296" y="5182"/>
                    </a:lnTo>
                    <a:lnTo>
                      <a:pt x="286" y="5182"/>
                    </a:lnTo>
                    <a:lnTo>
                      <a:pt x="270" y="5182"/>
                    </a:lnTo>
                    <a:lnTo>
                      <a:pt x="252" y="5181"/>
                    </a:lnTo>
                    <a:lnTo>
                      <a:pt x="235" y="5180"/>
                    </a:lnTo>
                    <a:lnTo>
                      <a:pt x="219" y="5176"/>
                    </a:lnTo>
                    <a:lnTo>
                      <a:pt x="211" y="5173"/>
                    </a:lnTo>
                    <a:lnTo>
                      <a:pt x="204" y="5170"/>
                    </a:lnTo>
                    <a:lnTo>
                      <a:pt x="197" y="5166"/>
                    </a:lnTo>
                    <a:lnTo>
                      <a:pt x="192" y="5161"/>
                    </a:lnTo>
                    <a:lnTo>
                      <a:pt x="186" y="5156"/>
                    </a:lnTo>
                    <a:lnTo>
                      <a:pt x="181" y="5150"/>
                    </a:lnTo>
                    <a:lnTo>
                      <a:pt x="177" y="5142"/>
                    </a:lnTo>
                    <a:lnTo>
                      <a:pt x="174" y="5133"/>
                    </a:lnTo>
                    <a:lnTo>
                      <a:pt x="187" y="5133"/>
                    </a:lnTo>
                    <a:lnTo>
                      <a:pt x="200" y="5130"/>
                    </a:lnTo>
                    <a:lnTo>
                      <a:pt x="211" y="5127"/>
                    </a:lnTo>
                    <a:lnTo>
                      <a:pt x="221" y="5122"/>
                    </a:lnTo>
                    <a:lnTo>
                      <a:pt x="226" y="5120"/>
                    </a:lnTo>
                    <a:lnTo>
                      <a:pt x="231" y="5117"/>
                    </a:lnTo>
                    <a:lnTo>
                      <a:pt x="234" y="5113"/>
                    </a:lnTo>
                    <a:lnTo>
                      <a:pt x="238" y="5110"/>
                    </a:lnTo>
                    <a:lnTo>
                      <a:pt x="240" y="5105"/>
                    </a:lnTo>
                    <a:lnTo>
                      <a:pt x="242" y="5102"/>
                    </a:lnTo>
                    <a:lnTo>
                      <a:pt x="243" y="5096"/>
                    </a:lnTo>
                    <a:lnTo>
                      <a:pt x="243" y="5091"/>
                    </a:lnTo>
                    <a:lnTo>
                      <a:pt x="243" y="5088"/>
                    </a:lnTo>
                    <a:lnTo>
                      <a:pt x="243" y="5083"/>
                    </a:lnTo>
                    <a:lnTo>
                      <a:pt x="243" y="5079"/>
                    </a:lnTo>
                    <a:lnTo>
                      <a:pt x="243" y="5072"/>
                    </a:lnTo>
                    <a:lnTo>
                      <a:pt x="243" y="5065"/>
                    </a:lnTo>
                    <a:lnTo>
                      <a:pt x="243" y="5058"/>
                    </a:lnTo>
                    <a:lnTo>
                      <a:pt x="243" y="5050"/>
                    </a:lnTo>
                    <a:lnTo>
                      <a:pt x="243" y="5043"/>
                    </a:lnTo>
                    <a:lnTo>
                      <a:pt x="228" y="5043"/>
                    </a:lnTo>
                    <a:lnTo>
                      <a:pt x="213" y="5045"/>
                    </a:lnTo>
                    <a:lnTo>
                      <a:pt x="199" y="5048"/>
                    </a:lnTo>
                    <a:lnTo>
                      <a:pt x="184" y="5051"/>
                    </a:lnTo>
                    <a:lnTo>
                      <a:pt x="169" y="5056"/>
                    </a:lnTo>
                    <a:lnTo>
                      <a:pt x="153" y="5060"/>
                    </a:lnTo>
                    <a:lnTo>
                      <a:pt x="136" y="5065"/>
                    </a:lnTo>
                    <a:lnTo>
                      <a:pt x="118" y="5071"/>
                    </a:lnTo>
                    <a:lnTo>
                      <a:pt x="113" y="5051"/>
                    </a:lnTo>
                    <a:lnTo>
                      <a:pt x="106" y="5034"/>
                    </a:lnTo>
                    <a:lnTo>
                      <a:pt x="98" y="5019"/>
                    </a:lnTo>
                    <a:lnTo>
                      <a:pt x="88" y="5005"/>
                    </a:lnTo>
                    <a:lnTo>
                      <a:pt x="69" y="4982"/>
                    </a:lnTo>
                    <a:lnTo>
                      <a:pt x="48" y="4963"/>
                    </a:lnTo>
                    <a:lnTo>
                      <a:pt x="39" y="4953"/>
                    </a:lnTo>
                    <a:lnTo>
                      <a:pt x="30" y="4942"/>
                    </a:lnTo>
                    <a:lnTo>
                      <a:pt x="22" y="4932"/>
                    </a:lnTo>
                    <a:lnTo>
                      <a:pt x="15" y="4919"/>
                    </a:lnTo>
                    <a:lnTo>
                      <a:pt x="8" y="4907"/>
                    </a:lnTo>
                    <a:lnTo>
                      <a:pt x="4" y="4892"/>
                    </a:lnTo>
                    <a:lnTo>
                      <a:pt x="1" y="4875"/>
                    </a:lnTo>
                    <a:lnTo>
                      <a:pt x="0" y="4855"/>
                    </a:lnTo>
                    <a:lnTo>
                      <a:pt x="0" y="4846"/>
                    </a:lnTo>
                    <a:lnTo>
                      <a:pt x="3" y="4837"/>
                    </a:lnTo>
                    <a:lnTo>
                      <a:pt x="5" y="4828"/>
                    </a:lnTo>
                    <a:lnTo>
                      <a:pt x="7" y="4820"/>
                    </a:lnTo>
                    <a:lnTo>
                      <a:pt x="15" y="4802"/>
                    </a:lnTo>
                    <a:lnTo>
                      <a:pt x="24" y="4785"/>
                    </a:lnTo>
                    <a:lnTo>
                      <a:pt x="33" y="4768"/>
                    </a:lnTo>
                    <a:lnTo>
                      <a:pt x="41" y="4751"/>
                    </a:lnTo>
                    <a:lnTo>
                      <a:pt x="44" y="4742"/>
                    </a:lnTo>
                    <a:lnTo>
                      <a:pt x="47" y="4733"/>
                    </a:lnTo>
                    <a:lnTo>
                      <a:pt x="48" y="4724"/>
                    </a:lnTo>
                    <a:lnTo>
                      <a:pt x="48" y="4715"/>
                    </a:lnTo>
                    <a:lnTo>
                      <a:pt x="48" y="4708"/>
                    </a:lnTo>
                    <a:lnTo>
                      <a:pt x="47" y="4701"/>
                    </a:lnTo>
                    <a:lnTo>
                      <a:pt x="46" y="4694"/>
                    </a:lnTo>
                    <a:lnTo>
                      <a:pt x="44" y="4689"/>
                    </a:lnTo>
                    <a:lnTo>
                      <a:pt x="38" y="4677"/>
                    </a:lnTo>
                    <a:lnTo>
                      <a:pt x="31" y="4667"/>
                    </a:lnTo>
                    <a:lnTo>
                      <a:pt x="25" y="4656"/>
                    </a:lnTo>
                    <a:lnTo>
                      <a:pt x="20" y="4645"/>
                    </a:lnTo>
                    <a:lnTo>
                      <a:pt x="17" y="4638"/>
                    </a:lnTo>
                    <a:lnTo>
                      <a:pt x="15" y="4633"/>
                    </a:lnTo>
                    <a:lnTo>
                      <a:pt x="14" y="4626"/>
                    </a:lnTo>
                    <a:lnTo>
                      <a:pt x="14" y="4618"/>
                    </a:lnTo>
                    <a:lnTo>
                      <a:pt x="15" y="4600"/>
                    </a:lnTo>
                    <a:lnTo>
                      <a:pt x="17" y="4583"/>
                    </a:lnTo>
                    <a:lnTo>
                      <a:pt x="20" y="4576"/>
                    </a:lnTo>
                    <a:lnTo>
                      <a:pt x="23" y="4568"/>
                    </a:lnTo>
                    <a:lnTo>
                      <a:pt x="27" y="4561"/>
                    </a:lnTo>
                    <a:lnTo>
                      <a:pt x="30" y="4555"/>
                    </a:lnTo>
                    <a:lnTo>
                      <a:pt x="35" y="4549"/>
                    </a:lnTo>
                    <a:lnTo>
                      <a:pt x="40" y="4543"/>
                    </a:lnTo>
                    <a:lnTo>
                      <a:pt x="46" y="4537"/>
                    </a:lnTo>
                    <a:lnTo>
                      <a:pt x="52" y="4532"/>
                    </a:lnTo>
                    <a:lnTo>
                      <a:pt x="59" y="4527"/>
                    </a:lnTo>
                    <a:lnTo>
                      <a:pt x="67" y="4521"/>
                    </a:lnTo>
                    <a:lnTo>
                      <a:pt x="75" y="4518"/>
                    </a:lnTo>
                    <a:lnTo>
                      <a:pt x="84" y="4513"/>
                    </a:lnTo>
                    <a:lnTo>
                      <a:pt x="78" y="4500"/>
                    </a:lnTo>
                    <a:lnTo>
                      <a:pt x="74" y="4489"/>
                    </a:lnTo>
                    <a:lnTo>
                      <a:pt x="69" y="4481"/>
                    </a:lnTo>
                    <a:lnTo>
                      <a:pt x="64" y="4474"/>
                    </a:lnTo>
                    <a:lnTo>
                      <a:pt x="61" y="4466"/>
                    </a:lnTo>
                    <a:lnTo>
                      <a:pt x="58" y="4457"/>
                    </a:lnTo>
                    <a:lnTo>
                      <a:pt x="56" y="4446"/>
                    </a:lnTo>
                    <a:lnTo>
                      <a:pt x="55" y="4430"/>
                    </a:lnTo>
                    <a:lnTo>
                      <a:pt x="56" y="4422"/>
                    </a:lnTo>
                    <a:lnTo>
                      <a:pt x="59" y="4414"/>
                    </a:lnTo>
                    <a:lnTo>
                      <a:pt x="61" y="4405"/>
                    </a:lnTo>
                    <a:lnTo>
                      <a:pt x="66" y="4399"/>
                    </a:lnTo>
                    <a:lnTo>
                      <a:pt x="75" y="4387"/>
                    </a:lnTo>
                    <a:lnTo>
                      <a:pt x="86" y="4376"/>
                    </a:lnTo>
                    <a:lnTo>
                      <a:pt x="97" y="4365"/>
                    </a:lnTo>
                    <a:lnTo>
                      <a:pt x="106" y="4355"/>
                    </a:lnTo>
                    <a:lnTo>
                      <a:pt x="109" y="4350"/>
                    </a:lnTo>
                    <a:lnTo>
                      <a:pt x="111" y="4345"/>
                    </a:lnTo>
                    <a:lnTo>
                      <a:pt x="111" y="4339"/>
                    </a:lnTo>
                    <a:lnTo>
                      <a:pt x="111" y="4332"/>
                    </a:lnTo>
                    <a:lnTo>
                      <a:pt x="111" y="4330"/>
                    </a:lnTo>
                    <a:lnTo>
                      <a:pt x="113" y="4326"/>
                    </a:lnTo>
                    <a:lnTo>
                      <a:pt x="114" y="4323"/>
                    </a:lnTo>
                    <a:lnTo>
                      <a:pt x="114" y="4319"/>
                    </a:lnTo>
                    <a:lnTo>
                      <a:pt x="115" y="4314"/>
                    </a:lnTo>
                    <a:lnTo>
                      <a:pt x="115" y="4308"/>
                    </a:lnTo>
                    <a:lnTo>
                      <a:pt x="114" y="4300"/>
                    </a:lnTo>
                    <a:lnTo>
                      <a:pt x="111" y="4291"/>
                    </a:lnTo>
                    <a:lnTo>
                      <a:pt x="122" y="4286"/>
                    </a:lnTo>
                    <a:lnTo>
                      <a:pt x="132" y="4282"/>
                    </a:lnTo>
                    <a:lnTo>
                      <a:pt x="142" y="4276"/>
                    </a:lnTo>
                    <a:lnTo>
                      <a:pt x="153" y="4270"/>
                    </a:lnTo>
                    <a:lnTo>
                      <a:pt x="162" y="4264"/>
                    </a:lnTo>
                    <a:lnTo>
                      <a:pt x="171" y="4256"/>
                    </a:lnTo>
                    <a:lnTo>
                      <a:pt x="180" y="4248"/>
                    </a:lnTo>
                    <a:lnTo>
                      <a:pt x="188" y="4240"/>
                    </a:lnTo>
                    <a:lnTo>
                      <a:pt x="195" y="4230"/>
                    </a:lnTo>
                    <a:lnTo>
                      <a:pt x="202" y="4220"/>
                    </a:lnTo>
                    <a:lnTo>
                      <a:pt x="208" y="4208"/>
                    </a:lnTo>
                    <a:lnTo>
                      <a:pt x="213" y="4197"/>
                    </a:lnTo>
                    <a:lnTo>
                      <a:pt x="217" y="4183"/>
                    </a:lnTo>
                    <a:lnTo>
                      <a:pt x="220" y="4169"/>
                    </a:lnTo>
                    <a:lnTo>
                      <a:pt x="223" y="4153"/>
                    </a:lnTo>
                    <a:lnTo>
                      <a:pt x="223" y="4137"/>
                    </a:lnTo>
                    <a:lnTo>
                      <a:pt x="221" y="4124"/>
                    </a:lnTo>
                    <a:lnTo>
                      <a:pt x="219" y="4113"/>
                    </a:lnTo>
                    <a:lnTo>
                      <a:pt x="215" y="4103"/>
                    </a:lnTo>
                    <a:lnTo>
                      <a:pt x="209" y="4094"/>
                    </a:lnTo>
                    <a:lnTo>
                      <a:pt x="194" y="4074"/>
                    </a:lnTo>
                    <a:lnTo>
                      <a:pt x="178" y="4056"/>
                    </a:lnTo>
                    <a:lnTo>
                      <a:pt x="169" y="4045"/>
                    </a:lnTo>
                    <a:lnTo>
                      <a:pt x="161" y="4035"/>
                    </a:lnTo>
                    <a:lnTo>
                      <a:pt x="154" y="4022"/>
                    </a:lnTo>
                    <a:lnTo>
                      <a:pt x="147" y="4010"/>
                    </a:lnTo>
                    <a:lnTo>
                      <a:pt x="140" y="3996"/>
                    </a:lnTo>
                    <a:lnTo>
                      <a:pt x="137" y="3980"/>
                    </a:lnTo>
                    <a:lnTo>
                      <a:pt x="133" y="3962"/>
                    </a:lnTo>
                    <a:lnTo>
                      <a:pt x="132" y="3942"/>
                    </a:lnTo>
                    <a:lnTo>
                      <a:pt x="133" y="3920"/>
                    </a:lnTo>
                    <a:lnTo>
                      <a:pt x="134" y="3900"/>
                    </a:lnTo>
                    <a:lnTo>
                      <a:pt x="138" y="3880"/>
                    </a:lnTo>
                    <a:lnTo>
                      <a:pt x="141" y="3861"/>
                    </a:lnTo>
                    <a:lnTo>
                      <a:pt x="147" y="3844"/>
                    </a:lnTo>
                    <a:lnTo>
                      <a:pt x="153" y="3825"/>
                    </a:lnTo>
                    <a:lnTo>
                      <a:pt x="158" y="3809"/>
                    </a:lnTo>
                    <a:lnTo>
                      <a:pt x="166" y="3793"/>
                    </a:lnTo>
                    <a:lnTo>
                      <a:pt x="174" y="3778"/>
                    </a:lnTo>
                    <a:lnTo>
                      <a:pt x="183" y="3763"/>
                    </a:lnTo>
                    <a:lnTo>
                      <a:pt x="192" y="3749"/>
                    </a:lnTo>
                    <a:lnTo>
                      <a:pt x="201" y="3736"/>
                    </a:lnTo>
                    <a:lnTo>
                      <a:pt x="220" y="3709"/>
                    </a:lnTo>
                    <a:lnTo>
                      <a:pt x="240" y="3684"/>
                    </a:lnTo>
                    <a:lnTo>
                      <a:pt x="260" y="3661"/>
                    </a:lnTo>
                    <a:lnTo>
                      <a:pt x="280" y="3637"/>
                    </a:lnTo>
                    <a:lnTo>
                      <a:pt x="298" y="3614"/>
                    </a:lnTo>
                    <a:lnTo>
                      <a:pt x="314" y="3591"/>
                    </a:lnTo>
                    <a:lnTo>
                      <a:pt x="321" y="3580"/>
                    </a:lnTo>
                    <a:lnTo>
                      <a:pt x="328" y="3568"/>
                    </a:lnTo>
                    <a:lnTo>
                      <a:pt x="334" y="3556"/>
                    </a:lnTo>
                    <a:lnTo>
                      <a:pt x="338" y="3543"/>
                    </a:lnTo>
                    <a:lnTo>
                      <a:pt x="343" y="3530"/>
                    </a:lnTo>
                    <a:lnTo>
                      <a:pt x="345" y="3517"/>
                    </a:lnTo>
                    <a:lnTo>
                      <a:pt x="348" y="3504"/>
                    </a:lnTo>
                    <a:lnTo>
                      <a:pt x="348" y="3489"/>
                    </a:lnTo>
                    <a:lnTo>
                      <a:pt x="348" y="3487"/>
                    </a:lnTo>
                    <a:lnTo>
                      <a:pt x="348" y="3482"/>
                    </a:lnTo>
                    <a:lnTo>
                      <a:pt x="348" y="3478"/>
                    </a:lnTo>
                    <a:lnTo>
                      <a:pt x="348" y="3471"/>
                    </a:lnTo>
                    <a:lnTo>
                      <a:pt x="348" y="3463"/>
                    </a:lnTo>
                    <a:lnTo>
                      <a:pt x="348" y="3454"/>
                    </a:lnTo>
                    <a:lnTo>
                      <a:pt x="348" y="3441"/>
                    </a:lnTo>
                    <a:lnTo>
                      <a:pt x="348" y="3427"/>
                    </a:lnTo>
                    <a:lnTo>
                      <a:pt x="349" y="3417"/>
                    </a:lnTo>
                    <a:lnTo>
                      <a:pt x="351" y="3409"/>
                    </a:lnTo>
                    <a:lnTo>
                      <a:pt x="354" y="3401"/>
                    </a:lnTo>
                    <a:lnTo>
                      <a:pt x="359" y="3394"/>
                    </a:lnTo>
                    <a:lnTo>
                      <a:pt x="365" y="3388"/>
                    </a:lnTo>
                    <a:lnTo>
                      <a:pt x="372" y="3382"/>
                    </a:lnTo>
                    <a:lnTo>
                      <a:pt x="380" y="3378"/>
                    </a:lnTo>
                    <a:lnTo>
                      <a:pt x="388" y="3373"/>
                    </a:lnTo>
                    <a:lnTo>
                      <a:pt x="404" y="3365"/>
                    </a:lnTo>
                    <a:lnTo>
                      <a:pt x="422" y="3357"/>
                    </a:lnTo>
                    <a:lnTo>
                      <a:pt x="430" y="3353"/>
                    </a:lnTo>
                    <a:lnTo>
                      <a:pt x="438" y="3348"/>
                    </a:lnTo>
                    <a:lnTo>
                      <a:pt x="446" y="3342"/>
                    </a:lnTo>
                    <a:lnTo>
                      <a:pt x="453" y="3337"/>
                    </a:lnTo>
                    <a:lnTo>
                      <a:pt x="445" y="3330"/>
                    </a:lnTo>
                    <a:lnTo>
                      <a:pt x="437" y="3319"/>
                    </a:lnTo>
                    <a:lnTo>
                      <a:pt x="430" y="3308"/>
                    </a:lnTo>
                    <a:lnTo>
                      <a:pt x="424" y="3294"/>
                    </a:lnTo>
                    <a:lnTo>
                      <a:pt x="419" y="3278"/>
                    </a:lnTo>
                    <a:lnTo>
                      <a:pt x="414" y="3261"/>
                    </a:lnTo>
                    <a:lnTo>
                      <a:pt x="412" y="3243"/>
                    </a:lnTo>
                    <a:lnTo>
                      <a:pt x="411" y="3225"/>
                    </a:lnTo>
                    <a:lnTo>
                      <a:pt x="412" y="3204"/>
                    </a:lnTo>
                    <a:lnTo>
                      <a:pt x="414" y="3186"/>
                    </a:lnTo>
                    <a:lnTo>
                      <a:pt x="418" y="3170"/>
                    </a:lnTo>
                    <a:lnTo>
                      <a:pt x="423" y="3157"/>
                    </a:lnTo>
                    <a:lnTo>
                      <a:pt x="429" y="3144"/>
                    </a:lnTo>
                    <a:lnTo>
                      <a:pt x="435" y="3132"/>
                    </a:lnTo>
                    <a:lnTo>
                      <a:pt x="442" y="3122"/>
                    </a:lnTo>
                    <a:lnTo>
                      <a:pt x="450" y="3112"/>
                    </a:lnTo>
                    <a:lnTo>
                      <a:pt x="457" y="3101"/>
                    </a:lnTo>
                    <a:lnTo>
                      <a:pt x="463" y="3090"/>
                    </a:lnTo>
                    <a:lnTo>
                      <a:pt x="469" y="3077"/>
                    </a:lnTo>
                    <a:lnTo>
                      <a:pt x="476" y="3064"/>
                    </a:lnTo>
                    <a:lnTo>
                      <a:pt x="481" y="3049"/>
                    </a:lnTo>
                    <a:lnTo>
                      <a:pt x="484" y="3032"/>
                    </a:lnTo>
                    <a:lnTo>
                      <a:pt x="486" y="3011"/>
                    </a:lnTo>
                    <a:lnTo>
                      <a:pt x="487" y="2988"/>
                    </a:lnTo>
                    <a:lnTo>
                      <a:pt x="487" y="2983"/>
                    </a:lnTo>
                    <a:lnTo>
                      <a:pt x="489" y="2978"/>
                    </a:lnTo>
                    <a:lnTo>
                      <a:pt x="490" y="2973"/>
                    </a:lnTo>
                    <a:lnTo>
                      <a:pt x="492" y="2968"/>
                    </a:lnTo>
                    <a:lnTo>
                      <a:pt x="498" y="2959"/>
                    </a:lnTo>
                    <a:lnTo>
                      <a:pt x="506" y="2951"/>
                    </a:lnTo>
                    <a:lnTo>
                      <a:pt x="515" y="2944"/>
                    </a:lnTo>
                    <a:lnTo>
                      <a:pt x="525" y="2937"/>
                    </a:lnTo>
                    <a:lnTo>
                      <a:pt x="538" y="2931"/>
                    </a:lnTo>
                    <a:lnTo>
                      <a:pt x="551" y="2925"/>
                    </a:lnTo>
                    <a:lnTo>
                      <a:pt x="543" y="2909"/>
                    </a:lnTo>
                    <a:lnTo>
                      <a:pt x="537" y="2893"/>
                    </a:lnTo>
                    <a:lnTo>
                      <a:pt x="532" y="2879"/>
                    </a:lnTo>
                    <a:lnTo>
                      <a:pt x="529" y="2865"/>
                    </a:lnTo>
                    <a:lnTo>
                      <a:pt x="525" y="2851"/>
                    </a:lnTo>
                    <a:lnTo>
                      <a:pt x="524" y="2837"/>
                    </a:lnTo>
                    <a:lnTo>
                      <a:pt x="523" y="2819"/>
                    </a:lnTo>
                    <a:lnTo>
                      <a:pt x="522" y="2800"/>
                    </a:lnTo>
                    <a:lnTo>
                      <a:pt x="523" y="2775"/>
                    </a:lnTo>
                    <a:lnTo>
                      <a:pt x="525" y="2752"/>
                    </a:lnTo>
                    <a:lnTo>
                      <a:pt x="530" y="2731"/>
                    </a:lnTo>
                    <a:lnTo>
                      <a:pt x="536" y="2712"/>
                    </a:lnTo>
                    <a:lnTo>
                      <a:pt x="541" y="2693"/>
                    </a:lnTo>
                    <a:lnTo>
                      <a:pt x="549" y="2677"/>
                    </a:lnTo>
                    <a:lnTo>
                      <a:pt x="559" y="2662"/>
                    </a:lnTo>
                    <a:lnTo>
                      <a:pt x="569" y="2650"/>
                    </a:lnTo>
                    <a:lnTo>
                      <a:pt x="580" y="2637"/>
                    </a:lnTo>
                    <a:lnTo>
                      <a:pt x="592" y="2626"/>
                    </a:lnTo>
                    <a:lnTo>
                      <a:pt x="604" y="2615"/>
                    </a:lnTo>
                    <a:lnTo>
                      <a:pt x="617" y="2605"/>
                    </a:lnTo>
                    <a:lnTo>
                      <a:pt x="645" y="2587"/>
                    </a:lnTo>
                    <a:lnTo>
                      <a:pt x="672" y="2570"/>
                    </a:lnTo>
                    <a:lnTo>
                      <a:pt x="700" y="2553"/>
                    </a:lnTo>
                    <a:lnTo>
                      <a:pt x="727" y="2537"/>
                    </a:lnTo>
                    <a:lnTo>
                      <a:pt x="740" y="2528"/>
                    </a:lnTo>
                    <a:lnTo>
                      <a:pt x="752" y="2518"/>
                    </a:lnTo>
                    <a:lnTo>
                      <a:pt x="764" y="2507"/>
                    </a:lnTo>
                    <a:lnTo>
                      <a:pt x="775" y="2496"/>
                    </a:lnTo>
                    <a:lnTo>
                      <a:pt x="784" y="2484"/>
                    </a:lnTo>
                    <a:lnTo>
                      <a:pt x="794" y="2471"/>
                    </a:lnTo>
                    <a:lnTo>
                      <a:pt x="802" y="2457"/>
                    </a:lnTo>
                    <a:lnTo>
                      <a:pt x="809" y="2441"/>
                    </a:lnTo>
                    <a:lnTo>
                      <a:pt x="814" y="2424"/>
                    </a:lnTo>
                    <a:lnTo>
                      <a:pt x="819" y="2404"/>
                    </a:lnTo>
                    <a:lnTo>
                      <a:pt x="821" y="2384"/>
                    </a:lnTo>
                    <a:lnTo>
                      <a:pt x="821" y="2361"/>
                    </a:lnTo>
                    <a:lnTo>
                      <a:pt x="831" y="2365"/>
                    </a:lnTo>
                    <a:lnTo>
                      <a:pt x="839" y="2367"/>
                    </a:lnTo>
                    <a:lnTo>
                      <a:pt x="848" y="2369"/>
                    </a:lnTo>
                    <a:lnTo>
                      <a:pt x="854" y="2369"/>
                    </a:lnTo>
                    <a:lnTo>
                      <a:pt x="862" y="2367"/>
                    </a:lnTo>
                    <a:lnTo>
                      <a:pt x="873" y="2366"/>
                    </a:lnTo>
                    <a:lnTo>
                      <a:pt x="884" y="2364"/>
                    </a:lnTo>
                    <a:lnTo>
                      <a:pt x="898" y="2361"/>
                    </a:lnTo>
                    <a:lnTo>
                      <a:pt x="899" y="2354"/>
                    </a:lnTo>
                    <a:lnTo>
                      <a:pt x="900" y="2347"/>
                    </a:lnTo>
                    <a:lnTo>
                      <a:pt x="903" y="2340"/>
                    </a:lnTo>
                    <a:lnTo>
                      <a:pt x="905" y="2334"/>
                    </a:lnTo>
                    <a:lnTo>
                      <a:pt x="912" y="2324"/>
                    </a:lnTo>
                    <a:lnTo>
                      <a:pt x="919" y="2315"/>
                    </a:lnTo>
                    <a:lnTo>
                      <a:pt x="928" y="2307"/>
                    </a:lnTo>
                    <a:lnTo>
                      <a:pt x="937" y="2300"/>
                    </a:lnTo>
                    <a:lnTo>
                      <a:pt x="947" y="2295"/>
                    </a:lnTo>
                    <a:lnTo>
                      <a:pt x="959" y="2289"/>
                    </a:lnTo>
                    <a:lnTo>
                      <a:pt x="979" y="2281"/>
                    </a:lnTo>
                    <a:lnTo>
                      <a:pt x="999" y="2273"/>
                    </a:lnTo>
                    <a:lnTo>
                      <a:pt x="1007" y="2269"/>
                    </a:lnTo>
                    <a:lnTo>
                      <a:pt x="1015" y="2263"/>
                    </a:lnTo>
                    <a:lnTo>
                      <a:pt x="1019" y="2257"/>
                    </a:lnTo>
                    <a:lnTo>
                      <a:pt x="1024" y="2249"/>
                    </a:lnTo>
                    <a:lnTo>
                      <a:pt x="1034" y="2223"/>
                    </a:lnTo>
                    <a:lnTo>
                      <a:pt x="1045" y="2195"/>
                    </a:lnTo>
                    <a:lnTo>
                      <a:pt x="1053" y="2169"/>
                    </a:lnTo>
                    <a:lnTo>
                      <a:pt x="1061" y="2143"/>
                    </a:lnTo>
                    <a:lnTo>
                      <a:pt x="1075" y="2091"/>
                    </a:lnTo>
                    <a:lnTo>
                      <a:pt x="1089" y="2042"/>
                    </a:lnTo>
                    <a:lnTo>
                      <a:pt x="1097" y="2018"/>
                    </a:lnTo>
                    <a:lnTo>
                      <a:pt x="1107" y="1996"/>
                    </a:lnTo>
                    <a:lnTo>
                      <a:pt x="1117" y="1974"/>
                    </a:lnTo>
                    <a:lnTo>
                      <a:pt x="1130" y="1953"/>
                    </a:lnTo>
                    <a:lnTo>
                      <a:pt x="1136" y="1943"/>
                    </a:lnTo>
                    <a:lnTo>
                      <a:pt x="1143" y="1933"/>
                    </a:lnTo>
                    <a:lnTo>
                      <a:pt x="1150" y="1924"/>
                    </a:lnTo>
                    <a:lnTo>
                      <a:pt x="1158" y="1914"/>
                    </a:lnTo>
                    <a:lnTo>
                      <a:pt x="1167" y="1905"/>
                    </a:lnTo>
                    <a:lnTo>
                      <a:pt x="1177" y="1897"/>
                    </a:lnTo>
                    <a:lnTo>
                      <a:pt x="1187" y="1888"/>
                    </a:lnTo>
                    <a:lnTo>
                      <a:pt x="1197" y="1880"/>
                    </a:lnTo>
                    <a:lnTo>
                      <a:pt x="1209" y="1878"/>
                    </a:lnTo>
                    <a:lnTo>
                      <a:pt x="1220" y="1874"/>
                    </a:lnTo>
                    <a:lnTo>
                      <a:pt x="1232" y="1870"/>
                    </a:lnTo>
                    <a:lnTo>
                      <a:pt x="1243" y="1863"/>
                    </a:lnTo>
                    <a:lnTo>
                      <a:pt x="1255" y="1856"/>
                    </a:lnTo>
                    <a:lnTo>
                      <a:pt x="1265" y="1848"/>
                    </a:lnTo>
                    <a:lnTo>
                      <a:pt x="1276" y="1840"/>
                    </a:lnTo>
                    <a:lnTo>
                      <a:pt x="1288" y="1830"/>
                    </a:lnTo>
                    <a:lnTo>
                      <a:pt x="1310" y="1808"/>
                    </a:lnTo>
                    <a:lnTo>
                      <a:pt x="1331" y="1784"/>
                    </a:lnTo>
                    <a:lnTo>
                      <a:pt x="1352" y="1757"/>
                    </a:lnTo>
                    <a:lnTo>
                      <a:pt x="1370" y="1730"/>
                    </a:lnTo>
                    <a:lnTo>
                      <a:pt x="1389" y="1701"/>
                    </a:lnTo>
                    <a:lnTo>
                      <a:pt x="1405" y="1671"/>
                    </a:lnTo>
                    <a:lnTo>
                      <a:pt x="1420" y="1643"/>
                    </a:lnTo>
                    <a:lnTo>
                      <a:pt x="1431" y="1613"/>
                    </a:lnTo>
                    <a:lnTo>
                      <a:pt x="1441" y="1585"/>
                    </a:lnTo>
                    <a:lnTo>
                      <a:pt x="1449" y="1559"/>
                    </a:lnTo>
                    <a:lnTo>
                      <a:pt x="1452" y="1546"/>
                    </a:lnTo>
                    <a:lnTo>
                      <a:pt x="1454" y="1534"/>
                    </a:lnTo>
                    <a:lnTo>
                      <a:pt x="1455" y="1522"/>
                    </a:lnTo>
                    <a:lnTo>
                      <a:pt x="1455" y="1512"/>
                    </a:lnTo>
                    <a:lnTo>
                      <a:pt x="1455" y="1491"/>
                    </a:lnTo>
                    <a:lnTo>
                      <a:pt x="1456" y="1471"/>
                    </a:lnTo>
                    <a:lnTo>
                      <a:pt x="1459" y="1450"/>
                    </a:lnTo>
                    <a:lnTo>
                      <a:pt x="1461" y="1432"/>
                    </a:lnTo>
                    <a:lnTo>
                      <a:pt x="1464" y="1412"/>
                    </a:lnTo>
                    <a:lnTo>
                      <a:pt x="1469" y="1394"/>
                    </a:lnTo>
                    <a:lnTo>
                      <a:pt x="1472" y="1377"/>
                    </a:lnTo>
                    <a:lnTo>
                      <a:pt x="1478" y="1359"/>
                    </a:lnTo>
                    <a:lnTo>
                      <a:pt x="1484" y="1343"/>
                    </a:lnTo>
                    <a:lnTo>
                      <a:pt x="1490" y="1327"/>
                    </a:lnTo>
                    <a:lnTo>
                      <a:pt x="1495" y="1312"/>
                    </a:lnTo>
                    <a:lnTo>
                      <a:pt x="1502" y="1299"/>
                    </a:lnTo>
                    <a:lnTo>
                      <a:pt x="1509" y="1286"/>
                    </a:lnTo>
                    <a:lnTo>
                      <a:pt x="1517" y="1275"/>
                    </a:lnTo>
                    <a:lnTo>
                      <a:pt x="1524" y="1263"/>
                    </a:lnTo>
                    <a:lnTo>
                      <a:pt x="1532" y="1254"/>
                    </a:lnTo>
                    <a:lnTo>
                      <a:pt x="1537" y="1247"/>
                    </a:lnTo>
                    <a:lnTo>
                      <a:pt x="1543" y="1241"/>
                    </a:lnTo>
                    <a:lnTo>
                      <a:pt x="1551" y="1234"/>
                    </a:lnTo>
                    <a:lnTo>
                      <a:pt x="1562" y="1227"/>
                    </a:lnTo>
                    <a:lnTo>
                      <a:pt x="1582" y="1214"/>
                    </a:lnTo>
                    <a:lnTo>
                      <a:pt x="1605" y="1199"/>
                    </a:lnTo>
                    <a:lnTo>
                      <a:pt x="1617" y="1191"/>
                    </a:lnTo>
                    <a:lnTo>
                      <a:pt x="1628" y="1184"/>
                    </a:lnTo>
                    <a:lnTo>
                      <a:pt x="1637" y="1175"/>
                    </a:lnTo>
                    <a:lnTo>
                      <a:pt x="1647" y="1167"/>
                    </a:lnTo>
                    <a:lnTo>
                      <a:pt x="1654" y="1158"/>
                    </a:lnTo>
                    <a:lnTo>
                      <a:pt x="1659" y="1148"/>
                    </a:lnTo>
                    <a:lnTo>
                      <a:pt x="1662" y="1144"/>
                    </a:lnTo>
                    <a:lnTo>
                      <a:pt x="1663" y="1139"/>
                    </a:lnTo>
                    <a:lnTo>
                      <a:pt x="1664" y="1133"/>
                    </a:lnTo>
                    <a:lnTo>
                      <a:pt x="1664" y="1129"/>
                    </a:lnTo>
                    <a:lnTo>
                      <a:pt x="1664" y="1122"/>
                    </a:lnTo>
                    <a:lnTo>
                      <a:pt x="1662" y="1117"/>
                    </a:lnTo>
                    <a:lnTo>
                      <a:pt x="1658" y="1112"/>
                    </a:lnTo>
                    <a:lnTo>
                      <a:pt x="1654" y="1107"/>
                    </a:lnTo>
                    <a:lnTo>
                      <a:pt x="1642" y="1099"/>
                    </a:lnTo>
                    <a:lnTo>
                      <a:pt x="1629" y="1092"/>
                    </a:lnTo>
                    <a:lnTo>
                      <a:pt x="1623" y="1088"/>
                    </a:lnTo>
                    <a:lnTo>
                      <a:pt x="1617" y="1084"/>
                    </a:lnTo>
                    <a:lnTo>
                      <a:pt x="1611" y="1078"/>
                    </a:lnTo>
                    <a:lnTo>
                      <a:pt x="1605" y="1074"/>
                    </a:lnTo>
                    <a:lnTo>
                      <a:pt x="1601" y="1068"/>
                    </a:lnTo>
                    <a:lnTo>
                      <a:pt x="1597" y="1061"/>
                    </a:lnTo>
                    <a:lnTo>
                      <a:pt x="1595" y="1053"/>
                    </a:lnTo>
                    <a:lnTo>
                      <a:pt x="1595" y="1045"/>
                    </a:lnTo>
                    <a:lnTo>
                      <a:pt x="1596" y="1031"/>
                    </a:lnTo>
                    <a:lnTo>
                      <a:pt x="1601" y="1018"/>
                    </a:lnTo>
                    <a:lnTo>
                      <a:pt x="1607" y="1005"/>
                    </a:lnTo>
                    <a:lnTo>
                      <a:pt x="1612" y="992"/>
                    </a:lnTo>
                    <a:lnTo>
                      <a:pt x="1628" y="967"/>
                    </a:lnTo>
                    <a:lnTo>
                      <a:pt x="1647" y="941"/>
                    </a:lnTo>
                    <a:lnTo>
                      <a:pt x="1656" y="927"/>
                    </a:lnTo>
                    <a:lnTo>
                      <a:pt x="1665" y="913"/>
                    </a:lnTo>
                    <a:lnTo>
                      <a:pt x="1673" y="897"/>
                    </a:lnTo>
                    <a:lnTo>
                      <a:pt x="1681" y="881"/>
                    </a:lnTo>
                    <a:lnTo>
                      <a:pt x="1687" y="864"/>
                    </a:lnTo>
                    <a:lnTo>
                      <a:pt x="1692" y="844"/>
                    </a:lnTo>
                    <a:lnTo>
                      <a:pt x="1697" y="824"/>
                    </a:lnTo>
                    <a:lnTo>
                      <a:pt x="1699" y="801"/>
                    </a:lnTo>
                    <a:lnTo>
                      <a:pt x="1698" y="794"/>
                    </a:lnTo>
                    <a:lnTo>
                      <a:pt x="1696" y="787"/>
                    </a:lnTo>
                    <a:lnTo>
                      <a:pt x="1694" y="781"/>
                    </a:lnTo>
                    <a:lnTo>
                      <a:pt x="1689" y="777"/>
                    </a:lnTo>
                    <a:lnTo>
                      <a:pt x="1684" y="772"/>
                    </a:lnTo>
                    <a:lnTo>
                      <a:pt x="1679" y="769"/>
                    </a:lnTo>
                    <a:lnTo>
                      <a:pt x="1673" y="766"/>
                    </a:lnTo>
                    <a:lnTo>
                      <a:pt x="1666" y="764"/>
                    </a:lnTo>
                    <a:lnTo>
                      <a:pt x="1651" y="760"/>
                    </a:lnTo>
                    <a:lnTo>
                      <a:pt x="1634" y="757"/>
                    </a:lnTo>
                    <a:lnTo>
                      <a:pt x="1618" y="755"/>
                    </a:lnTo>
                    <a:lnTo>
                      <a:pt x="1602" y="753"/>
                    </a:lnTo>
                    <a:lnTo>
                      <a:pt x="1602" y="733"/>
                    </a:lnTo>
                    <a:lnTo>
                      <a:pt x="1602" y="718"/>
                    </a:lnTo>
                    <a:lnTo>
                      <a:pt x="1602" y="707"/>
                    </a:lnTo>
                    <a:lnTo>
                      <a:pt x="1602" y="696"/>
                    </a:lnTo>
                    <a:lnTo>
                      <a:pt x="1602" y="688"/>
                    </a:lnTo>
                    <a:lnTo>
                      <a:pt x="1602" y="680"/>
                    </a:lnTo>
                    <a:lnTo>
                      <a:pt x="1602" y="671"/>
                    </a:lnTo>
                    <a:lnTo>
                      <a:pt x="1602" y="662"/>
                    </a:lnTo>
                    <a:lnTo>
                      <a:pt x="1601" y="639"/>
                    </a:lnTo>
                    <a:lnTo>
                      <a:pt x="1597" y="619"/>
                    </a:lnTo>
                    <a:lnTo>
                      <a:pt x="1593" y="599"/>
                    </a:lnTo>
                    <a:lnTo>
                      <a:pt x="1586" y="580"/>
                    </a:lnTo>
                    <a:lnTo>
                      <a:pt x="1577" y="562"/>
                    </a:lnTo>
                    <a:lnTo>
                      <a:pt x="1566" y="544"/>
                    </a:lnTo>
                    <a:lnTo>
                      <a:pt x="1554" y="527"/>
                    </a:lnTo>
                    <a:lnTo>
                      <a:pt x="1539" y="508"/>
                    </a:lnTo>
                    <a:lnTo>
                      <a:pt x="1546" y="460"/>
                    </a:lnTo>
                    <a:lnTo>
                      <a:pt x="1548" y="460"/>
                    </a:lnTo>
                    <a:lnTo>
                      <a:pt x="1551" y="460"/>
                    </a:lnTo>
                    <a:lnTo>
                      <a:pt x="1554" y="460"/>
                    </a:lnTo>
                    <a:lnTo>
                      <a:pt x="1556" y="460"/>
                    </a:lnTo>
                    <a:lnTo>
                      <a:pt x="1558" y="460"/>
                    </a:lnTo>
                    <a:lnTo>
                      <a:pt x="1562" y="460"/>
                    </a:lnTo>
                    <a:lnTo>
                      <a:pt x="1564" y="460"/>
                    </a:lnTo>
                    <a:lnTo>
                      <a:pt x="1566" y="460"/>
                    </a:lnTo>
                    <a:lnTo>
                      <a:pt x="1559" y="46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14" name="Freeform 533"/>
              <p:cNvSpPr>
                <a:spLocks/>
              </p:cNvSpPr>
              <p:nvPr/>
            </p:nvSpPr>
            <p:spPr bwMode="auto">
              <a:xfrm>
                <a:off x="1549" y="2121"/>
                <a:ext cx="756" cy="651"/>
              </a:xfrm>
              <a:custGeom>
                <a:avLst/>
                <a:gdLst>
                  <a:gd name="T0" fmla="*/ 18 w 4100"/>
                  <a:gd name="T1" fmla="*/ 19 h 3531"/>
                  <a:gd name="T2" fmla="*/ 16 w 4100"/>
                  <a:gd name="T3" fmla="*/ 19 h 3531"/>
                  <a:gd name="T4" fmla="*/ 14 w 4100"/>
                  <a:gd name="T5" fmla="*/ 18 h 3531"/>
                  <a:gd name="T6" fmla="*/ 13 w 4100"/>
                  <a:gd name="T7" fmla="*/ 18 h 3531"/>
                  <a:gd name="T8" fmla="*/ 13 w 4100"/>
                  <a:gd name="T9" fmla="*/ 21 h 3531"/>
                  <a:gd name="T10" fmla="*/ 12 w 4100"/>
                  <a:gd name="T11" fmla="*/ 20 h 3531"/>
                  <a:gd name="T12" fmla="*/ 11 w 4100"/>
                  <a:gd name="T13" fmla="*/ 20 h 3531"/>
                  <a:gd name="T14" fmla="*/ 10 w 4100"/>
                  <a:gd name="T15" fmla="*/ 20 h 3531"/>
                  <a:gd name="T16" fmla="*/ 8 w 4100"/>
                  <a:gd name="T17" fmla="*/ 20 h 3531"/>
                  <a:gd name="T18" fmla="*/ 9 w 4100"/>
                  <a:gd name="T19" fmla="*/ 21 h 3531"/>
                  <a:gd name="T20" fmla="*/ 8 w 4100"/>
                  <a:gd name="T21" fmla="*/ 22 h 3531"/>
                  <a:gd name="T22" fmla="*/ 7 w 4100"/>
                  <a:gd name="T23" fmla="*/ 22 h 3531"/>
                  <a:gd name="T24" fmla="*/ 6 w 4100"/>
                  <a:gd name="T25" fmla="*/ 20 h 3531"/>
                  <a:gd name="T26" fmla="*/ 6 w 4100"/>
                  <a:gd name="T27" fmla="*/ 20 h 3531"/>
                  <a:gd name="T28" fmla="*/ 5 w 4100"/>
                  <a:gd name="T29" fmla="*/ 19 h 3531"/>
                  <a:gd name="T30" fmla="*/ 3 w 4100"/>
                  <a:gd name="T31" fmla="*/ 17 h 3531"/>
                  <a:gd name="T32" fmla="*/ 2 w 4100"/>
                  <a:gd name="T33" fmla="*/ 17 h 3531"/>
                  <a:gd name="T34" fmla="*/ 2 w 4100"/>
                  <a:gd name="T35" fmla="*/ 16 h 3531"/>
                  <a:gd name="T36" fmla="*/ 1 w 4100"/>
                  <a:gd name="T37" fmla="*/ 15 h 3531"/>
                  <a:gd name="T38" fmla="*/ 0 w 4100"/>
                  <a:gd name="T39" fmla="*/ 16 h 3531"/>
                  <a:gd name="T40" fmla="*/ 1 w 4100"/>
                  <a:gd name="T41" fmla="*/ 14 h 3531"/>
                  <a:gd name="T42" fmla="*/ 1 w 4100"/>
                  <a:gd name="T43" fmla="*/ 13 h 3531"/>
                  <a:gd name="T44" fmla="*/ 2 w 4100"/>
                  <a:gd name="T45" fmla="*/ 12 h 3531"/>
                  <a:gd name="T46" fmla="*/ 1 w 4100"/>
                  <a:gd name="T47" fmla="*/ 11 h 3531"/>
                  <a:gd name="T48" fmla="*/ 1 w 4100"/>
                  <a:gd name="T49" fmla="*/ 10 h 3531"/>
                  <a:gd name="T50" fmla="*/ 3 w 4100"/>
                  <a:gd name="T51" fmla="*/ 11 h 3531"/>
                  <a:gd name="T52" fmla="*/ 3 w 4100"/>
                  <a:gd name="T53" fmla="*/ 10 h 3531"/>
                  <a:gd name="T54" fmla="*/ 3 w 4100"/>
                  <a:gd name="T55" fmla="*/ 9 h 3531"/>
                  <a:gd name="T56" fmla="*/ 3 w 4100"/>
                  <a:gd name="T57" fmla="*/ 8 h 3531"/>
                  <a:gd name="T58" fmla="*/ 1 w 4100"/>
                  <a:gd name="T59" fmla="*/ 6 h 3531"/>
                  <a:gd name="T60" fmla="*/ 0 w 4100"/>
                  <a:gd name="T61" fmla="*/ 5 h 3531"/>
                  <a:gd name="T62" fmla="*/ 0 w 4100"/>
                  <a:gd name="T63" fmla="*/ 4 h 3531"/>
                  <a:gd name="T64" fmla="*/ 2 w 4100"/>
                  <a:gd name="T65" fmla="*/ 4 h 3531"/>
                  <a:gd name="T66" fmla="*/ 3 w 4100"/>
                  <a:gd name="T67" fmla="*/ 3 h 3531"/>
                  <a:gd name="T68" fmla="*/ 4 w 4100"/>
                  <a:gd name="T69" fmla="*/ 3 h 3531"/>
                  <a:gd name="T70" fmla="*/ 6 w 4100"/>
                  <a:gd name="T71" fmla="*/ 2 h 3531"/>
                  <a:gd name="T72" fmla="*/ 7 w 4100"/>
                  <a:gd name="T73" fmla="*/ 2 h 3531"/>
                  <a:gd name="T74" fmla="*/ 8 w 4100"/>
                  <a:gd name="T75" fmla="*/ 0 h 3531"/>
                  <a:gd name="T76" fmla="*/ 9 w 4100"/>
                  <a:gd name="T77" fmla="*/ 1 h 3531"/>
                  <a:gd name="T78" fmla="*/ 10 w 4100"/>
                  <a:gd name="T79" fmla="*/ 3 h 3531"/>
                  <a:gd name="T80" fmla="*/ 9 w 4100"/>
                  <a:gd name="T81" fmla="*/ 4 h 3531"/>
                  <a:gd name="T82" fmla="*/ 11 w 4100"/>
                  <a:gd name="T83" fmla="*/ 4 h 3531"/>
                  <a:gd name="T84" fmla="*/ 13 w 4100"/>
                  <a:gd name="T85" fmla="*/ 5 h 3531"/>
                  <a:gd name="T86" fmla="*/ 11 w 4100"/>
                  <a:gd name="T87" fmla="*/ 6 h 3531"/>
                  <a:gd name="T88" fmla="*/ 12 w 4100"/>
                  <a:gd name="T89" fmla="*/ 8 h 3531"/>
                  <a:gd name="T90" fmla="*/ 15 w 4100"/>
                  <a:gd name="T91" fmla="*/ 8 h 3531"/>
                  <a:gd name="T92" fmla="*/ 17 w 4100"/>
                  <a:gd name="T93" fmla="*/ 9 h 3531"/>
                  <a:gd name="T94" fmla="*/ 18 w 4100"/>
                  <a:gd name="T95" fmla="*/ 10 h 3531"/>
                  <a:gd name="T96" fmla="*/ 21 w 4100"/>
                  <a:gd name="T97" fmla="*/ 11 h 3531"/>
                  <a:gd name="T98" fmla="*/ 22 w 4100"/>
                  <a:gd name="T99" fmla="*/ 10 h 3531"/>
                  <a:gd name="T100" fmla="*/ 22 w 4100"/>
                  <a:gd name="T101" fmla="*/ 9 h 3531"/>
                  <a:gd name="T102" fmla="*/ 24 w 4100"/>
                  <a:gd name="T103" fmla="*/ 10 h 3531"/>
                  <a:gd name="T104" fmla="*/ 25 w 4100"/>
                  <a:gd name="T105" fmla="*/ 10 h 3531"/>
                  <a:gd name="T106" fmla="*/ 25 w 4100"/>
                  <a:gd name="T107" fmla="*/ 11 h 3531"/>
                  <a:gd name="T108" fmla="*/ 24 w 4100"/>
                  <a:gd name="T109" fmla="*/ 12 h 3531"/>
                  <a:gd name="T110" fmla="*/ 23 w 4100"/>
                  <a:gd name="T111" fmla="*/ 14 h 3531"/>
                  <a:gd name="T112" fmla="*/ 22 w 4100"/>
                  <a:gd name="T113" fmla="*/ 15 h 3531"/>
                  <a:gd name="T114" fmla="*/ 21 w 4100"/>
                  <a:gd name="T115" fmla="*/ 16 h 3531"/>
                  <a:gd name="T116" fmla="*/ 20 w 4100"/>
                  <a:gd name="T117" fmla="*/ 16 h 3531"/>
                  <a:gd name="T118" fmla="*/ 19 w 4100"/>
                  <a:gd name="T119" fmla="*/ 16 h 3531"/>
                  <a:gd name="T120" fmla="*/ 19 w 4100"/>
                  <a:gd name="T121" fmla="*/ 18 h 353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100"/>
                  <a:gd name="T184" fmla="*/ 0 h 3531"/>
                  <a:gd name="T185" fmla="*/ 4100 w 4100"/>
                  <a:gd name="T186" fmla="*/ 3531 h 353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100" h="3531">
                    <a:moveTo>
                      <a:pt x="3028" y="3022"/>
                    </a:moveTo>
                    <a:lnTo>
                      <a:pt x="2999" y="3044"/>
                    </a:lnTo>
                    <a:lnTo>
                      <a:pt x="2992" y="3049"/>
                    </a:lnTo>
                    <a:lnTo>
                      <a:pt x="2984" y="3054"/>
                    </a:lnTo>
                    <a:lnTo>
                      <a:pt x="2977" y="3060"/>
                    </a:lnTo>
                    <a:lnTo>
                      <a:pt x="2968" y="3066"/>
                    </a:lnTo>
                    <a:lnTo>
                      <a:pt x="2959" y="3069"/>
                    </a:lnTo>
                    <a:lnTo>
                      <a:pt x="2946" y="3072"/>
                    </a:lnTo>
                    <a:lnTo>
                      <a:pt x="2932" y="3073"/>
                    </a:lnTo>
                    <a:lnTo>
                      <a:pt x="2916" y="3072"/>
                    </a:lnTo>
                    <a:lnTo>
                      <a:pt x="2908" y="3070"/>
                    </a:lnTo>
                    <a:lnTo>
                      <a:pt x="2902" y="3069"/>
                    </a:lnTo>
                    <a:lnTo>
                      <a:pt x="2895" y="3067"/>
                    </a:lnTo>
                    <a:lnTo>
                      <a:pt x="2889" y="3065"/>
                    </a:lnTo>
                    <a:lnTo>
                      <a:pt x="2877" y="3058"/>
                    </a:lnTo>
                    <a:lnTo>
                      <a:pt x="2867" y="3051"/>
                    </a:lnTo>
                    <a:lnTo>
                      <a:pt x="2857" y="3043"/>
                    </a:lnTo>
                    <a:lnTo>
                      <a:pt x="2845" y="3036"/>
                    </a:lnTo>
                    <a:lnTo>
                      <a:pt x="2840" y="3034"/>
                    </a:lnTo>
                    <a:lnTo>
                      <a:pt x="2833" y="3031"/>
                    </a:lnTo>
                    <a:lnTo>
                      <a:pt x="2826" y="3030"/>
                    </a:lnTo>
                    <a:lnTo>
                      <a:pt x="2819" y="3029"/>
                    </a:lnTo>
                    <a:lnTo>
                      <a:pt x="2804" y="3029"/>
                    </a:lnTo>
                    <a:lnTo>
                      <a:pt x="2791" y="3030"/>
                    </a:lnTo>
                    <a:lnTo>
                      <a:pt x="2779" y="3034"/>
                    </a:lnTo>
                    <a:lnTo>
                      <a:pt x="2767" y="3037"/>
                    </a:lnTo>
                    <a:lnTo>
                      <a:pt x="2744" y="3049"/>
                    </a:lnTo>
                    <a:lnTo>
                      <a:pt x="2722" y="3061"/>
                    </a:lnTo>
                    <a:lnTo>
                      <a:pt x="2710" y="3068"/>
                    </a:lnTo>
                    <a:lnTo>
                      <a:pt x="2699" y="3075"/>
                    </a:lnTo>
                    <a:lnTo>
                      <a:pt x="2686" y="3082"/>
                    </a:lnTo>
                    <a:lnTo>
                      <a:pt x="2672" y="3088"/>
                    </a:lnTo>
                    <a:lnTo>
                      <a:pt x="2658" y="3092"/>
                    </a:lnTo>
                    <a:lnTo>
                      <a:pt x="2644" y="3096"/>
                    </a:lnTo>
                    <a:lnTo>
                      <a:pt x="2627" y="3098"/>
                    </a:lnTo>
                    <a:lnTo>
                      <a:pt x="2609" y="3099"/>
                    </a:lnTo>
                    <a:lnTo>
                      <a:pt x="2590" y="3099"/>
                    </a:lnTo>
                    <a:lnTo>
                      <a:pt x="2571" y="3099"/>
                    </a:lnTo>
                    <a:lnTo>
                      <a:pt x="2554" y="3099"/>
                    </a:lnTo>
                    <a:lnTo>
                      <a:pt x="2537" y="3099"/>
                    </a:lnTo>
                    <a:lnTo>
                      <a:pt x="2521" y="3099"/>
                    </a:lnTo>
                    <a:lnTo>
                      <a:pt x="2505" y="3099"/>
                    </a:lnTo>
                    <a:lnTo>
                      <a:pt x="2488" y="3099"/>
                    </a:lnTo>
                    <a:lnTo>
                      <a:pt x="2470" y="3099"/>
                    </a:lnTo>
                    <a:lnTo>
                      <a:pt x="2262" y="2939"/>
                    </a:lnTo>
                    <a:lnTo>
                      <a:pt x="2262" y="2932"/>
                    </a:lnTo>
                    <a:lnTo>
                      <a:pt x="2263" y="2925"/>
                    </a:lnTo>
                    <a:lnTo>
                      <a:pt x="2265" y="2918"/>
                    </a:lnTo>
                    <a:lnTo>
                      <a:pt x="2267" y="2912"/>
                    </a:lnTo>
                    <a:lnTo>
                      <a:pt x="2274" y="2901"/>
                    </a:lnTo>
                    <a:lnTo>
                      <a:pt x="2282" y="2889"/>
                    </a:lnTo>
                    <a:lnTo>
                      <a:pt x="2290" y="2878"/>
                    </a:lnTo>
                    <a:lnTo>
                      <a:pt x="2296" y="2865"/>
                    </a:lnTo>
                    <a:lnTo>
                      <a:pt x="2300" y="2858"/>
                    </a:lnTo>
                    <a:lnTo>
                      <a:pt x="2302" y="2851"/>
                    </a:lnTo>
                    <a:lnTo>
                      <a:pt x="2303" y="2843"/>
                    </a:lnTo>
                    <a:lnTo>
                      <a:pt x="2303" y="2834"/>
                    </a:lnTo>
                    <a:lnTo>
                      <a:pt x="2303" y="2827"/>
                    </a:lnTo>
                    <a:lnTo>
                      <a:pt x="2301" y="2822"/>
                    </a:lnTo>
                    <a:lnTo>
                      <a:pt x="2297" y="2815"/>
                    </a:lnTo>
                    <a:lnTo>
                      <a:pt x="2294" y="2809"/>
                    </a:lnTo>
                    <a:lnTo>
                      <a:pt x="2288" y="2803"/>
                    </a:lnTo>
                    <a:lnTo>
                      <a:pt x="2282" y="2796"/>
                    </a:lnTo>
                    <a:lnTo>
                      <a:pt x="2276" y="2788"/>
                    </a:lnTo>
                    <a:lnTo>
                      <a:pt x="2269" y="2779"/>
                    </a:lnTo>
                    <a:lnTo>
                      <a:pt x="2254" y="2784"/>
                    </a:lnTo>
                    <a:lnTo>
                      <a:pt x="2240" y="2789"/>
                    </a:lnTo>
                    <a:lnTo>
                      <a:pt x="2226" y="2796"/>
                    </a:lnTo>
                    <a:lnTo>
                      <a:pt x="2215" y="2803"/>
                    </a:lnTo>
                    <a:lnTo>
                      <a:pt x="2193" y="2820"/>
                    </a:lnTo>
                    <a:lnTo>
                      <a:pt x="2172" y="2838"/>
                    </a:lnTo>
                    <a:lnTo>
                      <a:pt x="2152" y="2856"/>
                    </a:lnTo>
                    <a:lnTo>
                      <a:pt x="2130" y="2873"/>
                    </a:lnTo>
                    <a:lnTo>
                      <a:pt x="2120" y="2880"/>
                    </a:lnTo>
                    <a:lnTo>
                      <a:pt x="2107" y="2887"/>
                    </a:lnTo>
                    <a:lnTo>
                      <a:pt x="2094" y="2893"/>
                    </a:lnTo>
                    <a:lnTo>
                      <a:pt x="2081" y="2897"/>
                    </a:lnTo>
                    <a:lnTo>
                      <a:pt x="2071" y="2900"/>
                    </a:lnTo>
                    <a:lnTo>
                      <a:pt x="2062" y="2900"/>
                    </a:lnTo>
                    <a:lnTo>
                      <a:pt x="2051" y="2900"/>
                    </a:lnTo>
                    <a:lnTo>
                      <a:pt x="2040" y="2901"/>
                    </a:lnTo>
                    <a:lnTo>
                      <a:pt x="2035" y="2902"/>
                    </a:lnTo>
                    <a:lnTo>
                      <a:pt x="2030" y="2903"/>
                    </a:lnTo>
                    <a:lnTo>
                      <a:pt x="2026" y="2904"/>
                    </a:lnTo>
                    <a:lnTo>
                      <a:pt x="2022" y="2908"/>
                    </a:lnTo>
                    <a:lnTo>
                      <a:pt x="2018" y="2910"/>
                    </a:lnTo>
                    <a:lnTo>
                      <a:pt x="2015" y="2914"/>
                    </a:lnTo>
                    <a:lnTo>
                      <a:pt x="2013" y="2919"/>
                    </a:lnTo>
                    <a:lnTo>
                      <a:pt x="2011" y="2925"/>
                    </a:lnTo>
                    <a:lnTo>
                      <a:pt x="2012" y="2953"/>
                    </a:lnTo>
                    <a:lnTo>
                      <a:pt x="2015" y="2979"/>
                    </a:lnTo>
                    <a:lnTo>
                      <a:pt x="2020" y="3004"/>
                    </a:lnTo>
                    <a:lnTo>
                      <a:pt x="2024" y="3029"/>
                    </a:lnTo>
                    <a:lnTo>
                      <a:pt x="2030" y="3053"/>
                    </a:lnTo>
                    <a:lnTo>
                      <a:pt x="2035" y="3077"/>
                    </a:lnTo>
                    <a:lnTo>
                      <a:pt x="2037" y="3101"/>
                    </a:lnTo>
                    <a:lnTo>
                      <a:pt x="2038" y="3127"/>
                    </a:lnTo>
                    <a:lnTo>
                      <a:pt x="2039" y="3146"/>
                    </a:lnTo>
                    <a:lnTo>
                      <a:pt x="2039" y="3170"/>
                    </a:lnTo>
                    <a:lnTo>
                      <a:pt x="2040" y="3198"/>
                    </a:lnTo>
                    <a:lnTo>
                      <a:pt x="2040" y="3229"/>
                    </a:lnTo>
                    <a:lnTo>
                      <a:pt x="2040" y="3262"/>
                    </a:lnTo>
                    <a:lnTo>
                      <a:pt x="2038" y="3294"/>
                    </a:lnTo>
                    <a:lnTo>
                      <a:pt x="2036" y="3327"/>
                    </a:lnTo>
                    <a:lnTo>
                      <a:pt x="2031" y="3357"/>
                    </a:lnTo>
                    <a:lnTo>
                      <a:pt x="1893" y="3357"/>
                    </a:lnTo>
                    <a:lnTo>
                      <a:pt x="1893" y="3347"/>
                    </a:lnTo>
                    <a:lnTo>
                      <a:pt x="1893" y="3339"/>
                    </a:lnTo>
                    <a:lnTo>
                      <a:pt x="1893" y="3328"/>
                    </a:lnTo>
                    <a:lnTo>
                      <a:pt x="1893" y="3318"/>
                    </a:lnTo>
                    <a:lnTo>
                      <a:pt x="1893" y="3303"/>
                    </a:lnTo>
                    <a:lnTo>
                      <a:pt x="1893" y="3285"/>
                    </a:lnTo>
                    <a:lnTo>
                      <a:pt x="1893" y="3262"/>
                    </a:lnTo>
                    <a:lnTo>
                      <a:pt x="1893" y="3231"/>
                    </a:lnTo>
                    <a:lnTo>
                      <a:pt x="1891" y="3218"/>
                    </a:lnTo>
                    <a:lnTo>
                      <a:pt x="1889" y="3205"/>
                    </a:lnTo>
                    <a:lnTo>
                      <a:pt x="1886" y="3192"/>
                    </a:lnTo>
                    <a:lnTo>
                      <a:pt x="1880" y="3179"/>
                    </a:lnTo>
                    <a:lnTo>
                      <a:pt x="1877" y="3174"/>
                    </a:lnTo>
                    <a:lnTo>
                      <a:pt x="1873" y="3168"/>
                    </a:lnTo>
                    <a:lnTo>
                      <a:pt x="1868" y="3163"/>
                    </a:lnTo>
                    <a:lnTo>
                      <a:pt x="1863" y="3159"/>
                    </a:lnTo>
                    <a:lnTo>
                      <a:pt x="1857" y="3155"/>
                    </a:lnTo>
                    <a:lnTo>
                      <a:pt x="1851" y="3152"/>
                    </a:lnTo>
                    <a:lnTo>
                      <a:pt x="1844" y="3150"/>
                    </a:lnTo>
                    <a:lnTo>
                      <a:pt x="1836" y="3148"/>
                    </a:lnTo>
                    <a:lnTo>
                      <a:pt x="1832" y="3148"/>
                    </a:lnTo>
                    <a:lnTo>
                      <a:pt x="1827" y="3151"/>
                    </a:lnTo>
                    <a:lnTo>
                      <a:pt x="1823" y="3154"/>
                    </a:lnTo>
                    <a:lnTo>
                      <a:pt x="1819" y="3158"/>
                    </a:lnTo>
                    <a:lnTo>
                      <a:pt x="1811" y="3168"/>
                    </a:lnTo>
                    <a:lnTo>
                      <a:pt x="1804" y="3178"/>
                    </a:lnTo>
                    <a:lnTo>
                      <a:pt x="1797" y="3190"/>
                    </a:lnTo>
                    <a:lnTo>
                      <a:pt x="1788" y="3198"/>
                    </a:lnTo>
                    <a:lnTo>
                      <a:pt x="1784" y="3201"/>
                    </a:lnTo>
                    <a:lnTo>
                      <a:pt x="1779" y="3203"/>
                    </a:lnTo>
                    <a:lnTo>
                      <a:pt x="1773" y="3205"/>
                    </a:lnTo>
                    <a:lnTo>
                      <a:pt x="1768" y="3203"/>
                    </a:lnTo>
                    <a:lnTo>
                      <a:pt x="1763" y="3203"/>
                    </a:lnTo>
                    <a:lnTo>
                      <a:pt x="1760" y="3202"/>
                    </a:lnTo>
                    <a:lnTo>
                      <a:pt x="1757" y="3200"/>
                    </a:lnTo>
                    <a:lnTo>
                      <a:pt x="1754" y="3198"/>
                    </a:lnTo>
                    <a:lnTo>
                      <a:pt x="1749" y="3192"/>
                    </a:lnTo>
                    <a:lnTo>
                      <a:pt x="1746" y="3184"/>
                    </a:lnTo>
                    <a:lnTo>
                      <a:pt x="1742" y="3175"/>
                    </a:lnTo>
                    <a:lnTo>
                      <a:pt x="1740" y="3166"/>
                    </a:lnTo>
                    <a:lnTo>
                      <a:pt x="1740" y="3156"/>
                    </a:lnTo>
                    <a:lnTo>
                      <a:pt x="1739" y="3148"/>
                    </a:lnTo>
                    <a:lnTo>
                      <a:pt x="1726" y="3151"/>
                    </a:lnTo>
                    <a:lnTo>
                      <a:pt x="1715" y="3154"/>
                    </a:lnTo>
                    <a:lnTo>
                      <a:pt x="1703" y="3159"/>
                    </a:lnTo>
                    <a:lnTo>
                      <a:pt x="1692" y="3164"/>
                    </a:lnTo>
                    <a:lnTo>
                      <a:pt x="1682" y="3171"/>
                    </a:lnTo>
                    <a:lnTo>
                      <a:pt x="1672" y="3178"/>
                    </a:lnTo>
                    <a:lnTo>
                      <a:pt x="1663" y="3187"/>
                    </a:lnTo>
                    <a:lnTo>
                      <a:pt x="1655" y="3197"/>
                    </a:lnTo>
                    <a:lnTo>
                      <a:pt x="1641" y="3190"/>
                    </a:lnTo>
                    <a:lnTo>
                      <a:pt x="1630" y="3183"/>
                    </a:lnTo>
                    <a:lnTo>
                      <a:pt x="1621" y="3176"/>
                    </a:lnTo>
                    <a:lnTo>
                      <a:pt x="1614" y="3168"/>
                    </a:lnTo>
                    <a:lnTo>
                      <a:pt x="1604" y="3153"/>
                    </a:lnTo>
                    <a:lnTo>
                      <a:pt x="1593" y="3138"/>
                    </a:lnTo>
                    <a:lnTo>
                      <a:pt x="1589" y="3132"/>
                    </a:lnTo>
                    <a:lnTo>
                      <a:pt x="1582" y="3125"/>
                    </a:lnTo>
                    <a:lnTo>
                      <a:pt x="1575" y="3120"/>
                    </a:lnTo>
                    <a:lnTo>
                      <a:pt x="1565" y="3115"/>
                    </a:lnTo>
                    <a:lnTo>
                      <a:pt x="1552" y="3112"/>
                    </a:lnTo>
                    <a:lnTo>
                      <a:pt x="1537" y="3108"/>
                    </a:lnTo>
                    <a:lnTo>
                      <a:pt x="1518" y="3107"/>
                    </a:lnTo>
                    <a:lnTo>
                      <a:pt x="1496" y="3106"/>
                    </a:lnTo>
                    <a:lnTo>
                      <a:pt x="1482" y="3107"/>
                    </a:lnTo>
                    <a:lnTo>
                      <a:pt x="1466" y="3109"/>
                    </a:lnTo>
                    <a:lnTo>
                      <a:pt x="1447" y="3113"/>
                    </a:lnTo>
                    <a:lnTo>
                      <a:pt x="1426" y="3117"/>
                    </a:lnTo>
                    <a:lnTo>
                      <a:pt x="1403" y="3124"/>
                    </a:lnTo>
                    <a:lnTo>
                      <a:pt x="1380" y="3131"/>
                    </a:lnTo>
                    <a:lnTo>
                      <a:pt x="1356" y="3138"/>
                    </a:lnTo>
                    <a:lnTo>
                      <a:pt x="1333" y="3147"/>
                    </a:lnTo>
                    <a:lnTo>
                      <a:pt x="1310" y="3156"/>
                    </a:lnTo>
                    <a:lnTo>
                      <a:pt x="1288" y="3166"/>
                    </a:lnTo>
                    <a:lnTo>
                      <a:pt x="1269" y="3176"/>
                    </a:lnTo>
                    <a:lnTo>
                      <a:pt x="1252" y="3185"/>
                    </a:lnTo>
                    <a:lnTo>
                      <a:pt x="1238" y="3195"/>
                    </a:lnTo>
                    <a:lnTo>
                      <a:pt x="1226" y="3206"/>
                    </a:lnTo>
                    <a:lnTo>
                      <a:pt x="1222" y="3210"/>
                    </a:lnTo>
                    <a:lnTo>
                      <a:pt x="1220" y="3215"/>
                    </a:lnTo>
                    <a:lnTo>
                      <a:pt x="1217" y="3220"/>
                    </a:lnTo>
                    <a:lnTo>
                      <a:pt x="1217" y="3224"/>
                    </a:lnTo>
                    <a:lnTo>
                      <a:pt x="1218" y="3233"/>
                    </a:lnTo>
                    <a:lnTo>
                      <a:pt x="1222" y="3241"/>
                    </a:lnTo>
                    <a:lnTo>
                      <a:pt x="1226" y="3252"/>
                    </a:lnTo>
                    <a:lnTo>
                      <a:pt x="1233" y="3261"/>
                    </a:lnTo>
                    <a:lnTo>
                      <a:pt x="1241" y="3271"/>
                    </a:lnTo>
                    <a:lnTo>
                      <a:pt x="1251" y="3281"/>
                    </a:lnTo>
                    <a:lnTo>
                      <a:pt x="1260" y="3292"/>
                    </a:lnTo>
                    <a:lnTo>
                      <a:pt x="1271" y="3302"/>
                    </a:lnTo>
                    <a:lnTo>
                      <a:pt x="1294" y="3322"/>
                    </a:lnTo>
                    <a:lnTo>
                      <a:pt x="1317" y="3339"/>
                    </a:lnTo>
                    <a:lnTo>
                      <a:pt x="1339" y="3354"/>
                    </a:lnTo>
                    <a:lnTo>
                      <a:pt x="1356" y="3364"/>
                    </a:lnTo>
                    <a:lnTo>
                      <a:pt x="1364" y="3365"/>
                    </a:lnTo>
                    <a:lnTo>
                      <a:pt x="1375" y="3367"/>
                    </a:lnTo>
                    <a:lnTo>
                      <a:pt x="1389" y="3371"/>
                    </a:lnTo>
                    <a:lnTo>
                      <a:pt x="1403" y="3374"/>
                    </a:lnTo>
                    <a:lnTo>
                      <a:pt x="1417" y="3378"/>
                    </a:lnTo>
                    <a:lnTo>
                      <a:pt x="1428" y="3381"/>
                    </a:lnTo>
                    <a:lnTo>
                      <a:pt x="1437" y="3384"/>
                    </a:lnTo>
                    <a:lnTo>
                      <a:pt x="1440" y="3385"/>
                    </a:lnTo>
                    <a:lnTo>
                      <a:pt x="1440" y="3392"/>
                    </a:lnTo>
                    <a:lnTo>
                      <a:pt x="1439" y="3397"/>
                    </a:lnTo>
                    <a:lnTo>
                      <a:pt x="1437" y="3403"/>
                    </a:lnTo>
                    <a:lnTo>
                      <a:pt x="1435" y="3409"/>
                    </a:lnTo>
                    <a:lnTo>
                      <a:pt x="1433" y="3415"/>
                    </a:lnTo>
                    <a:lnTo>
                      <a:pt x="1429" y="3420"/>
                    </a:lnTo>
                    <a:lnTo>
                      <a:pt x="1426" y="3425"/>
                    </a:lnTo>
                    <a:lnTo>
                      <a:pt x="1421" y="3429"/>
                    </a:lnTo>
                    <a:lnTo>
                      <a:pt x="1417" y="3433"/>
                    </a:lnTo>
                    <a:lnTo>
                      <a:pt x="1412" y="3436"/>
                    </a:lnTo>
                    <a:lnTo>
                      <a:pt x="1408" y="3440"/>
                    </a:lnTo>
                    <a:lnTo>
                      <a:pt x="1402" y="3442"/>
                    </a:lnTo>
                    <a:lnTo>
                      <a:pt x="1396" y="3444"/>
                    </a:lnTo>
                    <a:lnTo>
                      <a:pt x="1390" y="3447"/>
                    </a:lnTo>
                    <a:lnTo>
                      <a:pt x="1384" y="3447"/>
                    </a:lnTo>
                    <a:lnTo>
                      <a:pt x="1377" y="3448"/>
                    </a:lnTo>
                    <a:lnTo>
                      <a:pt x="1363" y="3447"/>
                    </a:lnTo>
                    <a:lnTo>
                      <a:pt x="1346" y="3445"/>
                    </a:lnTo>
                    <a:lnTo>
                      <a:pt x="1327" y="3444"/>
                    </a:lnTo>
                    <a:lnTo>
                      <a:pt x="1309" y="3442"/>
                    </a:lnTo>
                    <a:lnTo>
                      <a:pt x="1289" y="3441"/>
                    </a:lnTo>
                    <a:lnTo>
                      <a:pt x="1272" y="3442"/>
                    </a:lnTo>
                    <a:lnTo>
                      <a:pt x="1264" y="3442"/>
                    </a:lnTo>
                    <a:lnTo>
                      <a:pt x="1257" y="3443"/>
                    </a:lnTo>
                    <a:lnTo>
                      <a:pt x="1251" y="3445"/>
                    </a:lnTo>
                    <a:lnTo>
                      <a:pt x="1245" y="3448"/>
                    </a:lnTo>
                    <a:lnTo>
                      <a:pt x="1242" y="3455"/>
                    </a:lnTo>
                    <a:lnTo>
                      <a:pt x="1242" y="3463"/>
                    </a:lnTo>
                    <a:lnTo>
                      <a:pt x="1241" y="3471"/>
                    </a:lnTo>
                    <a:lnTo>
                      <a:pt x="1242" y="3479"/>
                    </a:lnTo>
                    <a:lnTo>
                      <a:pt x="1242" y="3489"/>
                    </a:lnTo>
                    <a:lnTo>
                      <a:pt x="1244" y="3501"/>
                    </a:lnTo>
                    <a:lnTo>
                      <a:pt x="1245" y="3514"/>
                    </a:lnTo>
                    <a:lnTo>
                      <a:pt x="1245" y="3531"/>
                    </a:lnTo>
                    <a:lnTo>
                      <a:pt x="1197" y="3531"/>
                    </a:lnTo>
                    <a:lnTo>
                      <a:pt x="1176" y="3520"/>
                    </a:lnTo>
                    <a:lnTo>
                      <a:pt x="1153" y="3510"/>
                    </a:lnTo>
                    <a:lnTo>
                      <a:pt x="1129" y="3498"/>
                    </a:lnTo>
                    <a:lnTo>
                      <a:pt x="1106" y="3484"/>
                    </a:lnTo>
                    <a:lnTo>
                      <a:pt x="1095" y="3478"/>
                    </a:lnTo>
                    <a:lnTo>
                      <a:pt x="1085" y="3471"/>
                    </a:lnTo>
                    <a:lnTo>
                      <a:pt x="1076" y="3463"/>
                    </a:lnTo>
                    <a:lnTo>
                      <a:pt x="1069" y="3454"/>
                    </a:lnTo>
                    <a:lnTo>
                      <a:pt x="1062" y="3444"/>
                    </a:lnTo>
                    <a:lnTo>
                      <a:pt x="1059" y="3435"/>
                    </a:lnTo>
                    <a:lnTo>
                      <a:pt x="1058" y="3429"/>
                    </a:lnTo>
                    <a:lnTo>
                      <a:pt x="1057" y="3424"/>
                    </a:lnTo>
                    <a:lnTo>
                      <a:pt x="1057" y="3418"/>
                    </a:lnTo>
                    <a:lnTo>
                      <a:pt x="1057" y="3412"/>
                    </a:lnTo>
                    <a:lnTo>
                      <a:pt x="1057" y="3411"/>
                    </a:lnTo>
                    <a:lnTo>
                      <a:pt x="1057" y="3405"/>
                    </a:lnTo>
                    <a:lnTo>
                      <a:pt x="1057" y="3397"/>
                    </a:lnTo>
                    <a:lnTo>
                      <a:pt x="1057" y="3387"/>
                    </a:lnTo>
                    <a:lnTo>
                      <a:pt x="1057" y="3376"/>
                    </a:lnTo>
                    <a:lnTo>
                      <a:pt x="1057" y="3363"/>
                    </a:lnTo>
                    <a:lnTo>
                      <a:pt x="1057" y="3349"/>
                    </a:lnTo>
                    <a:lnTo>
                      <a:pt x="1057" y="3337"/>
                    </a:lnTo>
                    <a:lnTo>
                      <a:pt x="1057" y="3322"/>
                    </a:lnTo>
                    <a:lnTo>
                      <a:pt x="1056" y="3308"/>
                    </a:lnTo>
                    <a:lnTo>
                      <a:pt x="1053" y="3295"/>
                    </a:lnTo>
                    <a:lnTo>
                      <a:pt x="1050" y="3283"/>
                    </a:lnTo>
                    <a:lnTo>
                      <a:pt x="1046" y="3271"/>
                    </a:lnTo>
                    <a:lnTo>
                      <a:pt x="1042" y="3261"/>
                    </a:lnTo>
                    <a:lnTo>
                      <a:pt x="1037" y="3251"/>
                    </a:lnTo>
                    <a:lnTo>
                      <a:pt x="1032" y="3241"/>
                    </a:lnTo>
                    <a:lnTo>
                      <a:pt x="1026" y="3233"/>
                    </a:lnTo>
                    <a:lnTo>
                      <a:pt x="1020" y="3225"/>
                    </a:lnTo>
                    <a:lnTo>
                      <a:pt x="1013" y="3220"/>
                    </a:lnTo>
                    <a:lnTo>
                      <a:pt x="1007" y="3214"/>
                    </a:lnTo>
                    <a:lnTo>
                      <a:pt x="1001" y="3209"/>
                    </a:lnTo>
                    <a:lnTo>
                      <a:pt x="994" y="3206"/>
                    </a:lnTo>
                    <a:lnTo>
                      <a:pt x="987" y="3205"/>
                    </a:lnTo>
                    <a:lnTo>
                      <a:pt x="980" y="3203"/>
                    </a:lnTo>
                    <a:lnTo>
                      <a:pt x="978" y="3203"/>
                    </a:lnTo>
                    <a:lnTo>
                      <a:pt x="973" y="3203"/>
                    </a:lnTo>
                    <a:lnTo>
                      <a:pt x="968" y="3203"/>
                    </a:lnTo>
                    <a:lnTo>
                      <a:pt x="963" y="3203"/>
                    </a:lnTo>
                    <a:lnTo>
                      <a:pt x="958" y="3203"/>
                    </a:lnTo>
                    <a:lnTo>
                      <a:pt x="952" y="3203"/>
                    </a:lnTo>
                    <a:lnTo>
                      <a:pt x="949" y="3203"/>
                    </a:lnTo>
                    <a:lnTo>
                      <a:pt x="946" y="3203"/>
                    </a:lnTo>
                    <a:lnTo>
                      <a:pt x="936" y="3203"/>
                    </a:lnTo>
                    <a:lnTo>
                      <a:pt x="928" y="3201"/>
                    </a:lnTo>
                    <a:lnTo>
                      <a:pt x="921" y="3198"/>
                    </a:lnTo>
                    <a:lnTo>
                      <a:pt x="915" y="3194"/>
                    </a:lnTo>
                    <a:lnTo>
                      <a:pt x="909" y="3190"/>
                    </a:lnTo>
                    <a:lnTo>
                      <a:pt x="903" y="3184"/>
                    </a:lnTo>
                    <a:lnTo>
                      <a:pt x="899" y="3177"/>
                    </a:lnTo>
                    <a:lnTo>
                      <a:pt x="894" y="3170"/>
                    </a:lnTo>
                    <a:lnTo>
                      <a:pt x="886" y="3154"/>
                    </a:lnTo>
                    <a:lnTo>
                      <a:pt x="880" y="3136"/>
                    </a:lnTo>
                    <a:lnTo>
                      <a:pt x="874" y="3117"/>
                    </a:lnTo>
                    <a:lnTo>
                      <a:pt x="869" y="3099"/>
                    </a:lnTo>
                    <a:lnTo>
                      <a:pt x="814" y="3092"/>
                    </a:lnTo>
                    <a:lnTo>
                      <a:pt x="811" y="3093"/>
                    </a:lnTo>
                    <a:lnTo>
                      <a:pt x="806" y="3096"/>
                    </a:lnTo>
                    <a:lnTo>
                      <a:pt x="798" y="3099"/>
                    </a:lnTo>
                    <a:lnTo>
                      <a:pt x="788" y="3103"/>
                    </a:lnTo>
                    <a:lnTo>
                      <a:pt x="778" y="3105"/>
                    </a:lnTo>
                    <a:lnTo>
                      <a:pt x="769" y="3104"/>
                    </a:lnTo>
                    <a:lnTo>
                      <a:pt x="766" y="3103"/>
                    </a:lnTo>
                    <a:lnTo>
                      <a:pt x="762" y="3100"/>
                    </a:lnTo>
                    <a:lnTo>
                      <a:pt x="760" y="3097"/>
                    </a:lnTo>
                    <a:lnTo>
                      <a:pt x="758" y="3092"/>
                    </a:lnTo>
                    <a:lnTo>
                      <a:pt x="749" y="3066"/>
                    </a:lnTo>
                    <a:lnTo>
                      <a:pt x="739" y="3034"/>
                    </a:lnTo>
                    <a:lnTo>
                      <a:pt x="727" y="2999"/>
                    </a:lnTo>
                    <a:lnTo>
                      <a:pt x="713" y="2964"/>
                    </a:lnTo>
                    <a:lnTo>
                      <a:pt x="704" y="2947"/>
                    </a:lnTo>
                    <a:lnTo>
                      <a:pt x="696" y="2929"/>
                    </a:lnTo>
                    <a:lnTo>
                      <a:pt x="685" y="2913"/>
                    </a:lnTo>
                    <a:lnTo>
                      <a:pt x="675" y="2898"/>
                    </a:lnTo>
                    <a:lnTo>
                      <a:pt x="663" y="2885"/>
                    </a:lnTo>
                    <a:lnTo>
                      <a:pt x="652" y="2873"/>
                    </a:lnTo>
                    <a:lnTo>
                      <a:pt x="645" y="2867"/>
                    </a:lnTo>
                    <a:lnTo>
                      <a:pt x="639" y="2863"/>
                    </a:lnTo>
                    <a:lnTo>
                      <a:pt x="633" y="2859"/>
                    </a:lnTo>
                    <a:lnTo>
                      <a:pt x="626" y="2856"/>
                    </a:lnTo>
                    <a:lnTo>
                      <a:pt x="600" y="2845"/>
                    </a:lnTo>
                    <a:lnTo>
                      <a:pt x="576" y="2834"/>
                    </a:lnTo>
                    <a:lnTo>
                      <a:pt x="566" y="2828"/>
                    </a:lnTo>
                    <a:lnTo>
                      <a:pt x="556" y="2822"/>
                    </a:lnTo>
                    <a:lnTo>
                      <a:pt x="545" y="2815"/>
                    </a:lnTo>
                    <a:lnTo>
                      <a:pt x="536" y="2808"/>
                    </a:lnTo>
                    <a:lnTo>
                      <a:pt x="527" y="2800"/>
                    </a:lnTo>
                    <a:lnTo>
                      <a:pt x="519" y="2792"/>
                    </a:lnTo>
                    <a:lnTo>
                      <a:pt x="511" y="2783"/>
                    </a:lnTo>
                    <a:lnTo>
                      <a:pt x="504" y="2772"/>
                    </a:lnTo>
                    <a:lnTo>
                      <a:pt x="497" y="2762"/>
                    </a:lnTo>
                    <a:lnTo>
                      <a:pt x="490" y="2749"/>
                    </a:lnTo>
                    <a:lnTo>
                      <a:pt x="485" y="2737"/>
                    </a:lnTo>
                    <a:lnTo>
                      <a:pt x="479" y="2723"/>
                    </a:lnTo>
                    <a:lnTo>
                      <a:pt x="469" y="2722"/>
                    </a:lnTo>
                    <a:lnTo>
                      <a:pt x="461" y="2722"/>
                    </a:lnTo>
                    <a:lnTo>
                      <a:pt x="453" y="2724"/>
                    </a:lnTo>
                    <a:lnTo>
                      <a:pt x="445" y="2728"/>
                    </a:lnTo>
                    <a:lnTo>
                      <a:pt x="438" y="2733"/>
                    </a:lnTo>
                    <a:lnTo>
                      <a:pt x="431" y="2740"/>
                    </a:lnTo>
                    <a:lnTo>
                      <a:pt x="424" y="2748"/>
                    </a:lnTo>
                    <a:lnTo>
                      <a:pt x="416" y="2758"/>
                    </a:lnTo>
                    <a:lnTo>
                      <a:pt x="409" y="2755"/>
                    </a:lnTo>
                    <a:lnTo>
                      <a:pt x="402" y="2750"/>
                    </a:lnTo>
                    <a:lnTo>
                      <a:pt x="395" y="2745"/>
                    </a:lnTo>
                    <a:lnTo>
                      <a:pt x="389" y="2738"/>
                    </a:lnTo>
                    <a:lnTo>
                      <a:pt x="384" y="2730"/>
                    </a:lnTo>
                    <a:lnTo>
                      <a:pt x="378" y="2722"/>
                    </a:lnTo>
                    <a:lnTo>
                      <a:pt x="372" y="2713"/>
                    </a:lnTo>
                    <a:lnTo>
                      <a:pt x="368" y="2702"/>
                    </a:lnTo>
                    <a:lnTo>
                      <a:pt x="350" y="2708"/>
                    </a:lnTo>
                    <a:lnTo>
                      <a:pt x="336" y="2715"/>
                    </a:lnTo>
                    <a:lnTo>
                      <a:pt x="322" y="2723"/>
                    </a:lnTo>
                    <a:lnTo>
                      <a:pt x="309" y="2732"/>
                    </a:lnTo>
                    <a:lnTo>
                      <a:pt x="297" y="2741"/>
                    </a:lnTo>
                    <a:lnTo>
                      <a:pt x="284" y="2752"/>
                    </a:lnTo>
                    <a:lnTo>
                      <a:pt x="271" y="2762"/>
                    </a:lnTo>
                    <a:lnTo>
                      <a:pt x="256" y="2772"/>
                    </a:lnTo>
                    <a:lnTo>
                      <a:pt x="255" y="2749"/>
                    </a:lnTo>
                    <a:lnTo>
                      <a:pt x="252" y="2728"/>
                    </a:lnTo>
                    <a:lnTo>
                      <a:pt x="247" y="2707"/>
                    </a:lnTo>
                    <a:lnTo>
                      <a:pt x="243" y="2686"/>
                    </a:lnTo>
                    <a:lnTo>
                      <a:pt x="237" y="2667"/>
                    </a:lnTo>
                    <a:lnTo>
                      <a:pt x="232" y="2648"/>
                    </a:lnTo>
                    <a:lnTo>
                      <a:pt x="229" y="2630"/>
                    </a:lnTo>
                    <a:lnTo>
                      <a:pt x="228" y="2612"/>
                    </a:lnTo>
                    <a:lnTo>
                      <a:pt x="230" y="2603"/>
                    </a:lnTo>
                    <a:lnTo>
                      <a:pt x="234" y="2596"/>
                    </a:lnTo>
                    <a:lnTo>
                      <a:pt x="237" y="2589"/>
                    </a:lnTo>
                    <a:lnTo>
                      <a:pt x="242" y="2582"/>
                    </a:lnTo>
                    <a:lnTo>
                      <a:pt x="253" y="2572"/>
                    </a:lnTo>
                    <a:lnTo>
                      <a:pt x="266" y="2562"/>
                    </a:lnTo>
                    <a:lnTo>
                      <a:pt x="278" y="2554"/>
                    </a:lnTo>
                    <a:lnTo>
                      <a:pt x="289" y="2546"/>
                    </a:lnTo>
                    <a:lnTo>
                      <a:pt x="292" y="2542"/>
                    </a:lnTo>
                    <a:lnTo>
                      <a:pt x="295" y="2538"/>
                    </a:lnTo>
                    <a:lnTo>
                      <a:pt x="298" y="2534"/>
                    </a:lnTo>
                    <a:lnTo>
                      <a:pt x="298" y="2528"/>
                    </a:lnTo>
                    <a:lnTo>
                      <a:pt x="298" y="2519"/>
                    </a:lnTo>
                    <a:lnTo>
                      <a:pt x="297" y="2511"/>
                    </a:lnTo>
                    <a:lnTo>
                      <a:pt x="295" y="2503"/>
                    </a:lnTo>
                    <a:lnTo>
                      <a:pt x="293" y="2496"/>
                    </a:lnTo>
                    <a:lnTo>
                      <a:pt x="290" y="2489"/>
                    </a:lnTo>
                    <a:lnTo>
                      <a:pt x="286" y="2482"/>
                    </a:lnTo>
                    <a:lnTo>
                      <a:pt x="282" y="2476"/>
                    </a:lnTo>
                    <a:lnTo>
                      <a:pt x="277" y="2472"/>
                    </a:lnTo>
                    <a:lnTo>
                      <a:pt x="271" y="2467"/>
                    </a:lnTo>
                    <a:lnTo>
                      <a:pt x="266" y="2463"/>
                    </a:lnTo>
                    <a:lnTo>
                      <a:pt x="259" y="2459"/>
                    </a:lnTo>
                    <a:lnTo>
                      <a:pt x="251" y="2457"/>
                    </a:lnTo>
                    <a:lnTo>
                      <a:pt x="243" y="2455"/>
                    </a:lnTo>
                    <a:lnTo>
                      <a:pt x="234" y="2452"/>
                    </a:lnTo>
                    <a:lnTo>
                      <a:pt x="224" y="2452"/>
                    </a:lnTo>
                    <a:lnTo>
                      <a:pt x="214" y="2451"/>
                    </a:lnTo>
                    <a:lnTo>
                      <a:pt x="201" y="2451"/>
                    </a:lnTo>
                    <a:lnTo>
                      <a:pt x="190" y="2452"/>
                    </a:lnTo>
                    <a:lnTo>
                      <a:pt x="179" y="2456"/>
                    </a:lnTo>
                    <a:lnTo>
                      <a:pt x="168" y="2459"/>
                    </a:lnTo>
                    <a:lnTo>
                      <a:pt x="158" y="2465"/>
                    </a:lnTo>
                    <a:lnTo>
                      <a:pt x="149" y="2471"/>
                    </a:lnTo>
                    <a:lnTo>
                      <a:pt x="138" y="2478"/>
                    </a:lnTo>
                    <a:lnTo>
                      <a:pt x="130" y="2483"/>
                    </a:lnTo>
                    <a:lnTo>
                      <a:pt x="113" y="2497"/>
                    </a:lnTo>
                    <a:lnTo>
                      <a:pt x="96" y="2510"/>
                    </a:lnTo>
                    <a:lnTo>
                      <a:pt x="88" y="2514"/>
                    </a:lnTo>
                    <a:lnTo>
                      <a:pt x="79" y="2518"/>
                    </a:lnTo>
                    <a:lnTo>
                      <a:pt x="71" y="2520"/>
                    </a:lnTo>
                    <a:lnTo>
                      <a:pt x="62" y="2521"/>
                    </a:lnTo>
                    <a:lnTo>
                      <a:pt x="52" y="2521"/>
                    </a:lnTo>
                    <a:lnTo>
                      <a:pt x="43" y="2519"/>
                    </a:lnTo>
                    <a:lnTo>
                      <a:pt x="34" y="2515"/>
                    </a:lnTo>
                    <a:lnTo>
                      <a:pt x="26" y="2510"/>
                    </a:lnTo>
                    <a:lnTo>
                      <a:pt x="21" y="2506"/>
                    </a:lnTo>
                    <a:lnTo>
                      <a:pt x="18" y="2503"/>
                    </a:lnTo>
                    <a:lnTo>
                      <a:pt x="15" y="2499"/>
                    </a:lnTo>
                    <a:lnTo>
                      <a:pt x="11" y="2495"/>
                    </a:lnTo>
                    <a:lnTo>
                      <a:pt x="9" y="2490"/>
                    </a:lnTo>
                    <a:lnTo>
                      <a:pt x="7" y="2484"/>
                    </a:lnTo>
                    <a:lnTo>
                      <a:pt x="5" y="2479"/>
                    </a:lnTo>
                    <a:lnTo>
                      <a:pt x="5" y="2473"/>
                    </a:lnTo>
                    <a:lnTo>
                      <a:pt x="7" y="2456"/>
                    </a:lnTo>
                    <a:lnTo>
                      <a:pt x="9" y="2441"/>
                    </a:lnTo>
                    <a:lnTo>
                      <a:pt x="13" y="2427"/>
                    </a:lnTo>
                    <a:lnTo>
                      <a:pt x="18" y="2414"/>
                    </a:lnTo>
                    <a:lnTo>
                      <a:pt x="25" y="2403"/>
                    </a:lnTo>
                    <a:lnTo>
                      <a:pt x="32" y="2391"/>
                    </a:lnTo>
                    <a:lnTo>
                      <a:pt x="40" y="2380"/>
                    </a:lnTo>
                    <a:lnTo>
                      <a:pt x="48" y="2370"/>
                    </a:lnTo>
                    <a:lnTo>
                      <a:pt x="63" y="2349"/>
                    </a:lnTo>
                    <a:lnTo>
                      <a:pt x="76" y="2327"/>
                    </a:lnTo>
                    <a:lnTo>
                      <a:pt x="81" y="2316"/>
                    </a:lnTo>
                    <a:lnTo>
                      <a:pt x="86" y="2304"/>
                    </a:lnTo>
                    <a:lnTo>
                      <a:pt x="88" y="2292"/>
                    </a:lnTo>
                    <a:lnTo>
                      <a:pt x="89" y="2278"/>
                    </a:lnTo>
                    <a:lnTo>
                      <a:pt x="90" y="2271"/>
                    </a:lnTo>
                    <a:lnTo>
                      <a:pt x="89" y="2265"/>
                    </a:lnTo>
                    <a:lnTo>
                      <a:pt x="88" y="2260"/>
                    </a:lnTo>
                    <a:lnTo>
                      <a:pt x="87" y="2255"/>
                    </a:lnTo>
                    <a:lnTo>
                      <a:pt x="81" y="2245"/>
                    </a:lnTo>
                    <a:lnTo>
                      <a:pt x="74" y="2237"/>
                    </a:lnTo>
                    <a:lnTo>
                      <a:pt x="67" y="2229"/>
                    </a:lnTo>
                    <a:lnTo>
                      <a:pt x="60" y="2219"/>
                    </a:lnTo>
                    <a:lnTo>
                      <a:pt x="58" y="2215"/>
                    </a:lnTo>
                    <a:lnTo>
                      <a:pt x="56" y="2210"/>
                    </a:lnTo>
                    <a:lnTo>
                      <a:pt x="55" y="2206"/>
                    </a:lnTo>
                    <a:lnTo>
                      <a:pt x="55" y="2201"/>
                    </a:lnTo>
                    <a:lnTo>
                      <a:pt x="55" y="2192"/>
                    </a:lnTo>
                    <a:lnTo>
                      <a:pt x="56" y="2184"/>
                    </a:lnTo>
                    <a:lnTo>
                      <a:pt x="57" y="2176"/>
                    </a:lnTo>
                    <a:lnTo>
                      <a:pt x="59" y="2168"/>
                    </a:lnTo>
                    <a:lnTo>
                      <a:pt x="64" y="2153"/>
                    </a:lnTo>
                    <a:lnTo>
                      <a:pt x="72" y="2140"/>
                    </a:lnTo>
                    <a:lnTo>
                      <a:pt x="81" y="2129"/>
                    </a:lnTo>
                    <a:lnTo>
                      <a:pt x="91" y="2119"/>
                    </a:lnTo>
                    <a:lnTo>
                      <a:pt x="103" y="2109"/>
                    </a:lnTo>
                    <a:lnTo>
                      <a:pt x="115" y="2100"/>
                    </a:lnTo>
                    <a:lnTo>
                      <a:pt x="128" y="2093"/>
                    </a:lnTo>
                    <a:lnTo>
                      <a:pt x="143" y="2085"/>
                    </a:lnTo>
                    <a:lnTo>
                      <a:pt x="157" y="2078"/>
                    </a:lnTo>
                    <a:lnTo>
                      <a:pt x="172" y="2073"/>
                    </a:lnTo>
                    <a:lnTo>
                      <a:pt x="200" y="2060"/>
                    </a:lnTo>
                    <a:lnTo>
                      <a:pt x="228" y="2047"/>
                    </a:lnTo>
                    <a:lnTo>
                      <a:pt x="230" y="2037"/>
                    </a:lnTo>
                    <a:lnTo>
                      <a:pt x="231" y="2028"/>
                    </a:lnTo>
                    <a:lnTo>
                      <a:pt x="231" y="2019"/>
                    </a:lnTo>
                    <a:lnTo>
                      <a:pt x="231" y="2008"/>
                    </a:lnTo>
                    <a:lnTo>
                      <a:pt x="230" y="1997"/>
                    </a:lnTo>
                    <a:lnTo>
                      <a:pt x="229" y="1982"/>
                    </a:lnTo>
                    <a:lnTo>
                      <a:pt x="229" y="1965"/>
                    </a:lnTo>
                    <a:lnTo>
                      <a:pt x="228" y="1943"/>
                    </a:lnTo>
                    <a:lnTo>
                      <a:pt x="234" y="1945"/>
                    </a:lnTo>
                    <a:lnTo>
                      <a:pt x="239" y="1945"/>
                    </a:lnTo>
                    <a:lnTo>
                      <a:pt x="246" y="1943"/>
                    </a:lnTo>
                    <a:lnTo>
                      <a:pt x="252" y="1942"/>
                    </a:lnTo>
                    <a:lnTo>
                      <a:pt x="258" y="1938"/>
                    </a:lnTo>
                    <a:lnTo>
                      <a:pt x="262" y="1935"/>
                    </a:lnTo>
                    <a:lnTo>
                      <a:pt x="267" y="1932"/>
                    </a:lnTo>
                    <a:lnTo>
                      <a:pt x="270" y="1929"/>
                    </a:lnTo>
                    <a:lnTo>
                      <a:pt x="260" y="1921"/>
                    </a:lnTo>
                    <a:lnTo>
                      <a:pt x="250" y="1914"/>
                    </a:lnTo>
                    <a:lnTo>
                      <a:pt x="239" y="1908"/>
                    </a:lnTo>
                    <a:lnTo>
                      <a:pt x="228" y="1902"/>
                    </a:lnTo>
                    <a:lnTo>
                      <a:pt x="203" y="1889"/>
                    </a:lnTo>
                    <a:lnTo>
                      <a:pt x="179" y="1877"/>
                    </a:lnTo>
                    <a:lnTo>
                      <a:pt x="167" y="1869"/>
                    </a:lnTo>
                    <a:lnTo>
                      <a:pt x="156" y="1862"/>
                    </a:lnTo>
                    <a:lnTo>
                      <a:pt x="144" y="1854"/>
                    </a:lnTo>
                    <a:lnTo>
                      <a:pt x="134" y="1844"/>
                    </a:lnTo>
                    <a:lnTo>
                      <a:pt x="125" y="1834"/>
                    </a:lnTo>
                    <a:lnTo>
                      <a:pt x="117" y="1823"/>
                    </a:lnTo>
                    <a:lnTo>
                      <a:pt x="109" y="1810"/>
                    </a:lnTo>
                    <a:lnTo>
                      <a:pt x="103" y="1797"/>
                    </a:lnTo>
                    <a:lnTo>
                      <a:pt x="117" y="1800"/>
                    </a:lnTo>
                    <a:lnTo>
                      <a:pt x="133" y="1802"/>
                    </a:lnTo>
                    <a:lnTo>
                      <a:pt x="150" y="1803"/>
                    </a:lnTo>
                    <a:lnTo>
                      <a:pt x="169" y="1804"/>
                    </a:lnTo>
                    <a:lnTo>
                      <a:pt x="189" y="1803"/>
                    </a:lnTo>
                    <a:lnTo>
                      <a:pt x="211" y="1801"/>
                    </a:lnTo>
                    <a:lnTo>
                      <a:pt x="234" y="1796"/>
                    </a:lnTo>
                    <a:lnTo>
                      <a:pt x="256" y="1789"/>
                    </a:lnTo>
                    <a:lnTo>
                      <a:pt x="250" y="1781"/>
                    </a:lnTo>
                    <a:lnTo>
                      <a:pt x="243" y="1770"/>
                    </a:lnTo>
                    <a:lnTo>
                      <a:pt x="235" y="1757"/>
                    </a:lnTo>
                    <a:lnTo>
                      <a:pt x="227" y="1742"/>
                    </a:lnTo>
                    <a:lnTo>
                      <a:pt x="219" y="1729"/>
                    </a:lnTo>
                    <a:lnTo>
                      <a:pt x="213" y="1714"/>
                    </a:lnTo>
                    <a:lnTo>
                      <a:pt x="211" y="1706"/>
                    </a:lnTo>
                    <a:lnTo>
                      <a:pt x="209" y="1699"/>
                    </a:lnTo>
                    <a:lnTo>
                      <a:pt x="208" y="1692"/>
                    </a:lnTo>
                    <a:lnTo>
                      <a:pt x="207" y="1685"/>
                    </a:lnTo>
                    <a:lnTo>
                      <a:pt x="208" y="1675"/>
                    </a:lnTo>
                    <a:lnTo>
                      <a:pt x="212" y="1666"/>
                    </a:lnTo>
                    <a:lnTo>
                      <a:pt x="216" y="1655"/>
                    </a:lnTo>
                    <a:lnTo>
                      <a:pt x="223" y="1647"/>
                    </a:lnTo>
                    <a:lnTo>
                      <a:pt x="227" y="1644"/>
                    </a:lnTo>
                    <a:lnTo>
                      <a:pt x="232" y="1640"/>
                    </a:lnTo>
                    <a:lnTo>
                      <a:pt x="237" y="1637"/>
                    </a:lnTo>
                    <a:lnTo>
                      <a:pt x="243" y="1635"/>
                    </a:lnTo>
                    <a:lnTo>
                      <a:pt x="248" y="1632"/>
                    </a:lnTo>
                    <a:lnTo>
                      <a:pt x="255" y="1631"/>
                    </a:lnTo>
                    <a:lnTo>
                      <a:pt x="262" y="1630"/>
                    </a:lnTo>
                    <a:lnTo>
                      <a:pt x="270" y="1630"/>
                    </a:lnTo>
                    <a:lnTo>
                      <a:pt x="281" y="1630"/>
                    </a:lnTo>
                    <a:lnTo>
                      <a:pt x="291" y="1632"/>
                    </a:lnTo>
                    <a:lnTo>
                      <a:pt x="300" y="1635"/>
                    </a:lnTo>
                    <a:lnTo>
                      <a:pt x="309" y="1637"/>
                    </a:lnTo>
                    <a:lnTo>
                      <a:pt x="329" y="1645"/>
                    </a:lnTo>
                    <a:lnTo>
                      <a:pt x="347" y="1654"/>
                    </a:lnTo>
                    <a:lnTo>
                      <a:pt x="365" y="1663"/>
                    </a:lnTo>
                    <a:lnTo>
                      <a:pt x="384" y="1671"/>
                    </a:lnTo>
                    <a:lnTo>
                      <a:pt x="393" y="1674"/>
                    </a:lnTo>
                    <a:lnTo>
                      <a:pt x="403" y="1676"/>
                    </a:lnTo>
                    <a:lnTo>
                      <a:pt x="412" y="1678"/>
                    </a:lnTo>
                    <a:lnTo>
                      <a:pt x="423" y="1678"/>
                    </a:lnTo>
                    <a:lnTo>
                      <a:pt x="430" y="1678"/>
                    </a:lnTo>
                    <a:lnTo>
                      <a:pt x="435" y="1677"/>
                    </a:lnTo>
                    <a:lnTo>
                      <a:pt x="441" y="1675"/>
                    </a:lnTo>
                    <a:lnTo>
                      <a:pt x="447" y="1671"/>
                    </a:lnTo>
                    <a:lnTo>
                      <a:pt x="451" y="1668"/>
                    </a:lnTo>
                    <a:lnTo>
                      <a:pt x="456" y="1663"/>
                    </a:lnTo>
                    <a:lnTo>
                      <a:pt x="461" y="1657"/>
                    </a:lnTo>
                    <a:lnTo>
                      <a:pt x="464" y="1652"/>
                    </a:lnTo>
                    <a:lnTo>
                      <a:pt x="471" y="1639"/>
                    </a:lnTo>
                    <a:lnTo>
                      <a:pt x="475" y="1625"/>
                    </a:lnTo>
                    <a:lnTo>
                      <a:pt x="478" y="1610"/>
                    </a:lnTo>
                    <a:lnTo>
                      <a:pt x="479" y="1594"/>
                    </a:lnTo>
                    <a:lnTo>
                      <a:pt x="478" y="1590"/>
                    </a:lnTo>
                    <a:lnTo>
                      <a:pt x="477" y="1586"/>
                    </a:lnTo>
                    <a:lnTo>
                      <a:pt x="473" y="1583"/>
                    </a:lnTo>
                    <a:lnTo>
                      <a:pt x="469" y="1580"/>
                    </a:lnTo>
                    <a:lnTo>
                      <a:pt x="458" y="1575"/>
                    </a:lnTo>
                    <a:lnTo>
                      <a:pt x="447" y="1571"/>
                    </a:lnTo>
                    <a:lnTo>
                      <a:pt x="434" y="1568"/>
                    </a:lnTo>
                    <a:lnTo>
                      <a:pt x="423" y="1565"/>
                    </a:lnTo>
                    <a:lnTo>
                      <a:pt x="418" y="1562"/>
                    </a:lnTo>
                    <a:lnTo>
                      <a:pt x="415" y="1560"/>
                    </a:lnTo>
                    <a:lnTo>
                      <a:pt x="411" y="1557"/>
                    </a:lnTo>
                    <a:lnTo>
                      <a:pt x="409" y="1553"/>
                    </a:lnTo>
                    <a:lnTo>
                      <a:pt x="407" y="1545"/>
                    </a:lnTo>
                    <a:lnTo>
                      <a:pt x="406" y="1536"/>
                    </a:lnTo>
                    <a:lnTo>
                      <a:pt x="404" y="1526"/>
                    </a:lnTo>
                    <a:lnTo>
                      <a:pt x="403" y="1515"/>
                    </a:lnTo>
                    <a:lnTo>
                      <a:pt x="402" y="1492"/>
                    </a:lnTo>
                    <a:lnTo>
                      <a:pt x="402" y="1468"/>
                    </a:lnTo>
                    <a:lnTo>
                      <a:pt x="401" y="1444"/>
                    </a:lnTo>
                    <a:lnTo>
                      <a:pt x="399" y="1421"/>
                    </a:lnTo>
                    <a:lnTo>
                      <a:pt x="397" y="1410"/>
                    </a:lnTo>
                    <a:lnTo>
                      <a:pt x="395" y="1398"/>
                    </a:lnTo>
                    <a:lnTo>
                      <a:pt x="392" y="1388"/>
                    </a:lnTo>
                    <a:lnTo>
                      <a:pt x="388" y="1379"/>
                    </a:lnTo>
                    <a:lnTo>
                      <a:pt x="388" y="1324"/>
                    </a:lnTo>
                    <a:lnTo>
                      <a:pt x="396" y="1326"/>
                    </a:lnTo>
                    <a:lnTo>
                      <a:pt x="402" y="1329"/>
                    </a:lnTo>
                    <a:lnTo>
                      <a:pt x="409" y="1333"/>
                    </a:lnTo>
                    <a:lnTo>
                      <a:pt x="415" y="1336"/>
                    </a:lnTo>
                    <a:lnTo>
                      <a:pt x="425" y="1346"/>
                    </a:lnTo>
                    <a:lnTo>
                      <a:pt x="434" y="1354"/>
                    </a:lnTo>
                    <a:lnTo>
                      <a:pt x="445" y="1362"/>
                    </a:lnTo>
                    <a:lnTo>
                      <a:pt x="456" y="1370"/>
                    </a:lnTo>
                    <a:lnTo>
                      <a:pt x="463" y="1372"/>
                    </a:lnTo>
                    <a:lnTo>
                      <a:pt x="470" y="1375"/>
                    </a:lnTo>
                    <a:lnTo>
                      <a:pt x="478" y="1378"/>
                    </a:lnTo>
                    <a:lnTo>
                      <a:pt x="486" y="1379"/>
                    </a:lnTo>
                    <a:lnTo>
                      <a:pt x="489" y="1362"/>
                    </a:lnTo>
                    <a:lnTo>
                      <a:pt x="494" y="1347"/>
                    </a:lnTo>
                    <a:lnTo>
                      <a:pt x="500" y="1333"/>
                    </a:lnTo>
                    <a:lnTo>
                      <a:pt x="506" y="1320"/>
                    </a:lnTo>
                    <a:lnTo>
                      <a:pt x="511" y="1307"/>
                    </a:lnTo>
                    <a:lnTo>
                      <a:pt x="517" y="1293"/>
                    </a:lnTo>
                    <a:lnTo>
                      <a:pt x="518" y="1286"/>
                    </a:lnTo>
                    <a:lnTo>
                      <a:pt x="519" y="1278"/>
                    </a:lnTo>
                    <a:lnTo>
                      <a:pt x="520" y="1270"/>
                    </a:lnTo>
                    <a:lnTo>
                      <a:pt x="521" y="1261"/>
                    </a:lnTo>
                    <a:lnTo>
                      <a:pt x="520" y="1250"/>
                    </a:lnTo>
                    <a:lnTo>
                      <a:pt x="518" y="1241"/>
                    </a:lnTo>
                    <a:lnTo>
                      <a:pt x="514" y="1233"/>
                    </a:lnTo>
                    <a:lnTo>
                      <a:pt x="510" y="1226"/>
                    </a:lnTo>
                    <a:lnTo>
                      <a:pt x="504" y="1221"/>
                    </a:lnTo>
                    <a:lnTo>
                      <a:pt x="498" y="1215"/>
                    </a:lnTo>
                    <a:lnTo>
                      <a:pt x="490" y="1209"/>
                    </a:lnTo>
                    <a:lnTo>
                      <a:pt x="482" y="1204"/>
                    </a:lnTo>
                    <a:lnTo>
                      <a:pt x="464" y="1196"/>
                    </a:lnTo>
                    <a:lnTo>
                      <a:pt x="442" y="1191"/>
                    </a:lnTo>
                    <a:lnTo>
                      <a:pt x="420" y="1185"/>
                    </a:lnTo>
                    <a:lnTo>
                      <a:pt x="396" y="1179"/>
                    </a:lnTo>
                    <a:lnTo>
                      <a:pt x="372" y="1172"/>
                    </a:lnTo>
                    <a:lnTo>
                      <a:pt x="349" y="1165"/>
                    </a:lnTo>
                    <a:lnTo>
                      <a:pt x="338" y="1161"/>
                    </a:lnTo>
                    <a:lnTo>
                      <a:pt x="326" y="1156"/>
                    </a:lnTo>
                    <a:lnTo>
                      <a:pt x="316" y="1151"/>
                    </a:lnTo>
                    <a:lnTo>
                      <a:pt x="306" y="1145"/>
                    </a:lnTo>
                    <a:lnTo>
                      <a:pt x="297" y="1138"/>
                    </a:lnTo>
                    <a:lnTo>
                      <a:pt x="289" y="1131"/>
                    </a:lnTo>
                    <a:lnTo>
                      <a:pt x="281" y="1123"/>
                    </a:lnTo>
                    <a:lnTo>
                      <a:pt x="274" y="1114"/>
                    </a:lnTo>
                    <a:lnTo>
                      <a:pt x="268" y="1104"/>
                    </a:lnTo>
                    <a:lnTo>
                      <a:pt x="262" y="1092"/>
                    </a:lnTo>
                    <a:lnTo>
                      <a:pt x="259" y="1079"/>
                    </a:lnTo>
                    <a:lnTo>
                      <a:pt x="256" y="1066"/>
                    </a:lnTo>
                    <a:lnTo>
                      <a:pt x="255" y="1058"/>
                    </a:lnTo>
                    <a:lnTo>
                      <a:pt x="254" y="1051"/>
                    </a:lnTo>
                    <a:lnTo>
                      <a:pt x="252" y="1045"/>
                    </a:lnTo>
                    <a:lnTo>
                      <a:pt x="250" y="1039"/>
                    </a:lnTo>
                    <a:lnTo>
                      <a:pt x="246" y="1035"/>
                    </a:lnTo>
                    <a:lnTo>
                      <a:pt x="243" y="1029"/>
                    </a:lnTo>
                    <a:lnTo>
                      <a:pt x="239" y="1026"/>
                    </a:lnTo>
                    <a:lnTo>
                      <a:pt x="235" y="1022"/>
                    </a:lnTo>
                    <a:lnTo>
                      <a:pt x="226" y="1015"/>
                    </a:lnTo>
                    <a:lnTo>
                      <a:pt x="215" y="1010"/>
                    </a:lnTo>
                    <a:lnTo>
                      <a:pt x="204" y="1005"/>
                    </a:lnTo>
                    <a:lnTo>
                      <a:pt x="192" y="1001"/>
                    </a:lnTo>
                    <a:lnTo>
                      <a:pt x="166" y="993"/>
                    </a:lnTo>
                    <a:lnTo>
                      <a:pt x="141" y="983"/>
                    </a:lnTo>
                    <a:lnTo>
                      <a:pt x="128" y="976"/>
                    </a:lnTo>
                    <a:lnTo>
                      <a:pt x="117" y="969"/>
                    </a:lnTo>
                    <a:lnTo>
                      <a:pt x="106" y="959"/>
                    </a:lnTo>
                    <a:lnTo>
                      <a:pt x="96" y="948"/>
                    </a:lnTo>
                    <a:lnTo>
                      <a:pt x="89" y="937"/>
                    </a:lnTo>
                    <a:lnTo>
                      <a:pt x="83" y="927"/>
                    </a:lnTo>
                    <a:lnTo>
                      <a:pt x="80" y="918"/>
                    </a:lnTo>
                    <a:lnTo>
                      <a:pt x="78" y="909"/>
                    </a:lnTo>
                    <a:lnTo>
                      <a:pt x="73" y="891"/>
                    </a:lnTo>
                    <a:lnTo>
                      <a:pt x="70" y="875"/>
                    </a:lnTo>
                    <a:lnTo>
                      <a:pt x="67" y="868"/>
                    </a:lnTo>
                    <a:lnTo>
                      <a:pt x="65" y="860"/>
                    </a:lnTo>
                    <a:lnTo>
                      <a:pt x="60" y="852"/>
                    </a:lnTo>
                    <a:lnTo>
                      <a:pt x="55" y="846"/>
                    </a:lnTo>
                    <a:lnTo>
                      <a:pt x="48" y="837"/>
                    </a:lnTo>
                    <a:lnTo>
                      <a:pt x="39" y="831"/>
                    </a:lnTo>
                    <a:lnTo>
                      <a:pt x="27" y="823"/>
                    </a:lnTo>
                    <a:lnTo>
                      <a:pt x="12" y="815"/>
                    </a:lnTo>
                    <a:lnTo>
                      <a:pt x="5" y="815"/>
                    </a:lnTo>
                    <a:lnTo>
                      <a:pt x="5" y="800"/>
                    </a:lnTo>
                    <a:lnTo>
                      <a:pt x="3" y="785"/>
                    </a:lnTo>
                    <a:lnTo>
                      <a:pt x="2" y="770"/>
                    </a:lnTo>
                    <a:lnTo>
                      <a:pt x="1" y="755"/>
                    </a:lnTo>
                    <a:lnTo>
                      <a:pt x="0" y="740"/>
                    </a:lnTo>
                    <a:lnTo>
                      <a:pt x="0" y="724"/>
                    </a:lnTo>
                    <a:lnTo>
                      <a:pt x="2" y="707"/>
                    </a:lnTo>
                    <a:lnTo>
                      <a:pt x="5" y="690"/>
                    </a:lnTo>
                    <a:lnTo>
                      <a:pt x="15" y="691"/>
                    </a:lnTo>
                    <a:lnTo>
                      <a:pt x="23" y="694"/>
                    </a:lnTo>
                    <a:lnTo>
                      <a:pt x="29" y="696"/>
                    </a:lnTo>
                    <a:lnTo>
                      <a:pt x="36" y="700"/>
                    </a:lnTo>
                    <a:lnTo>
                      <a:pt x="49" y="708"/>
                    </a:lnTo>
                    <a:lnTo>
                      <a:pt x="59" y="716"/>
                    </a:lnTo>
                    <a:lnTo>
                      <a:pt x="70" y="725"/>
                    </a:lnTo>
                    <a:lnTo>
                      <a:pt x="80" y="732"/>
                    </a:lnTo>
                    <a:lnTo>
                      <a:pt x="86" y="734"/>
                    </a:lnTo>
                    <a:lnTo>
                      <a:pt x="90" y="737"/>
                    </a:lnTo>
                    <a:lnTo>
                      <a:pt x="97" y="738"/>
                    </a:lnTo>
                    <a:lnTo>
                      <a:pt x="103" y="738"/>
                    </a:lnTo>
                    <a:lnTo>
                      <a:pt x="120" y="739"/>
                    </a:lnTo>
                    <a:lnTo>
                      <a:pt x="136" y="737"/>
                    </a:lnTo>
                    <a:lnTo>
                      <a:pt x="150" y="733"/>
                    </a:lnTo>
                    <a:lnTo>
                      <a:pt x="164" y="729"/>
                    </a:lnTo>
                    <a:lnTo>
                      <a:pt x="175" y="722"/>
                    </a:lnTo>
                    <a:lnTo>
                      <a:pt x="188" y="715"/>
                    </a:lnTo>
                    <a:lnTo>
                      <a:pt x="199" y="707"/>
                    </a:lnTo>
                    <a:lnTo>
                      <a:pt x="209" y="699"/>
                    </a:lnTo>
                    <a:lnTo>
                      <a:pt x="222" y="691"/>
                    </a:lnTo>
                    <a:lnTo>
                      <a:pt x="234" y="683"/>
                    </a:lnTo>
                    <a:lnTo>
                      <a:pt x="246" y="676"/>
                    </a:lnTo>
                    <a:lnTo>
                      <a:pt x="261" y="669"/>
                    </a:lnTo>
                    <a:lnTo>
                      <a:pt x="276" y="663"/>
                    </a:lnTo>
                    <a:lnTo>
                      <a:pt x="293" y="659"/>
                    </a:lnTo>
                    <a:lnTo>
                      <a:pt x="312" y="655"/>
                    </a:lnTo>
                    <a:lnTo>
                      <a:pt x="333" y="655"/>
                    </a:lnTo>
                    <a:lnTo>
                      <a:pt x="346" y="657"/>
                    </a:lnTo>
                    <a:lnTo>
                      <a:pt x="360" y="659"/>
                    </a:lnTo>
                    <a:lnTo>
                      <a:pt x="373" y="659"/>
                    </a:lnTo>
                    <a:lnTo>
                      <a:pt x="386" y="657"/>
                    </a:lnTo>
                    <a:lnTo>
                      <a:pt x="397" y="654"/>
                    </a:lnTo>
                    <a:lnTo>
                      <a:pt x="408" y="649"/>
                    </a:lnTo>
                    <a:lnTo>
                      <a:pt x="412" y="647"/>
                    </a:lnTo>
                    <a:lnTo>
                      <a:pt x="417" y="643"/>
                    </a:lnTo>
                    <a:lnTo>
                      <a:pt x="420" y="639"/>
                    </a:lnTo>
                    <a:lnTo>
                      <a:pt x="423" y="633"/>
                    </a:lnTo>
                    <a:lnTo>
                      <a:pt x="427" y="628"/>
                    </a:lnTo>
                    <a:lnTo>
                      <a:pt x="431" y="621"/>
                    </a:lnTo>
                    <a:lnTo>
                      <a:pt x="433" y="613"/>
                    </a:lnTo>
                    <a:lnTo>
                      <a:pt x="434" y="604"/>
                    </a:lnTo>
                    <a:lnTo>
                      <a:pt x="435" y="585"/>
                    </a:lnTo>
                    <a:lnTo>
                      <a:pt x="436" y="566"/>
                    </a:lnTo>
                    <a:lnTo>
                      <a:pt x="436" y="556"/>
                    </a:lnTo>
                    <a:lnTo>
                      <a:pt x="438" y="548"/>
                    </a:lnTo>
                    <a:lnTo>
                      <a:pt x="440" y="542"/>
                    </a:lnTo>
                    <a:lnTo>
                      <a:pt x="442" y="536"/>
                    </a:lnTo>
                    <a:lnTo>
                      <a:pt x="446" y="531"/>
                    </a:lnTo>
                    <a:lnTo>
                      <a:pt x="450" y="529"/>
                    </a:lnTo>
                    <a:lnTo>
                      <a:pt x="457" y="528"/>
                    </a:lnTo>
                    <a:lnTo>
                      <a:pt x="465" y="529"/>
                    </a:lnTo>
                    <a:lnTo>
                      <a:pt x="479" y="532"/>
                    </a:lnTo>
                    <a:lnTo>
                      <a:pt x="494" y="535"/>
                    </a:lnTo>
                    <a:lnTo>
                      <a:pt x="508" y="536"/>
                    </a:lnTo>
                    <a:lnTo>
                      <a:pt x="522" y="535"/>
                    </a:lnTo>
                    <a:lnTo>
                      <a:pt x="536" y="534"/>
                    </a:lnTo>
                    <a:lnTo>
                      <a:pt x="550" y="531"/>
                    </a:lnTo>
                    <a:lnTo>
                      <a:pt x="564" y="527"/>
                    </a:lnTo>
                    <a:lnTo>
                      <a:pt x="576" y="522"/>
                    </a:lnTo>
                    <a:lnTo>
                      <a:pt x="589" y="516"/>
                    </a:lnTo>
                    <a:lnTo>
                      <a:pt x="602" y="509"/>
                    </a:lnTo>
                    <a:lnTo>
                      <a:pt x="614" y="503"/>
                    </a:lnTo>
                    <a:lnTo>
                      <a:pt x="626" y="495"/>
                    </a:lnTo>
                    <a:lnTo>
                      <a:pt x="637" y="485"/>
                    </a:lnTo>
                    <a:lnTo>
                      <a:pt x="647" y="475"/>
                    </a:lnTo>
                    <a:lnTo>
                      <a:pt x="658" y="464"/>
                    </a:lnTo>
                    <a:lnTo>
                      <a:pt x="667" y="452"/>
                    </a:lnTo>
                    <a:lnTo>
                      <a:pt x="678" y="436"/>
                    </a:lnTo>
                    <a:lnTo>
                      <a:pt x="691" y="413"/>
                    </a:lnTo>
                    <a:lnTo>
                      <a:pt x="705" y="387"/>
                    </a:lnTo>
                    <a:lnTo>
                      <a:pt x="722" y="360"/>
                    </a:lnTo>
                    <a:lnTo>
                      <a:pt x="731" y="348"/>
                    </a:lnTo>
                    <a:lnTo>
                      <a:pt x="740" y="335"/>
                    </a:lnTo>
                    <a:lnTo>
                      <a:pt x="751" y="325"/>
                    </a:lnTo>
                    <a:lnTo>
                      <a:pt x="762" y="316"/>
                    </a:lnTo>
                    <a:lnTo>
                      <a:pt x="774" y="308"/>
                    </a:lnTo>
                    <a:lnTo>
                      <a:pt x="786" y="303"/>
                    </a:lnTo>
                    <a:lnTo>
                      <a:pt x="793" y="301"/>
                    </a:lnTo>
                    <a:lnTo>
                      <a:pt x="799" y="300"/>
                    </a:lnTo>
                    <a:lnTo>
                      <a:pt x="806" y="300"/>
                    </a:lnTo>
                    <a:lnTo>
                      <a:pt x="814" y="300"/>
                    </a:lnTo>
                    <a:lnTo>
                      <a:pt x="826" y="300"/>
                    </a:lnTo>
                    <a:lnTo>
                      <a:pt x="838" y="302"/>
                    </a:lnTo>
                    <a:lnTo>
                      <a:pt x="849" y="305"/>
                    </a:lnTo>
                    <a:lnTo>
                      <a:pt x="860" y="309"/>
                    </a:lnTo>
                    <a:lnTo>
                      <a:pt x="880" y="319"/>
                    </a:lnTo>
                    <a:lnTo>
                      <a:pt x="899" y="331"/>
                    </a:lnTo>
                    <a:lnTo>
                      <a:pt x="917" y="342"/>
                    </a:lnTo>
                    <a:lnTo>
                      <a:pt x="934" y="352"/>
                    </a:lnTo>
                    <a:lnTo>
                      <a:pt x="943" y="356"/>
                    </a:lnTo>
                    <a:lnTo>
                      <a:pt x="954" y="359"/>
                    </a:lnTo>
                    <a:lnTo>
                      <a:pt x="963" y="362"/>
                    </a:lnTo>
                    <a:lnTo>
                      <a:pt x="973" y="363"/>
                    </a:lnTo>
                    <a:lnTo>
                      <a:pt x="988" y="362"/>
                    </a:lnTo>
                    <a:lnTo>
                      <a:pt x="1002" y="359"/>
                    </a:lnTo>
                    <a:lnTo>
                      <a:pt x="1015" y="356"/>
                    </a:lnTo>
                    <a:lnTo>
                      <a:pt x="1027" y="351"/>
                    </a:lnTo>
                    <a:lnTo>
                      <a:pt x="1038" y="348"/>
                    </a:lnTo>
                    <a:lnTo>
                      <a:pt x="1050" y="344"/>
                    </a:lnTo>
                    <a:lnTo>
                      <a:pt x="1060" y="342"/>
                    </a:lnTo>
                    <a:lnTo>
                      <a:pt x="1071" y="341"/>
                    </a:lnTo>
                    <a:lnTo>
                      <a:pt x="1079" y="341"/>
                    </a:lnTo>
                    <a:lnTo>
                      <a:pt x="1085" y="340"/>
                    </a:lnTo>
                    <a:lnTo>
                      <a:pt x="1093" y="340"/>
                    </a:lnTo>
                    <a:lnTo>
                      <a:pt x="1103" y="339"/>
                    </a:lnTo>
                    <a:lnTo>
                      <a:pt x="1112" y="339"/>
                    </a:lnTo>
                    <a:lnTo>
                      <a:pt x="1123" y="339"/>
                    </a:lnTo>
                    <a:lnTo>
                      <a:pt x="1138" y="340"/>
                    </a:lnTo>
                    <a:lnTo>
                      <a:pt x="1154" y="341"/>
                    </a:lnTo>
                    <a:lnTo>
                      <a:pt x="1154" y="329"/>
                    </a:lnTo>
                    <a:lnTo>
                      <a:pt x="1155" y="317"/>
                    </a:lnTo>
                    <a:lnTo>
                      <a:pt x="1158" y="305"/>
                    </a:lnTo>
                    <a:lnTo>
                      <a:pt x="1160" y="293"/>
                    </a:lnTo>
                    <a:lnTo>
                      <a:pt x="1166" y="267"/>
                    </a:lnTo>
                    <a:lnTo>
                      <a:pt x="1171" y="243"/>
                    </a:lnTo>
                    <a:lnTo>
                      <a:pt x="1178" y="219"/>
                    </a:lnTo>
                    <a:lnTo>
                      <a:pt x="1184" y="198"/>
                    </a:lnTo>
                    <a:lnTo>
                      <a:pt x="1187" y="177"/>
                    </a:lnTo>
                    <a:lnTo>
                      <a:pt x="1190" y="160"/>
                    </a:lnTo>
                    <a:lnTo>
                      <a:pt x="1189" y="142"/>
                    </a:lnTo>
                    <a:lnTo>
                      <a:pt x="1185" y="122"/>
                    </a:lnTo>
                    <a:lnTo>
                      <a:pt x="1182" y="100"/>
                    </a:lnTo>
                    <a:lnTo>
                      <a:pt x="1177" y="77"/>
                    </a:lnTo>
                    <a:lnTo>
                      <a:pt x="1171" y="55"/>
                    </a:lnTo>
                    <a:lnTo>
                      <a:pt x="1166" y="34"/>
                    </a:lnTo>
                    <a:lnTo>
                      <a:pt x="1160" y="15"/>
                    </a:lnTo>
                    <a:lnTo>
                      <a:pt x="1154" y="0"/>
                    </a:lnTo>
                    <a:lnTo>
                      <a:pt x="1177" y="15"/>
                    </a:lnTo>
                    <a:lnTo>
                      <a:pt x="1200" y="30"/>
                    </a:lnTo>
                    <a:lnTo>
                      <a:pt x="1222" y="45"/>
                    </a:lnTo>
                    <a:lnTo>
                      <a:pt x="1246" y="58"/>
                    </a:lnTo>
                    <a:lnTo>
                      <a:pt x="1259" y="63"/>
                    </a:lnTo>
                    <a:lnTo>
                      <a:pt x="1271" y="68"/>
                    </a:lnTo>
                    <a:lnTo>
                      <a:pt x="1284" y="73"/>
                    </a:lnTo>
                    <a:lnTo>
                      <a:pt x="1299" y="76"/>
                    </a:lnTo>
                    <a:lnTo>
                      <a:pt x="1314" y="79"/>
                    </a:lnTo>
                    <a:lnTo>
                      <a:pt x="1328" y="82"/>
                    </a:lnTo>
                    <a:lnTo>
                      <a:pt x="1346" y="83"/>
                    </a:lnTo>
                    <a:lnTo>
                      <a:pt x="1363" y="84"/>
                    </a:lnTo>
                    <a:lnTo>
                      <a:pt x="1363" y="101"/>
                    </a:lnTo>
                    <a:lnTo>
                      <a:pt x="1363" y="116"/>
                    </a:lnTo>
                    <a:lnTo>
                      <a:pt x="1364" y="130"/>
                    </a:lnTo>
                    <a:lnTo>
                      <a:pt x="1366" y="141"/>
                    </a:lnTo>
                    <a:lnTo>
                      <a:pt x="1370" y="153"/>
                    </a:lnTo>
                    <a:lnTo>
                      <a:pt x="1373" y="162"/>
                    </a:lnTo>
                    <a:lnTo>
                      <a:pt x="1378" y="170"/>
                    </a:lnTo>
                    <a:lnTo>
                      <a:pt x="1384" y="178"/>
                    </a:lnTo>
                    <a:lnTo>
                      <a:pt x="1395" y="191"/>
                    </a:lnTo>
                    <a:lnTo>
                      <a:pt x="1409" y="203"/>
                    </a:lnTo>
                    <a:lnTo>
                      <a:pt x="1425" y="216"/>
                    </a:lnTo>
                    <a:lnTo>
                      <a:pt x="1440" y="230"/>
                    </a:lnTo>
                    <a:lnTo>
                      <a:pt x="1444" y="235"/>
                    </a:lnTo>
                    <a:lnTo>
                      <a:pt x="1448" y="242"/>
                    </a:lnTo>
                    <a:lnTo>
                      <a:pt x="1450" y="250"/>
                    </a:lnTo>
                    <a:lnTo>
                      <a:pt x="1451" y="259"/>
                    </a:lnTo>
                    <a:lnTo>
                      <a:pt x="1452" y="279"/>
                    </a:lnTo>
                    <a:lnTo>
                      <a:pt x="1451" y="301"/>
                    </a:lnTo>
                    <a:lnTo>
                      <a:pt x="1449" y="324"/>
                    </a:lnTo>
                    <a:lnTo>
                      <a:pt x="1447" y="345"/>
                    </a:lnTo>
                    <a:lnTo>
                      <a:pt x="1445" y="366"/>
                    </a:lnTo>
                    <a:lnTo>
                      <a:pt x="1447" y="383"/>
                    </a:lnTo>
                    <a:lnTo>
                      <a:pt x="1449" y="392"/>
                    </a:lnTo>
                    <a:lnTo>
                      <a:pt x="1452" y="401"/>
                    </a:lnTo>
                    <a:lnTo>
                      <a:pt x="1456" y="409"/>
                    </a:lnTo>
                    <a:lnTo>
                      <a:pt x="1459" y="417"/>
                    </a:lnTo>
                    <a:lnTo>
                      <a:pt x="1468" y="430"/>
                    </a:lnTo>
                    <a:lnTo>
                      <a:pt x="1479" y="444"/>
                    </a:lnTo>
                    <a:lnTo>
                      <a:pt x="1490" y="457"/>
                    </a:lnTo>
                    <a:lnTo>
                      <a:pt x="1503" y="468"/>
                    </a:lnTo>
                    <a:lnTo>
                      <a:pt x="1515" y="480"/>
                    </a:lnTo>
                    <a:lnTo>
                      <a:pt x="1528" y="491"/>
                    </a:lnTo>
                    <a:lnTo>
                      <a:pt x="1541" y="503"/>
                    </a:lnTo>
                    <a:lnTo>
                      <a:pt x="1552" y="513"/>
                    </a:lnTo>
                    <a:lnTo>
                      <a:pt x="1564" y="526"/>
                    </a:lnTo>
                    <a:lnTo>
                      <a:pt x="1573" y="538"/>
                    </a:lnTo>
                    <a:lnTo>
                      <a:pt x="1582" y="551"/>
                    </a:lnTo>
                    <a:lnTo>
                      <a:pt x="1588" y="566"/>
                    </a:lnTo>
                    <a:lnTo>
                      <a:pt x="1590" y="574"/>
                    </a:lnTo>
                    <a:lnTo>
                      <a:pt x="1592" y="582"/>
                    </a:lnTo>
                    <a:lnTo>
                      <a:pt x="1592" y="590"/>
                    </a:lnTo>
                    <a:lnTo>
                      <a:pt x="1593" y="599"/>
                    </a:lnTo>
                    <a:lnTo>
                      <a:pt x="1572" y="591"/>
                    </a:lnTo>
                    <a:lnTo>
                      <a:pt x="1551" y="584"/>
                    </a:lnTo>
                    <a:lnTo>
                      <a:pt x="1529" y="577"/>
                    </a:lnTo>
                    <a:lnTo>
                      <a:pt x="1507" y="571"/>
                    </a:lnTo>
                    <a:lnTo>
                      <a:pt x="1487" y="565"/>
                    </a:lnTo>
                    <a:lnTo>
                      <a:pt x="1467" y="558"/>
                    </a:lnTo>
                    <a:lnTo>
                      <a:pt x="1450" y="551"/>
                    </a:lnTo>
                    <a:lnTo>
                      <a:pt x="1433" y="543"/>
                    </a:lnTo>
                    <a:lnTo>
                      <a:pt x="1356" y="543"/>
                    </a:lnTo>
                    <a:lnTo>
                      <a:pt x="1356" y="599"/>
                    </a:lnTo>
                    <a:lnTo>
                      <a:pt x="1365" y="612"/>
                    </a:lnTo>
                    <a:lnTo>
                      <a:pt x="1375" y="624"/>
                    </a:lnTo>
                    <a:lnTo>
                      <a:pt x="1386" y="636"/>
                    </a:lnTo>
                    <a:lnTo>
                      <a:pt x="1397" y="647"/>
                    </a:lnTo>
                    <a:lnTo>
                      <a:pt x="1409" y="657"/>
                    </a:lnTo>
                    <a:lnTo>
                      <a:pt x="1420" y="667"/>
                    </a:lnTo>
                    <a:lnTo>
                      <a:pt x="1434" y="676"/>
                    </a:lnTo>
                    <a:lnTo>
                      <a:pt x="1447" y="684"/>
                    </a:lnTo>
                    <a:lnTo>
                      <a:pt x="1460" y="692"/>
                    </a:lnTo>
                    <a:lnTo>
                      <a:pt x="1475" y="699"/>
                    </a:lnTo>
                    <a:lnTo>
                      <a:pt x="1491" y="704"/>
                    </a:lnTo>
                    <a:lnTo>
                      <a:pt x="1507" y="709"/>
                    </a:lnTo>
                    <a:lnTo>
                      <a:pt x="1523" y="712"/>
                    </a:lnTo>
                    <a:lnTo>
                      <a:pt x="1542" y="715"/>
                    </a:lnTo>
                    <a:lnTo>
                      <a:pt x="1560" y="717"/>
                    </a:lnTo>
                    <a:lnTo>
                      <a:pt x="1580" y="717"/>
                    </a:lnTo>
                    <a:lnTo>
                      <a:pt x="1593" y="717"/>
                    </a:lnTo>
                    <a:lnTo>
                      <a:pt x="1606" y="716"/>
                    </a:lnTo>
                    <a:lnTo>
                      <a:pt x="1617" y="714"/>
                    </a:lnTo>
                    <a:lnTo>
                      <a:pt x="1629" y="711"/>
                    </a:lnTo>
                    <a:lnTo>
                      <a:pt x="1650" y="707"/>
                    </a:lnTo>
                    <a:lnTo>
                      <a:pt x="1668" y="700"/>
                    </a:lnTo>
                    <a:lnTo>
                      <a:pt x="1686" y="693"/>
                    </a:lnTo>
                    <a:lnTo>
                      <a:pt x="1705" y="688"/>
                    </a:lnTo>
                    <a:lnTo>
                      <a:pt x="1714" y="686"/>
                    </a:lnTo>
                    <a:lnTo>
                      <a:pt x="1724" y="684"/>
                    </a:lnTo>
                    <a:lnTo>
                      <a:pt x="1734" y="683"/>
                    </a:lnTo>
                    <a:lnTo>
                      <a:pt x="1746" y="683"/>
                    </a:lnTo>
                    <a:lnTo>
                      <a:pt x="1758" y="684"/>
                    </a:lnTo>
                    <a:lnTo>
                      <a:pt x="1774" y="686"/>
                    </a:lnTo>
                    <a:lnTo>
                      <a:pt x="1794" y="691"/>
                    </a:lnTo>
                    <a:lnTo>
                      <a:pt x="1816" y="696"/>
                    </a:lnTo>
                    <a:lnTo>
                      <a:pt x="1839" y="703"/>
                    </a:lnTo>
                    <a:lnTo>
                      <a:pt x="1863" y="711"/>
                    </a:lnTo>
                    <a:lnTo>
                      <a:pt x="1888" y="722"/>
                    </a:lnTo>
                    <a:lnTo>
                      <a:pt x="1913" y="731"/>
                    </a:lnTo>
                    <a:lnTo>
                      <a:pt x="1937" y="742"/>
                    </a:lnTo>
                    <a:lnTo>
                      <a:pt x="1961" y="754"/>
                    </a:lnTo>
                    <a:lnTo>
                      <a:pt x="1982" y="765"/>
                    </a:lnTo>
                    <a:lnTo>
                      <a:pt x="2000" y="777"/>
                    </a:lnTo>
                    <a:lnTo>
                      <a:pt x="2016" y="788"/>
                    </a:lnTo>
                    <a:lnTo>
                      <a:pt x="2028" y="800"/>
                    </a:lnTo>
                    <a:lnTo>
                      <a:pt x="2032" y="805"/>
                    </a:lnTo>
                    <a:lnTo>
                      <a:pt x="2036" y="811"/>
                    </a:lnTo>
                    <a:lnTo>
                      <a:pt x="2038" y="817"/>
                    </a:lnTo>
                    <a:lnTo>
                      <a:pt x="2038" y="821"/>
                    </a:lnTo>
                    <a:lnTo>
                      <a:pt x="2038" y="834"/>
                    </a:lnTo>
                    <a:lnTo>
                      <a:pt x="2036" y="846"/>
                    </a:lnTo>
                    <a:lnTo>
                      <a:pt x="2032" y="857"/>
                    </a:lnTo>
                    <a:lnTo>
                      <a:pt x="2028" y="867"/>
                    </a:lnTo>
                    <a:lnTo>
                      <a:pt x="2022" y="876"/>
                    </a:lnTo>
                    <a:lnTo>
                      <a:pt x="2015" y="885"/>
                    </a:lnTo>
                    <a:lnTo>
                      <a:pt x="2007" y="893"/>
                    </a:lnTo>
                    <a:lnTo>
                      <a:pt x="1998" y="899"/>
                    </a:lnTo>
                    <a:lnTo>
                      <a:pt x="1989" y="906"/>
                    </a:lnTo>
                    <a:lnTo>
                      <a:pt x="1979" y="912"/>
                    </a:lnTo>
                    <a:lnTo>
                      <a:pt x="1968" y="918"/>
                    </a:lnTo>
                    <a:lnTo>
                      <a:pt x="1957" y="922"/>
                    </a:lnTo>
                    <a:lnTo>
                      <a:pt x="1934" y="932"/>
                    </a:lnTo>
                    <a:lnTo>
                      <a:pt x="1910" y="941"/>
                    </a:lnTo>
                    <a:lnTo>
                      <a:pt x="1886" y="948"/>
                    </a:lnTo>
                    <a:lnTo>
                      <a:pt x="1863" y="956"/>
                    </a:lnTo>
                    <a:lnTo>
                      <a:pt x="1841" y="962"/>
                    </a:lnTo>
                    <a:lnTo>
                      <a:pt x="1821" y="971"/>
                    </a:lnTo>
                    <a:lnTo>
                      <a:pt x="1812" y="975"/>
                    </a:lnTo>
                    <a:lnTo>
                      <a:pt x="1804" y="980"/>
                    </a:lnTo>
                    <a:lnTo>
                      <a:pt x="1797" y="984"/>
                    </a:lnTo>
                    <a:lnTo>
                      <a:pt x="1792" y="990"/>
                    </a:lnTo>
                    <a:lnTo>
                      <a:pt x="1787" y="996"/>
                    </a:lnTo>
                    <a:lnTo>
                      <a:pt x="1784" y="1003"/>
                    </a:lnTo>
                    <a:lnTo>
                      <a:pt x="1781" y="1010"/>
                    </a:lnTo>
                    <a:lnTo>
                      <a:pt x="1781" y="1016"/>
                    </a:lnTo>
                    <a:lnTo>
                      <a:pt x="1783" y="1026"/>
                    </a:lnTo>
                    <a:lnTo>
                      <a:pt x="1786" y="1039"/>
                    </a:lnTo>
                    <a:lnTo>
                      <a:pt x="1791" y="1057"/>
                    </a:lnTo>
                    <a:lnTo>
                      <a:pt x="1797" y="1076"/>
                    </a:lnTo>
                    <a:lnTo>
                      <a:pt x="1815" y="1122"/>
                    </a:lnTo>
                    <a:lnTo>
                      <a:pt x="1836" y="1172"/>
                    </a:lnTo>
                    <a:lnTo>
                      <a:pt x="1857" y="1222"/>
                    </a:lnTo>
                    <a:lnTo>
                      <a:pt x="1878" y="1263"/>
                    </a:lnTo>
                    <a:lnTo>
                      <a:pt x="1887" y="1279"/>
                    </a:lnTo>
                    <a:lnTo>
                      <a:pt x="1895" y="1292"/>
                    </a:lnTo>
                    <a:lnTo>
                      <a:pt x="1898" y="1296"/>
                    </a:lnTo>
                    <a:lnTo>
                      <a:pt x="1902" y="1300"/>
                    </a:lnTo>
                    <a:lnTo>
                      <a:pt x="1904" y="1302"/>
                    </a:lnTo>
                    <a:lnTo>
                      <a:pt x="1906" y="1302"/>
                    </a:lnTo>
                    <a:lnTo>
                      <a:pt x="1929" y="1302"/>
                    </a:lnTo>
                    <a:lnTo>
                      <a:pt x="1957" y="1300"/>
                    </a:lnTo>
                    <a:lnTo>
                      <a:pt x="1987" y="1297"/>
                    </a:lnTo>
                    <a:lnTo>
                      <a:pt x="2019" y="1295"/>
                    </a:lnTo>
                    <a:lnTo>
                      <a:pt x="2051" y="1293"/>
                    </a:lnTo>
                    <a:lnTo>
                      <a:pt x="2082" y="1290"/>
                    </a:lnTo>
                    <a:lnTo>
                      <a:pt x="2110" y="1289"/>
                    </a:lnTo>
                    <a:lnTo>
                      <a:pt x="2136" y="1288"/>
                    </a:lnTo>
                    <a:lnTo>
                      <a:pt x="2164" y="1289"/>
                    </a:lnTo>
                    <a:lnTo>
                      <a:pt x="2192" y="1290"/>
                    </a:lnTo>
                    <a:lnTo>
                      <a:pt x="2218" y="1294"/>
                    </a:lnTo>
                    <a:lnTo>
                      <a:pt x="2245" y="1299"/>
                    </a:lnTo>
                    <a:lnTo>
                      <a:pt x="2269" y="1303"/>
                    </a:lnTo>
                    <a:lnTo>
                      <a:pt x="2290" y="1309"/>
                    </a:lnTo>
                    <a:lnTo>
                      <a:pt x="2312" y="1316"/>
                    </a:lnTo>
                    <a:lnTo>
                      <a:pt x="2331" y="1324"/>
                    </a:lnTo>
                    <a:lnTo>
                      <a:pt x="2327" y="1336"/>
                    </a:lnTo>
                    <a:lnTo>
                      <a:pt x="2324" y="1347"/>
                    </a:lnTo>
                    <a:lnTo>
                      <a:pt x="2323" y="1354"/>
                    </a:lnTo>
                    <a:lnTo>
                      <a:pt x="2323" y="1358"/>
                    </a:lnTo>
                    <a:lnTo>
                      <a:pt x="2323" y="1362"/>
                    </a:lnTo>
                    <a:lnTo>
                      <a:pt x="2324" y="1364"/>
                    </a:lnTo>
                    <a:lnTo>
                      <a:pt x="2324" y="1367"/>
                    </a:lnTo>
                    <a:lnTo>
                      <a:pt x="2324" y="1372"/>
                    </a:lnTo>
                    <a:lnTo>
                      <a:pt x="2325" y="1375"/>
                    </a:lnTo>
                    <a:lnTo>
                      <a:pt x="2327" y="1380"/>
                    </a:lnTo>
                    <a:lnTo>
                      <a:pt x="2329" y="1383"/>
                    </a:lnTo>
                    <a:lnTo>
                      <a:pt x="2334" y="1388"/>
                    </a:lnTo>
                    <a:lnTo>
                      <a:pt x="2345" y="1395"/>
                    </a:lnTo>
                    <a:lnTo>
                      <a:pt x="2362" y="1403"/>
                    </a:lnTo>
                    <a:lnTo>
                      <a:pt x="2380" y="1410"/>
                    </a:lnTo>
                    <a:lnTo>
                      <a:pt x="2402" y="1417"/>
                    </a:lnTo>
                    <a:lnTo>
                      <a:pt x="2425" y="1424"/>
                    </a:lnTo>
                    <a:lnTo>
                      <a:pt x="2450" y="1430"/>
                    </a:lnTo>
                    <a:lnTo>
                      <a:pt x="2501" y="1442"/>
                    </a:lnTo>
                    <a:lnTo>
                      <a:pt x="2553" y="1451"/>
                    </a:lnTo>
                    <a:lnTo>
                      <a:pt x="2600" y="1458"/>
                    </a:lnTo>
                    <a:lnTo>
                      <a:pt x="2638" y="1463"/>
                    </a:lnTo>
                    <a:lnTo>
                      <a:pt x="2664" y="1461"/>
                    </a:lnTo>
                    <a:lnTo>
                      <a:pt x="2691" y="1460"/>
                    </a:lnTo>
                    <a:lnTo>
                      <a:pt x="2717" y="1458"/>
                    </a:lnTo>
                    <a:lnTo>
                      <a:pt x="2742" y="1453"/>
                    </a:lnTo>
                    <a:lnTo>
                      <a:pt x="2766" y="1450"/>
                    </a:lnTo>
                    <a:lnTo>
                      <a:pt x="2788" y="1445"/>
                    </a:lnTo>
                    <a:lnTo>
                      <a:pt x="2809" y="1440"/>
                    </a:lnTo>
                    <a:lnTo>
                      <a:pt x="2826" y="1435"/>
                    </a:lnTo>
                    <a:lnTo>
                      <a:pt x="2834" y="1435"/>
                    </a:lnTo>
                    <a:lnTo>
                      <a:pt x="2844" y="1435"/>
                    </a:lnTo>
                    <a:lnTo>
                      <a:pt x="2855" y="1435"/>
                    </a:lnTo>
                    <a:lnTo>
                      <a:pt x="2865" y="1435"/>
                    </a:lnTo>
                    <a:lnTo>
                      <a:pt x="2874" y="1435"/>
                    </a:lnTo>
                    <a:lnTo>
                      <a:pt x="2881" y="1435"/>
                    </a:lnTo>
                    <a:lnTo>
                      <a:pt x="2887" y="1435"/>
                    </a:lnTo>
                    <a:lnTo>
                      <a:pt x="2888" y="1435"/>
                    </a:lnTo>
                    <a:lnTo>
                      <a:pt x="2888" y="1449"/>
                    </a:lnTo>
                    <a:lnTo>
                      <a:pt x="2889" y="1463"/>
                    </a:lnTo>
                    <a:lnTo>
                      <a:pt x="2891" y="1475"/>
                    </a:lnTo>
                    <a:lnTo>
                      <a:pt x="2895" y="1489"/>
                    </a:lnTo>
                    <a:lnTo>
                      <a:pt x="2899" y="1503"/>
                    </a:lnTo>
                    <a:lnTo>
                      <a:pt x="2905" y="1515"/>
                    </a:lnTo>
                    <a:lnTo>
                      <a:pt x="2911" y="1528"/>
                    </a:lnTo>
                    <a:lnTo>
                      <a:pt x="2919" y="1541"/>
                    </a:lnTo>
                    <a:lnTo>
                      <a:pt x="2927" y="1553"/>
                    </a:lnTo>
                    <a:lnTo>
                      <a:pt x="2935" y="1566"/>
                    </a:lnTo>
                    <a:lnTo>
                      <a:pt x="2945" y="1577"/>
                    </a:lnTo>
                    <a:lnTo>
                      <a:pt x="2954" y="1590"/>
                    </a:lnTo>
                    <a:lnTo>
                      <a:pt x="2966" y="1600"/>
                    </a:lnTo>
                    <a:lnTo>
                      <a:pt x="2977" y="1612"/>
                    </a:lnTo>
                    <a:lnTo>
                      <a:pt x="2989" y="1622"/>
                    </a:lnTo>
                    <a:lnTo>
                      <a:pt x="3000" y="1632"/>
                    </a:lnTo>
                    <a:lnTo>
                      <a:pt x="3025" y="1652"/>
                    </a:lnTo>
                    <a:lnTo>
                      <a:pt x="3052" y="1669"/>
                    </a:lnTo>
                    <a:lnTo>
                      <a:pt x="3078" y="1684"/>
                    </a:lnTo>
                    <a:lnTo>
                      <a:pt x="3104" y="1696"/>
                    </a:lnTo>
                    <a:lnTo>
                      <a:pt x="3131" y="1707"/>
                    </a:lnTo>
                    <a:lnTo>
                      <a:pt x="3156" y="1714"/>
                    </a:lnTo>
                    <a:lnTo>
                      <a:pt x="3168" y="1717"/>
                    </a:lnTo>
                    <a:lnTo>
                      <a:pt x="3179" y="1718"/>
                    </a:lnTo>
                    <a:lnTo>
                      <a:pt x="3190" y="1719"/>
                    </a:lnTo>
                    <a:lnTo>
                      <a:pt x="3202" y="1721"/>
                    </a:lnTo>
                    <a:lnTo>
                      <a:pt x="3239" y="1721"/>
                    </a:lnTo>
                    <a:lnTo>
                      <a:pt x="3268" y="1721"/>
                    </a:lnTo>
                    <a:lnTo>
                      <a:pt x="3294" y="1721"/>
                    </a:lnTo>
                    <a:lnTo>
                      <a:pt x="3315" y="1721"/>
                    </a:lnTo>
                    <a:lnTo>
                      <a:pt x="3337" y="1722"/>
                    </a:lnTo>
                    <a:lnTo>
                      <a:pt x="3361" y="1723"/>
                    </a:lnTo>
                    <a:lnTo>
                      <a:pt x="3389" y="1725"/>
                    </a:lnTo>
                    <a:lnTo>
                      <a:pt x="3424" y="1727"/>
                    </a:lnTo>
                    <a:lnTo>
                      <a:pt x="3437" y="1726"/>
                    </a:lnTo>
                    <a:lnTo>
                      <a:pt x="3448" y="1725"/>
                    </a:lnTo>
                    <a:lnTo>
                      <a:pt x="3459" y="1724"/>
                    </a:lnTo>
                    <a:lnTo>
                      <a:pt x="3469" y="1721"/>
                    </a:lnTo>
                    <a:lnTo>
                      <a:pt x="3478" y="1717"/>
                    </a:lnTo>
                    <a:lnTo>
                      <a:pt x="3485" y="1713"/>
                    </a:lnTo>
                    <a:lnTo>
                      <a:pt x="3493" y="1708"/>
                    </a:lnTo>
                    <a:lnTo>
                      <a:pt x="3499" y="1702"/>
                    </a:lnTo>
                    <a:lnTo>
                      <a:pt x="3505" y="1695"/>
                    </a:lnTo>
                    <a:lnTo>
                      <a:pt x="3509" y="1688"/>
                    </a:lnTo>
                    <a:lnTo>
                      <a:pt x="3513" y="1680"/>
                    </a:lnTo>
                    <a:lnTo>
                      <a:pt x="3516" y="1671"/>
                    </a:lnTo>
                    <a:lnTo>
                      <a:pt x="3518" y="1662"/>
                    </a:lnTo>
                    <a:lnTo>
                      <a:pt x="3521" y="1652"/>
                    </a:lnTo>
                    <a:lnTo>
                      <a:pt x="3522" y="1641"/>
                    </a:lnTo>
                    <a:lnTo>
                      <a:pt x="3522" y="1630"/>
                    </a:lnTo>
                    <a:lnTo>
                      <a:pt x="3521" y="1617"/>
                    </a:lnTo>
                    <a:lnTo>
                      <a:pt x="3519" y="1607"/>
                    </a:lnTo>
                    <a:lnTo>
                      <a:pt x="3516" y="1598"/>
                    </a:lnTo>
                    <a:lnTo>
                      <a:pt x="3513" y="1591"/>
                    </a:lnTo>
                    <a:lnTo>
                      <a:pt x="3509" y="1584"/>
                    </a:lnTo>
                    <a:lnTo>
                      <a:pt x="3505" y="1578"/>
                    </a:lnTo>
                    <a:lnTo>
                      <a:pt x="3499" y="1574"/>
                    </a:lnTo>
                    <a:lnTo>
                      <a:pt x="3494" y="1569"/>
                    </a:lnTo>
                    <a:lnTo>
                      <a:pt x="3484" y="1561"/>
                    </a:lnTo>
                    <a:lnTo>
                      <a:pt x="3475" y="1552"/>
                    </a:lnTo>
                    <a:lnTo>
                      <a:pt x="3471" y="1547"/>
                    </a:lnTo>
                    <a:lnTo>
                      <a:pt x="3468" y="1541"/>
                    </a:lnTo>
                    <a:lnTo>
                      <a:pt x="3467" y="1534"/>
                    </a:lnTo>
                    <a:lnTo>
                      <a:pt x="3466" y="1526"/>
                    </a:lnTo>
                    <a:lnTo>
                      <a:pt x="3467" y="1518"/>
                    </a:lnTo>
                    <a:lnTo>
                      <a:pt x="3467" y="1511"/>
                    </a:lnTo>
                    <a:lnTo>
                      <a:pt x="3469" y="1505"/>
                    </a:lnTo>
                    <a:lnTo>
                      <a:pt x="3470" y="1499"/>
                    </a:lnTo>
                    <a:lnTo>
                      <a:pt x="3476" y="1490"/>
                    </a:lnTo>
                    <a:lnTo>
                      <a:pt x="3482" y="1482"/>
                    </a:lnTo>
                    <a:lnTo>
                      <a:pt x="3489" y="1474"/>
                    </a:lnTo>
                    <a:lnTo>
                      <a:pt x="3495" y="1466"/>
                    </a:lnTo>
                    <a:lnTo>
                      <a:pt x="3502" y="1458"/>
                    </a:lnTo>
                    <a:lnTo>
                      <a:pt x="3508" y="1449"/>
                    </a:lnTo>
                    <a:lnTo>
                      <a:pt x="3536" y="1449"/>
                    </a:lnTo>
                    <a:lnTo>
                      <a:pt x="3558" y="1449"/>
                    </a:lnTo>
                    <a:lnTo>
                      <a:pt x="3578" y="1449"/>
                    </a:lnTo>
                    <a:lnTo>
                      <a:pt x="3593" y="1449"/>
                    </a:lnTo>
                    <a:lnTo>
                      <a:pt x="3607" y="1449"/>
                    </a:lnTo>
                    <a:lnTo>
                      <a:pt x="3619" y="1449"/>
                    </a:lnTo>
                    <a:lnTo>
                      <a:pt x="3633" y="1449"/>
                    </a:lnTo>
                    <a:lnTo>
                      <a:pt x="3647" y="1449"/>
                    </a:lnTo>
                    <a:lnTo>
                      <a:pt x="3665" y="1450"/>
                    </a:lnTo>
                    <a:lnTo>
                      <a:pt x="3693" y="1455"/>
                    </a:lnTo>
                    <a:lnTo>
                      <a:pt x="3725" y="1461"/>
                    </a:lnTo>
                    <a:lnTo>
                      <a:pt x="3760" y="1471"/>
                    </a:lnTo>
                    <a:lnTo>
                      <a:pt x="3777" y="1475"/>
                    </a:lnTo>
                    <a:lnTo>
                      <a:pt x="3795" y="1481"/>
                    </a:lnTo>
                    <a:lnTo>
                      <a:pt x="3811" y="1487"/>
                    </a:lnTo>
                    <a:lnTo>
                      <a:pt x="3826" y="1492"/>
                    </a:lnTo>
                    <a:lnTo>
                      <a:pt x="3838" y="1499"/>
                    </a:lnTo>
                    <a:lnTo>
                      <a:pt x="3849" y="1505"/>
                    </a:lnTo>
                    <a:lnTo>
                      <a:pt x="3858" y="1512"/>
                    </a:lnTo>
                    <a:lnTo>
                      <a:pt x="3863" y="1519"/>
                    </a:lnTo>
                    <a:lnTo>
                      <a:pt x="3869" y="1527"/>
                    </a:lnTo>
                    <a:lnTo>
                      <a:pt x="3874" y="1536"/>
                    </a:lnTo>
                    <a:lnTo>
                      <a:pt x="3877" y="1546"/>
                    </a:lnTo>
                    <a:lnTo>
                      <a:pt x="3880" y="1558"/>
                    </a:lnTo>
                    <a:lnTo>
                      <a:pt x="3883" y="1581"/>
                    </a:lnTo>
                    <a:lnTo>
                      <a:pt x="3886" y="1604"/>
                    </a:lnTo>
                    <a:lnTo>
                      <a:pt x="3889" y="1614"/>
                    </a:lnTo>
                    <a:lnTo>
                      <a:pt x="3891" y="1624"/>
                    </a:lnTo>
                    <a:lnTo>
                      <a:pt x="3893" y="1633"/>
                    </a:lnTo>
                    <a:lnTo>
                      <a:pt x="3897" y="1641"/>
                    </a:lnTo>
                    <a:lnTo>
                      <a:pt x="3902" y="1648"/>
                    </a:lnTo>
                    <a:lnTo>
                      <a:pt x="3908" y="1653"/>
                    </a:lnTo>
                    <a:lnTo>
                      <a:pt x="3912" y="1655"/>
                    </a:lnTo>
                    <a:lnTo>
                      <a:pt x="3916" y="1656"/>
                    </a:lnTo>
                    <a:lnTo>
                      <a:pt x="3921" y="1657"/>
                    </a:lnTo>
                    <a:lnTo>
                      <a:pt x="3925" y="1657"/>
                    </a:lnTo>
                    <a:lnTo>
                      <a:pt x="3940" y="1657"/>
                    </a:lnTo>
                    <a:lnTo>
                      <a:pt x="3951" y="1657"/>
                    </a:lnTo>
                    <a:lnTo>
                      <a:pt x="3957" y="1657"/>
                    </a:lnTo>
                    <a:lnTo>
                      <a:pt x="3961" y="1657"/>
                    </a:lnTo>
                    <a:lnTo>
                      <a:pt x="3964" y="1657"/>
                    </a:lnTo>
                    <a:lnTo>
                      <a:pt x="3968" y="1657"/>
                    </a:lnTo>
                    <a:lnTo>
                      <a:pt x="3972" y="1657"/>
                    </a:lnTo>
                    <a:lnTo>
                      <a:pt x="3982" y="1657"/>
                    </a:lnTo>
                    <a:lnTo>
                      <a:pt x="3993" y="1659"/>
                    </a:lnTo>
                    <a:lnTo>
                      <a:pt x="4003" y="1660"/>
                    </a:lnTo>
                    <a:lnTo>
                      <a:pt x="4013" y="1663"/>
                    </a:lnTo>
                    <a:lnTo>
                      <a:pt x="4022" y="1668"/>
                    </a:lnTo>
                    <a:lnTo>
                      <a:pt x="4030" y="1674"/>
                    </a:lnTo>
                    <a:lnTo>
                      <a:pt x="4037" y="1679"/>
                    </a:lnTo>
                    <a:lnTo>
                      <a:pt x="4045" y="1686"/>
                    </a:lnTo>
                    <a:lnTo>
                      <a:pt x="4050" y="1694"/>
                    </a:lnTo>
                    <a:lnTo>
                      <a:pt x="4063" y="1710"/>
                    </a:lnTo>
                    <a:lnTo>
                      <a:pt x="4076" y="1729"/>
                    </a:lnTo>
                    <a:lnTo>
                      <a:pt x="4087" y="1746"/>
                    </a:lnTo>
                    <a:lnTo>
                      <a:pt x="4100" y="1762"/>
                    </a:lnTo>
                    <a:lnTo>
                      <a:pt x="4093" y="1811"/>
                    </a:lnTo>
                    <a:lnTo>
                      <a:pt x="4050" y="1811"/>
                    </a:lnTo>
                    <a:lnTo>
                      <a:pt x="4046" y="1805"/>
                    </a:lnTo>
                    <a:lnTo>
                      <a:pt x="4040" y="1801"/>
                    </a:lnTo>
                    <a:lnTo>
                      <a:pt x="4034" y="1796"/>
                    </a:lnTo>
                    <a:lnTo>
                      <a:pt x="4030" y="1792"/>
                    </a:lnTo>
                    <a:lnTo>
                      <a:pt x="4023" y="1788"/>
                    </a:lnTo>
                    <a:lnTo>
                      <a:pt x="4017" y="1785"/>
                    </a:lnTo>
                    <a:lnTo>
                      <a:pt x="4010" y="1784"/>
                    </a:lnTo>
                    <a:lnTo>
                      <a:pt x="4002" y="1783"/>
                    </a:lnTo>
                    <a:lnTo>
                      <a:pt x="3999" y="1784"/>
                    </a:lnTo>
                    <a:lnTo>
                      <a:pt x="3994" y="1785"/>
                    </a:lnTo>
                    <a:lnTo>
                      <a:pt x="3991" y="1788"/>
                    </a:lnTo>
                    <a:lnTo>
                      <a:pt x="3987" y="1792"/>
                    </a:lnTo>
                    <a:lnTo>
                      <a:pt x="3979" y="1802"/>
                    </a:lnTo>
                    <a:lnTo>
                      <a:pt x="3972" y="1815"/>
                    </a:lnTo>
                    <a:lnTo>
                      <a:pt x="3967" y="1828"/>
                    </a:lnTo>
                    <a:lnTo>
                      <a:pt x="3961" y="1842"/>
                    </a:lnTo>
                    <a:lnTo>
                      <a:pt x="3956" y="1855"/>
                    </a:lnTo>
                    <a:lnTo>
                      <a:pt x="3953" y="1866"/>
                    </a:lnTo>
                    <a:lnTo>
                      <a:pt x="3948" y="1875"/>
                    </a:lnTo>
                    <a:lnTo>
                      <a:pt x="3941" y="1886"/>
                    </a:lnTo>
                    <a:lnTo>
                      <a:pt x="3932" y="1895"/>
                    </a:lnTo>
                    <a:lnTo>
                      <a:pt x="3921" y="1905"/>
                    </a:lnTo>
                    <a:lnTo>
                      <a:pt x="3896" y="1925"/>
                    </a:lnTo>
                    <a:lnTo>
                      <a:pt x="3867" y="1945"/>
                    </a:lnTo>
                    <a:lnTo>
                      <a:pt x="3836" y="1964"/>
                    </a:lnTo>
                    <a:lnTo>
                      <a:pt x="3806" y="1982"/>
                    </a:lnTo>
                    <a:lnTo>
                      <a:pt x="3780" y="1998"/>
                    </a:lnTo>
                    <a:lnTo>
                      <a:pt x="3758" y="2013"/>
                    </a:lnTo>
                    <a:lnTo>
                      <a:pt x="3743" y="2024"/>
                    </a:lnTo>
                    <a:lnTo>
                      <a:pt x="3728" y="2037"/>
                    </a:lnTo>
                    <a:lnTo>
                      <a:pt x="3714" y="2050"/>
                    </a:lnTo>
                    <a:lnTo>
                      <a:pt x="3701" y="2062"/>
                    </a:lnTo>
                    <a:lnTo>
                      <a:pt x="3688" y="2076"/>
                    </a:lnTo>
                    <a:lnTo>
                      <a:pt x="3675" y="2090"/>
                    </a:lnTo>
                    <a:lnTo>
                      <a:pt x="3664" y="2105"/>
                    </a:lnTo>
                    <a:lnTo>
                      <a:pt x="3654" y="2120"/>
                    </a:lnTo>
                    <a:lnTo>
                      <a:pt x="3644" y="2136"/>
                    </a:lnTo>
                    <a:lnTo>
                      <a:pt x="3636" y="2152"/>
                    </a:lnTo>
                    <a:lnTo>
                      <a:pt x="3630" y="2169"/>
                    </a:lnTo>
                    <a:lnTo>
                      <a:pt x="3624" y="2186"/>
                    </a:lnTo>
                    <a:lnTo>
                      <a:pt x="3618" y="2205"/>
                    </a:lnTo>
                    <a:lnTo>
                      <a:pt x="3615" y="2223"/>
                    </a:lnTo>
                    <a:lnTo>
                      <a:pt x="3614" y="2244"/>
                    </a:lnTo>
                    <a:lnTo>
                      <a:pt x="3612" y="2263"/>
                    </a:lnTo>
                    <a:lnTo>
                      <a:pt x="3612" y="2270"/>
                    </a:lnTo>
                    <a:lnTo>
                      <a:pt x="3615" y="2276"/>
                    </a:lnTo>
                    <a:lnTo>
                      <a:pt x="3617" y="2281"/>
                    </a:lnTo>
                    <a:lnTo>
                      <a:pt x="3620" y="2288"/>
                    </a:lnTo>
                    <a:lnTo>
                      <a:pt x="3627" y="2300"/>
                    </a:lnTo>
                    <a:lnTo>
                      <a:pt x="3636" y="2311"/>
                    </a:lnTo>
                    <a:lnTo>
                      <a:pt x="3646" y="2324"/>
                    </a:lnTo>
                    <a:lnTo>
                      <a:pt x="3654" y="2339"/>
                    </a:lnTo>
                    <a:lnTo>
                      <a:pt x="3656" y="2347"/>
                    </a:lnTo>
                    <a:lnTo>
                      <a:pt x="3659" y="2356"/>
                    </a:lnTo>
                    <a:lnTo>
                      <a:pt x="3661" y="2365"/>
                    </a:lnTo>
                    <a:lnTo>
                      <a:pt x="3661" y="2375"/>
                    </a:lnTo>
                    <a:lnTo>
                      <a:pt x="3661" y="2382"/>
                    </a:lnTo>
                    <a:lnTo>
                      <a:pt x="3659" y="2389"/>
                    </a:lnTo>
                    <a:lnTo>
                      <a:pt x="3657" y="2396"/>
                    </a:lnTo>
                    <a:lnTo>
                      <a:pt x="3654" y="2402"/>
                    </a:lnTo>
                    <a:lnTo>
                      <a:pt x="3650" y="2406"/>
                    </a:lnTo>
                    <a:lnTo>
                      <a:pt x="3646" y="2411"/>
                    </a:lnTo>
                    <a:lnTo>
                      <a:pt x="3640" y="2416"/>
                    </a:lnTo>
                    <a:lnTo>
                      <a:pt x="3634" y="2419"/>
                    </a:lnTo>
                    <a:lnTo>
                      <a:pt x="3620" y="2426"/>
                    </a:lnTo>
                    <a:lnTo>
                      <a:pt x="3605" y="2430"/>
                    </a:lnTo>
                    <a:lnTo>
                      <a:pt x="3588" y="2435"/>
                    </a:lnTo>
                    <a:lnTo>
                      <a:pt x="3570" y="2437"/>
                    </a:lnTo>
                    <a:lnTo>
                      <a:pt x="3533" y="2442"/>
                    </a:lnTo>
                    <a:lnTo>
                      <a:pt x="3497" y="2445"/>
                    </a:lnTo>
                    <a:lnTo>
                      <a:pt x="3479" y="2448"/>
                    </a:lnTo>
                    <a:lnTo>
                      <a:pt x="3463" y="2450"/>
                    </a:lnTo>
                    <a:lnTo>
                      <a:pt x="3450" y="2453"/>
                    </a:lnTo>
                    <a:lnTo>
                      <a:pt x="3438" y="2458"/>
                    </a:lnTo>
                    <a:lnTo>
                      <a:pt x="3432" y="2461"/>
                    </a:lnTo>
                    <a:lnTo>
                      <a:pt x="3427" y="2464"/>
                    </a:lnTo>
                    <a:lnTo>
                      <a:pt x="3422" y="2468"/>
                    </a:lnTo>
                    <a:lnTo>
                      <a:pt x="3417" y="2473"/>
                    </a:lnTo>
                    <a:lnTo>
                      <a:pt x="3414" y="2479"/>
                    </a:lnTo>
                    <a:lnTo>
                      <a:pt x="3411" y="2484"/>
                    </a:lnTo>
                    <a:lnTo>
                      <a:pt x="3408" y="2491"/>
                    </a:lnTo>
                    <a:lnTo>
                      <a:pt x="3406" y="2499"/>
                    </a:lnTo>
                    <a:lnTo>
                      <a:pt x="3403" y="2514"/>
                    </a:lnTo>
                    <a:lnTo>
                      <a:pt x="3400" y="2531"/>
                    </a:lnTo>
                    <a:lnTo>
                      <a:pt x="3398" y="2549"/>
                    </a:lnTo>
                    <a:lnTo>
                      <a:pt x="3397" y="2567"/>
                    </a:lnTo>
                    <a:lnTo>
                      <a:pt x="3395" y="2584"/>
                    </a:lnTo>
                    <a:lnTo>
                      <a:pt x="3391" y="2600"/>
                    </a:lnTo>
                    <a:lnTo>
                      <a:pt x="3388" y="2615"/>
                    </a:lnTo>
                    <a:lnTo>
                      <a:pt x="3382" y="2629"/>
                    </a:lnTo>
                    <a:lnTo>
                      <a:pt x="3377" y="2635"/>
                    </a:lnTo>
                    <a:lnTo>
                      <a:pt x="3374" y="2640"/>
                    </a:lnTo>
                    <a:lnTo>
                      <a:pt x="3369" y="2644"/>
                    </a:lnTo>
                    <a:lnTo>
                      <a:pt x="3364" y="2648"/>
                    </a:lnTo>
                    <a:lnTo>
                      <a:pt x="3357" y="2651"/>
                    </a:lnTo>
                    <a:lnTo>
                      <a:pt x="3350" y="2653"/>
                    </a:lnTo>
                    <a:lnTo>
                      <a:pt x="3343" y="2654"/>
                    </a:lnTo>
                    <a:lnTo>
                      <a:pt x="3334" y="2653"/>
                    </a:lnTo>
                    <a:lnTo>
                      <a:pt x="3323" y="2653"/>
                    </a:lnTo>
                    <a:lnTo>
                      <a:pt x="3314" y="2652"/>
                    </a:lnTo>
                    <a:lnTo>
                      <a:pt x="3306" y="2651"/>
                    </a:lnTo>
                    <a:lnTo>
                      <a:pt x="3298" y="2648"/>
                    </a:lnTo>
                    <a:lnTo>
                      <a:pt x="3291" y="2645"/>
                    </a:lnTo>
                    <a:lnTo>
                      <a:pt x="3284" y="2642"/>
                    </a:lnTo>
                    <a:lnTo>
                      <a:pt x="3279" y="2638"/>
                    </a:lnTo>
                    <a:lnTo>
                      <a:pt x="3273" y="2633"/>
                    </a:lnTo>
                    <a:lnTo>
                      <a:pt x="3264" y="2624"/>
                    </a:lnTo>
                    <a:lnTo>
                      <a:pt x="3256" y="2614"/>
                    </a:lnTo>
                    <a:lnTo>
                      <a:pt x="3248" y="2603"/>
                    </a:lnTo>
                    <a:lnTo>
                      <a:pt x="3242" y="2591"/>
                    </a:lnTo>
                    <a:lnTo>
                      <a:pt x="3235" y="2580"/>
                    </a:lnTo>
                    <a:lnTo>
                      <a:pt x="3228" y="2568"/>
                    </a:lnTo>
                    <a:lnTo>
                      <a:pt x="3220" y="2558"/>
                    </a:lnTo>
                    <a:lnTo>
                      <a:pt x="3212" y="2547"/>
                    </a:lnTo>
                    <a:lnTo>
                      <a:pt x="3208" y="2544"/>
                    </a:lnTo>
                    <a:lnTo>
                      <a:pt x="3202" y="2539"/>
                    </a:lnTo>
                    <a:lnTo>
                      <a:pt x="3196" y="2536"/>
                    </a:lnTo>
                    <a:lnTo>
                      <a:pt x="3190" y="2534"/>
                    </a:lnTo>
                    <a:lnTo>
                      <a:pt x="3184" y="2531"/>
                    </a:lnTo>
                    <a:lnTo>
                      <a:pt x="3177" y="2529"/>
                    </a:lnTo>
                    <a:lnTo>
                      <a:pt x="3169" y="2528"/>
                    </a:lnTo>
                    <a:lnTo>
                      <a:pt x="3159" y="2528"/>
                    </a:lnTo>
                    <a:lnTo>
                      <a:pt x="3151" y="2529"/>
                    </a:lnTo>
                    <a:lnTo>
                      <a:pt x="3142" y="2531"/>
                    </a:lnTo>
                    <a:lnTo>
                      <a:pt x="3133" y="2536"/>
                    </a:lnTo>
                    <a:lnTo>
                      <a:pt x="3123" y="2542"/>
                    </a:lnTo>
                    <a:lnTo>
                      <a:pt x="3112" y="2549"/>
                    </a:lnTo>
                    <a:lnTo>
                      <a:pt x="3102" y="2557"/>
                    </a:lnTo>
                    <a:lnTo>
                      <a:pt x="3092" y="2566"/>
                    </a:lnTo>
                    <a:lnTo>
                      <a:pt x="3082" y="2576"/>
                    </a:lnTo>
                    <a:lnTo>
                      <a:pt x="3072" y="2586"/>
                    </a:lnTo>
                    <a:lnTo>
                      <a:pt x="3063" y="2597"/>
                    </a:lnTo>
                    <a:lnTo>
                      <a:pt x="3055" y="2608"/>
                    </a:lnTo>
                    <a:lnTo>
                      <a:pt x="3048" y="2620"/>
                    </a:lnTo>
                    <a:lnTo>
                      <a:pt x="3043" y="2630"/>
                    </a:lnTo>
                    <a:lnTo>
                      <a:pt x="3038" y="2640"/>
                    </a:lnTo>
                    <a:lnTo>
                      <a:pt x="3036" y="2651"/>
                    </a:lnTo>
                    <a:lnTo>
                      <a:pt x="3035" y="2661"/>
                    </a:lnTo>
                    <a:lnTo>
                      <a:pt x="3035" y="2675"/>
                    </a:lnTo>
                    <a:lnTo>
                      <a:pt x="3037" y="2687"/>
                    </a:lnTo>
                    <a:lnTo>
                      <a:pt x="3039" y="2700"/>
                    </a:lnTo>
                    <a:lnTo>
                      <a:pt x="3041" y="2713"/>
                    </a:lnTo>
                    <a:lnTo>
                      <a:pt x="3049" y="2737"/>
                    </a:lnTo>
                    <a:lnTo>
                      <a:pt x="3059" y="2761"/>
                    </a:lnTo>
                    <a:lnTo>
                      <a:pt x="3068" y="2785"/>
                    </a:lnTo>
                    <a:lnTo>
                      <a:pt x="3076" y="2812"/>
                    </a:lnTo>
                    <a:lnTo>
                      <a:pt x="3078" y="2827"/>
                    </a:lnTo>
                    <a:lnTo>
                      <a:pt x="3082" y="2842"/>
                    </a:lnTo>
                    <a:lnTo>
                      <a:pt x="3083" y="2858"/>
                    </a:lnTo>
                    <a:lnTo>
                      <a:pt x="3083" y="2877"/>
                    </a:lnTo>
                    <a:lnTo>
                      <a:pt x="3082" y="2889"/>
                    </a:lnTo>
                    <a:lnTo>
                      <a:pt x="3079" y="2903"/>
                    </a:lnTo>
                    <a:lnTo>
                      <a:pt x="3076" y="2916"/>
                    </a:lnTo>
                    <a:lnTo>
                      <a:pt x="3071" y="2928"/>
                    </a:lnTo>
                    <a:lnTo>
                      <a:pt x="3062" y="2953"/>
                    </a:lnTo>
                    <a:lnTo>
                      <a:pt x="3053" y="2975"/>
                    </a:lnTo>
                    <a:lnTo>
                      <a:pt x="3044" y="2995"/>
                    </a:lnTo>
                    <a:lnTo>
                      <a:pt x="3035" y="3010"/>
                    </a:lnTo>
                    <a:lnTo>
                      <a:pt x="3030" y="3019"/>
                    </a:lnTo>
                    <a:lnTo>
                      <a:pt x="3028" y="3022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15" name="Freeform 534"/>
              <p:cNvSpPr>
                <a:spLocks/>
              </p:cNvSpPr>
              <p:nvPr/>
            </p:nvSpPr>
            <p:spPr bwMode="auto">
              <a:xfrm>
                <a:off x="1291" y="2619"/>
                <a:ext cx="1372" cy="1426"/>
              </a:xfrm>
              <a:custGeom>
                <a:avLst/>
                <a:gdLst>
                  <a:gd name="T0" fmla="*/ 9 w 7437"/>
                  <a:gd name="T1" fmla="*/ 45 h 7731"/>
                  <a:gd name="T2" fmla="*/ 10 w 7437"/>
                  <a:gd name="T3" fmla="*/ 47 h 7731"/>
                  <a:gd name="T4" fmla="*/ 11 w 7437"/>
                  <a:gd name="T5" fmla="*/ 49 h 7731"/>
                  <a:gd name="T6" fmla="*/ 14 w 7437"/>
                  <a:gd name="T7" fmla="*/ 46 h 7731"/>
                  <a:gd name="T8" fmla="*/ 15 w 7437"/>
                  <a:gd name="T9" fmla="*/ 44 h 7731"/>
                  <a:gd name="T10" fmla="*/ 18 w 7437"/>
                  <a:gd name="T11" fmla="*/ 45 h 7731"/>
                  <a:gd name="T12" fmla="*/ 19 w 7437"/>
                  <a:gd name="T13" fmla="*/ 46 h 7731"/>
                  <a:gd name="T14" fmla="*/ 23 w 7437"/>
                  <a:gd name="T15" fmla="*/ 46 h 7731"/>
                  <a:gd name="T16" fmla="*/ 25 w 7437"/>
                  <a:gd name="T17" fmla="*/ 45 h 7731"/>
                  <a:gd name="T18" fmla="*/ 30 w 7437"/>
                  <a:gd name="T19" fmla="*/ 43 h 7731"/>
                  <a:gd name="T20" fmla="*/ 32 w 7437"/>
                  <a:gd name="T21" fmla="*/ 42 h 7731"/>
                  <a:gd name="T22" fmla="*/ 34 w 7437"/>
                  <a:gd name="T23" fmla="*/ 42 h 7731"/>
                  <a:gd name="T24" fmla="*/ 37 w 7437"/>
                  <a:gd name="T25" fmla="*/ 42 h 7731"/>
                  <a:gd name="T26" fmla="*/ 38 w 7437"/>
                  <a:gd name="T27" fmla="*/ 44 h 7731"/>
                  <a:gd name="T28" fmla="*/ 39 w 7437"/>
                  <a:gd name="T29" fmla="*/ 42 h 7731"/>
                  <a:gd name="T30" fmla="*/ 39 w 7437"/>
                  <a:gd name="T31" fmla="*/ 40 h 7731"/>
                  <a:gd name="T32" fmla="*/ 37 w 7437"/>
                  <a:gd name="T33" fmla="*/ 36 h 7731"/>
                  <a:gd name="T34" fmla="*/ 38 w 7437"/>
                  <a:gd name="T35" fmla="*/ 34 h 7731"/>
                  <a:gd name="T36" fmla="*/ 41 w 7437"/>
                  <a:gd name="T37" fmla="*/ 33 h 7731"/>
                  <a:gd name="T38" fmla="*/ 44 w 7437"/>
                  <a:gd name="T39" fmla="*/ 29 h 7731"/>
                  <a:gd name="T40" fmla="*/ 46 w 7437"/>
                  <a:gd name="T41" fmla="*/ 28 h 7731"/>
                  <a:gd name="T42" fmla="*/ 46 w 7437"/>
                  <a:gd name="T43" fmla="*/ 24 h 7731"/>
                  <a:gd name="T44" fmla="*/ 43 w 7437"/>
                  <a:gd name="T45" fmla="*/ 23 h 7731"/>
                  <a:gd name="T46" fmla="*/ 39 w 7437"/>
                  <a:gd name="T47" fmla="*/ 19 h 7731"/>
                  <a:gd name="T48" fmla="*/ 36 w 7437"/>
                  <a:gd name="T49" fmla="*/ 17 h 7731"/>
                  <a:gd name="T50" fmla="*/ 34 w 7437"/>
                  <a:gd name="T51" fmla="*/ 15 h 7731"/>
                  <a:gd name="T52" fmla="*/ 32 w 7437"/>
                  <a:gd name="T53" fmla="*/ 12 h 7731"/>
                  <a:gd name="T54" fmla="*/ 33 w 7437"/>
                  <a:gd name="T55" fmla="*/ 9 h 7731"/>
                  <a:gd name="T56" fmla="*/ 30 w 7437"/>
                  <a:gd name="T57" fmla="*/ 6 h 7731"/>
                  <a:gd name="T58" fmla="*/ 30 w 7437"/>
                  <a:gd name="T59" fmla="*/ 4 h 7731"/>
                  <a:gd name="T60" fmla="*/ 28 w 7437"/>
                  <a:gd name="T61" fmla="*/ 2 h 7731"/>
                  <a:gd name="T62" fmla="*/ 25 w 7437"/>
                  <a:gd name="T63" fmla="*/ 2 h 7731"/>
                  <a:gd name="T64" fmla="*/ 21 w 7437"/>
                  <a:gd name="T65" fmla="*/ 1 h 7731"/>
                  <a:gd name="T66" fmla="*/ 20 w 7437"/>
                  <a:gd name="T67" fmla="*/ 3 h 7731"/>
                  <a:gd name="T68" fmla="*/ 17 w 7437"/>
                  <a:gd name="T69" fmla="*/ 3 h 7731"/>
                  <a:gd name="T70" fmla="*/ 18 w 7437"/>
                  <a:gd name="T71" fmla="*/ 5 h 7731"/>
                  <a:gd name="T72" fmla="*/ 15 w 7437"/>
                  <a:gd name="T73" fmla="*/ 4 h 7731"/>
                  <a:gd name="T74" fmla="*/ 13 w 7437"/>
                  <a:gd name="T75" fmla="*/ 2 h 7731"/>
                  <a:gd name="T76" fmla="*/ 11 w 7437"/>
                  <a:gd name="T77" fmla="*/ 0 h 7731"/>
                  <a:gd name="T78" fmla="*/ 8 w 7437"/>
                  <a:gd name="T79" fmla="*/ 2 h 7731"/>
                  <a:gd name="T80" fmla="*/ 6 w 7437"/>
                  <a:gd name="T81" fmla="*/ 5 h 7731"/>
                  <a:gd name="T82" fmla="*/ 4 w 7437"/>
                  <a:gd name="T83" fmla="*/ 7 h 7731"/>
                  <a:gd name="T84" fmla="*/ 1 w 7437"/>
                  <a:gd name="T85" fmla="*/ 6 h 7731"/>
                  <a:gd name="T86" fmla="*/ 1 w 7437"/>
                  <a:gd name="T87" fmla="*/ 9 h 7731"/>
                  <a:gd name="T88" fmla="*/ 1 w 7437"/>
                  <a:gd name="T89" fmla="*/ 13 h 7731"/>
                  <a:gd name="T90" fmla="*/ 1 w 7437"/>
                  <a:gd name="T91" fmla="*/ 14 h 7731"/>
                  <a:gd name="T92" fmla="*/ 4 w 7437"/>
                  <a:gd name="T93" fmla="*/ 13 h 7731"/>
                  <a:gd name="T94" fmla="*/ 4 w 7437"/>
                  <a:gd name="T95" fmla="*/ 11 h 7731"/>
                  <a:gd name="T96" fmla="*/ 6 w 7437"/>
                  <a:gd name="T97" fmla="*/ 12 h 7731"/>
                  <a:gd name="T98" fmla="*/ 8 w 7437"/>
                  <a:gd name="T99" fmla="*/ 13 h 7731"/>
                  <a:gd name="T100" fmla="*/ 9 w 7437"/>
                  <a:gd name="T101" fmla="*/ 15 h 7731"/>
                  <a:gd name="T102" fmla="*/ 11 w 7437"/>
                  <a:gd name="T103" fmla="*/ 17 h 7731"/>
                  <a:gd name="T104" fmla="*/ 11 w 7437"/>
                  <a:gd name="T105" fmla="*/ 19 h 7731"/>
                  <a:gd name="T106" fmla="*/ 12 w 7437"/>
                  <a:gd name="T107" fmla="*/ 21 h 7731"/>
                  <a:gd name="T108" fmla="*/ 14 w 7437"/>
                  <a:gd name="T109" fmla="*/ 25 h 7731"/>
                  <a:gd name="T110" fmla="*/ 14 w 7437"/>
                  <a:gd name="T111" fmla="*/ 27 h 7731"/>
                  <a:gd name="T112" fmla="*/ 13 w 7437"/>
                  <a:gd name="T113" fmla="*/ 27 h 7731"/>
                  <a:gd name="T114" fmla="*/ 11 w 7437"/>
                  <a:gd name="T115" fmla="*/ 31 h 7731"/>
                  <a:gd name="T116" fmla="*/ 10 w 7437"/>
                  <a:gd name="T117" fmla="*/ 34 h 7731"/>
                  <a:gd name="T118" fmla="*/ 10 w 7437"/>
                  <a:gd name="T119" fmla="*/ 40 h 7731"/>
                  <a:gd name="T120" fmla="*/ 11 w 7437"/>
                  <a:gd name="T121" fmla="*/ 42 h 7731"/>
                  <a:gd name="T122" fmla="*/ 8 w 7437"/>
                  <a:gd name="T123" fmla="*/ 43 h 7731"/>
                  <a:gd name="T124" fmla="*/ 6 w 7437"/>
                  <a:gd name="T125" fmla="*/ 44 h 773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7437"/>
                  <a:gd name="T190" fmla="*/ 0 h 7731"/>
                  <a:gd name="T191" fmla="*/ 7437 w 7437"/>
                  <a:gd name="T192" fmla="*/ 7731 h 773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7437" h="7731">
                    <a:moveTo>
                      <a:pt x="899" y="6958"/>
                    </a:moveTo>
                    <a:lnTo>
                      <a:pt x="910" y="6963"/>
                    </a:lnTo>
                    <a:lnTo>
                      <a:pt x="921" y="6968"/>
                    </a:lnTo>
                    <a:lnTo>
                      <a:pt x="933" y="6974"/>
                    </a:lnTo>
                    <a:lnTo>
                      <a:pt x="944" y="6981"/>
                    </a:lnTo>
                    <a:lnTo>
                      <a:pt x="969" y="6997"/>
                    </a:lnTo>
                    <a:lnTo>
                      <a:pt x="995" y="7015"/>
                    </a:lnTo>
                    <a:lnTo>
                      <a:pt x="1021" y="7032"/>
                    </a:lnTo>
                    <a:lnTo>
                      <a:pt x="1048" y="7049"/>
                    </a:lnTo>
                    <a:lnTo>
                      <a:pt x="1061" y="7057"/>
                    </a:lnTo>
                    <a:lnTo>
                      <a:pt x="1075" y="7064"/>
                    </a:lnTo>
                    <a:lnTo>
                      <a:pt x="1089" y="7071"/>
                    </a:lnTo>
                    <a:lnTo>
                      <a:pt x="1101" y="7077"/>
                    </a:lnTo>
                    <a:lnTo>
                      <a:pt x="1115" y="7063"/>
                    </a:lnTo>
                    <a:lnTo>
                      <a:pt x="1126" y="7049"/>
                    </a:lnTo>
                    <a:lnTo>
                      <a:pt x="1136" y="7036"/>
                    </a:lnTo>
                    <a:lnTo>
                      <a:pt x="1145" y="7023"/>
                    </a:lnTo>
                    <a:lnTo>
                      <a:pt x="1154" y="7010"/>
                    </a:lnTo>
                    <a:lnTo>
                      <a:pt x="1165" y="6999"/>
                    </a:lnTo>
                    <a:lnTo>
                      <a:pt x="1172" y="6993"/>
                    </a:lnTo>
                    <a:lnTo>
                      <a:pt x="1180" y="6988"/>
                    </a:lnTo>
                    <a:lnTo>
                      <a:pt x="1188" y="6984"/>
                    </a:lnTo>
                    <a:lnTo>
                      <a:pt x="1199" y="6979"/>
                    </a:lnTo>
                    <a:lnTo>
                      <a:pt x="1207" y="6999"/>
                    </a:lnTo>
                    <a:lnTo>
                      <a:pt x="1216" y="7019"/>
                    </a:lnTo>
                    <a:lnTo>
                      <a:pt x="1226" y="7040"/>
                    </a:lnTo>
                    <a:lnTo>
                      <a:pt x="1236" y="7060"/>
                    </a:lnTo>
                    <a:lnTo>
                      <a:pt x="1243" y="7070"/>
                    </a:lnTo>
                    <a:lnTo>
                      <a:pt x="1249" y="7078"/>
                    </a:lnTo>
                    <a:lnTo>
                      <a:pt x="1256" y="7085"/>
                    </a:lnTo>
                    <a:lnTo>
                      <a:pt x="1263" y="7091"/>
                    </a:lnTo>
                    <a:lnTo>
                      <a:pt x="1271" y="7097"/>
                    </a:lnTo>
                    <a:lnTo>
                      <a:pt x="1279" y="7101"/>
                    </a:lnTo>
                    <a:lnTo>
                      <a:pt x="1287" y="7103"/>
                    </a:lnTo>
                    <a:lnTo>
                      <a:pt x="1296" y="7104"/>
                    </a:lnTo>
                    <a:lnTo>
                      <a:pt x="1313" y="7104"/>
                    </a:lnTo>
                    <a:lnTo>
                      <a:pt x="1330" y="7102"/>
                    </a:lnTo>
                    <a:lnTo>
                      <a:pt x="1348" y="7099"/>
                    </a:lnTo>
                    <a:lnTo>
                      <a:pt x="1365" y="7097"/>
                    </a:lnTo>
                    <a:lnTo>
                      <a:pt x="1383" y="7097"/>
                    </a:lnTo>
                    <a:lnTo>
                      <a:pt x="1403" y="7098"/>
                    </a:lnTo>
                    <a:lnTo>
                      <a:pt x="1413" y="7101"/>
                    </a:lnTo>
                    <a:lnTo>
                      <a:pt x="1424" y="7103"/>
                    </a:lnTo>
                    <a:lnTo>
                      <a:pt x="1437" y="7106"/>
                    </a:lnTo>
                    <a:lnTo>
                      <a:pt x="1450" y="7111"/>
                    </a:lnTo>
                    <a:lnTo>
                      <a:pt x="1450" y="7128"/>
                    </a:lnTo>
                    <a:lnTo>
                      <a:pt x="1452" y="7144"/>
                    </a:lnTo>
                    <a:lnTo>
                      <a:pt x="1455" y="7157"/>
                    </a:lnTo>
                    <a:lnTo>
                      <a:pt x="1460" y="7168"/>
                    </a:lnTo>
                    <a:lnTo>
                      <a:pt x="1466" y="7179"/>
                    </a:lnTo>
                    <a:lnTo>
                      <a:pt x="1474" y="7187"/>
                    </a:lnTo>
                    <a:lnTo>
                      <a:pt x="1482" y="7194"/>
                    </a:lnTo>
                    <a:lnTo>
                      <a:pt x="1491" y="7199"/>
                    </a:lnTo>
                    <a:lnTo>
                      <a:pt x="1501" y="7204"/>
                    </a:lnTo>
                    <a:lnTo>
                      <a:pt x="1513" y="7207"/>
                    </a:lnTo>
                    <a:lnTo>
                      <a:pt x="1524" y="7208"/>
                    </a:lnTo>
                    <a:lnTo>
                      <a:pt x="1537" y="7211"/>
                    </a:lnTo>
                    <a:lnTo>
                      <a:pt x="1565" y="7211"/>
                    </a:lnTo>
                    <a:lnTo>
                      <a:pt x="1595" y="7208"/>
                    </a:lnTo>
                    <a:lnTo>
                      <a:pt x="1596" y="7220"/>
                    </a:lnTo>
                    <a:lnTo>
                      <a:pt x="1598" y="7230"/>
                    </a:lnTo>
                    <a:lnTo>
                      <a:pt x="1600" y="7239"/>
                    </a:lnTo>
                    <a:lnTo>
                      <a:pt x="1602" y="7249"/>
                    </a:lnTo>
                    <a:lnTo>
                      <a:pt x="1609" y="7263"/>
                    </a:lnTo>
                    <a:lnTo>
                      <a:pt x="1618" y="7277"/>
                    </a:lnTo>
                    <a:lnTo>
                      <a:pt x="1627" y="7291"/>
                    </a:lnTo>
                    <a:lnTo>
                      <a:pt x="1637" y="7306"/>
                    </a:lnTo>
                    <a:lnTo>
                      <a:pt x="1641" y="7314"/>
                    </a:lnTo>
                    <a:lnTo>
                      <a:pt x="1645" y="7322"/>
                    </a:lnTo>
                    <a:lnTo>
                      <a:pt x="1648" y="7331"/>
                    </a:lnTo>
                    <a:lnTo>
                      <a:pt x="1651" y="7341"/>
                    </a:lnTo>
                    <a:lnTo>
                      <a:pt x="1639" y="7347"/>
                    </a:lnTo>
                    <a:lnTo>
                      <a:pt x="1627" y="7354"/>
                    </a:lnTo>
                    <a:lnTo>
                      <a:pt x="1618" y="7362"/>
                    </a:lnTo>
                    <a:lnTo>
                      <a:pt x="1610" y="7371"/>
                    </a:lnTo>
                    <a:lnTo>
                      <a:pt x="1604" y="7382"/>
                    </a:lnTo>
                    <a:lnTo>
                      <a:pt x="1599" y="7393"/>
                    </a:lnTo>
                    <a:lnTo>
                      <a:pt x="1596" y="7405"/>
                    </a:lnTo>
                    <a:lnTo>
                      <a:pt x="1595" y="7418"/>
                    </a:lnTo>
                    <a:lnTo>
                      <a:pt x="1596" y="7433"/>
                    </a:lnTo>
                    <a:lnTo>
                      <a:pt x="1599" y="7447"/>
                    </a:lnTo>
                    <a:lnTo>
                      <a:pt x="1602" y="7461"/>
                    </a:lnTo>
                    <a:lnTo>
                      <a:pt x="1607" y="7472"/>
                    </a:lnTo>
                    <a:lnTo>
                      <a:pt x="1610" y="7477"/>
                    </a:lnTo>
                    <a:lnTo>
                      <a:pt x="1614" y="7481"/>
                    </a:lnTo>
                    <a:lnTo>
                      <a:pt x="1617" y="7485"/>
                    </a:lnTo>
                    <a:lnTo>
                      <a:pt x="1622" y="7488"/>
                    </a:lnTo>
                    <a:lnTo>
                      <a:pt x="1626" y="7491"/>
                    </a:lnTo>
                    <a:lnTo>
                      <a:pt x="1632" y="7493"/>
                    </a:lnTo>
                    <a:lnTo>
                      <a:pt x="1638" y="7494"/>
                    </a:lnTo>
                    <a:lnTo>
                      <a:pt x="1645" y="7494"/>
                    </a:lnTo>
                    <a:lnTo>
                      <a:pt x="1662" y="7494"/>
                    </a:lnTo>
                    <a:lnTo>
                      <a:pt x="1678" y="7493"/>
                    </a:lnTo>
                    <a:lnTo>
                      <a:pt x="1692" y="7491"/>
                    </a:lnTo>
                    <a:lnTo>
                      <a:pt x="1707" y="7489"/>
                    </a:lnTo>
                    <a:lnTo>
                      <a:pt x="1719" y="7488"/>
                    </a:lnTo>
                    <a:lnTo>
                      <a:pt x="1733" y="7488"/>
                    </a:lnTo>
                    <a:lnTo>
                      <a:pt x="1748" y="7491"/>
                    </a:lnTo>
                    <a:lnTo>
                      <a:pt x="1763" y="7494"/>
                    </a:lnTo>
                    <a:lnTo>
                      <a:pt x="1763" y="7485"/>
                    </a:lnTo>
                    <a:lnTo>
                      <a:pt x="1764" y="7477"/>
                    </a:lnTo>
                    <a:lnTo>
                      <a:pt x="1765" y="7469"/>
                    </a:lnTo>
                    <a:lnTo>
                      <a:pt x="1767" y="7463"/>
                    </a:lnTo>
                    <a:lnTo>
                      <a:pt x="1771" y="7458"/>
                    </a:lnTo>
                    <a:lnTo>
                      <a:pt x="1774" y="7455"/>
                    </a:lnTo>
                    <a:lnTo>
                      <a:pt x="1778" y="7452"/>
                    </a:lnTo>
                    <a:lnTo>
                      <a:pt x="1782" y="7449"/>
                    </a:lnTo>
                    <a:lnTo>
                      <a:pt x="1794" y="7446"/>
                    </a:lnTo>
                    <a:lnTo>
                      <a:pt x="1806" y="7446"/>
                    </a:lnTo>
                    <a:lnTo>
                      <a:pt x="1822" y="7446"/>
                    </a:lnTo>
                    <a:lnTo>
                      <a:pt x="1840" y="7446"/>
                    </a:lnTo>
                    <a:lnTo>
                      <a:pt x="1837" y="7450"/>
                    </a:lnTo>
                    <a:lnTo>
                      <a:pt x="1834" y="7462"/>
                    </a:lnTo>
                    <a:lnTo>
                      <a:pt x="1828" y="7479"/>
                    </a:lnTo>
                    <a:lnTo>
                      <a:pt x="1822" y="7500"/>
                    </a:lnTo>
                    <a:lnTo>
                      <a:pt x="1815" y="7520"/>
                    </a:lnTo>
                    <a:lnTo>
                      <a:pt x="1810" y="7540"/>
                    </a:lnTo>
                    <a:lnTo>
                      <a:pt x="1806" y="7555"/>
                    </a:lnTo>
                    <a:lnTo>
                      <a:pt x="1804" y="7564"/>
                    </a:lnTo>
                    <a:lnTo>
                      <a:pt x="1804" y="7579"/>
                    </a:lnTo>
                    <a:lnTo>
                      <a:pt x="1804" y="7590"/>
                    </a:lnTo>
                    <a:lnTo>
                      <a:pt x="1804" y="7601"/>
                    </a:lnTo>
                    <a:lnTo>
                      <a:pt x="1804" y="7609"/>
                    </a:lnTo>
                    <a:lnTo>
                      <a:pt x="1804" y="7614"/>
                    </a:lnTo>
                    <a:lnTo>
                      <a:pt x="1804" y="7620"/>
                    </a:lnTo>
                    <a:lnTo>
                      <a:pt x="1804" y="7624"/>
                    </a:lnTo>
                    <a:lnTo>
                      <a:pt x="1804" y="7627"/>
                    </a:lnTo>
                    <a:lnTo>
                      <a:pt x="1804" y="7640"/>
                    </a:lnTo>
                    <a:lnTo>
                      <a:pt x="1801" y="7652"/>
                    </a:lnTo>
                    <a:lnTo>
                      <a:pt x="1797" y="7664"/>
                    </a:lnTo>
                    <a:lnTo>
                      <a:pt x="1791" y="7676"/>
                    </a:lnTo>
                    <a:lnTo>
                      <a:pt x="1784" y="7689"/>
                    </a:lnTo>
                    <a:lnTo>
                      <a:pt x="1778" y="7702"/>
                    </a:lnTo>
                    <a:lnTo>
                      <a:pt x="1771" y="7716"/>
                    </a:lnTo>
                    <a:lnTo>
                      <a:pt x="1763" y="7731"/>
                    </a:lnTo>
                    <a:lnTo>
                      <a:pt x="1767" y="7731"/>
                    </a:lnTo>
                    <a:lnTo>
                      <a:pt x="1773" y="7731"/>
                    </a:lnTo>
                    <a:lnTo>
                      <a:pt x="1779" y="7731"/>
                    </a:lnTo>
                    <a:lnTo>
                      <a:pt x="1783" y="7731"/>
                    </a:lnTo>
                    <a:lnTo>
                      <a:pt x="1789" y="7731"/>
                    </a:lnTo>
                    <a:lnTo>
                      <a:pt x="1794" y="7731"/>
                    </a:lnTo>
                    <a:lnTo>
                      <a:pt x="1799" y="7731"/>
                    </a:lnTo>
                    <a:lnTo>
                      <a:pt x="1804" y="7731"/>
                    </a:lnTo>
                    <a:lnTo>
                      <a:pt x="1819" y="7731"/>
                    </a:lnTo>
                    <a:lnTo>
                      <a:pt x="1831" y="7730"/>
                    </a:lnTo>
                    <a:lnTo>
                      <a:pt x="1845" y="7729"/>
                    </a:lnTo>
                    <a:lnTo>
                      <a:pt x="1858" y="7726"/>
                    </a:lnTo>
                    <a:lnTo>
                      <a:pt x="1869" y="7722"/>
                    </a:lnTo>
                    <a:lnTo>
                      <a:pt x="1881" y="7718"/>
                    </a:lnTo>
                    <a:lnTo>
                      <a:pt x="1892" y="7713"/>
                    </a:lnTo>
                    <a:lnTo>
                      <a:pt x="1903" y="7707"/>
                    </a:lnTo>
                    <a:lnTo>
                      <a:pt x="1913" y="7700"/>
                    </a:lnTo>
                    <a:lnTo>
                      <a:pt x="1923" y="7694"/>
                    </a:lnTo>
                    <a:lnTo>
                      <a:pt x="1932" y="7687"/>
                    </a:lnTo>
                    <a:lnTo>
                      <a:pt x="1942" y="7679"/>
                    </a:lnTo>
                    <a:lnTo>
                      <a:pt x="1959" y="7661"/>
                    </a:lnTo>
                    <a:lnTo>
                      <a:pt x="1976" y="7643"/>
                    </a:lnTo>
                    <a:lnTo>
                      <a:pt x="2006" y="7605"/>
                    </a:lnTo>
                    <a:lnTo>
                      <a:pt x="2034" y="7567"/>
                    </a:lnTo>
                    <a:lnTo>
                      <a:pt x="2048" y="7550"/>
                    </a:lnTo>
                    <a:lnTo>
                      <a:pt x="2062" y="7534"/>
                    </a:lnTo>
                    <a:lnTo>
                      <a:pt x="2076" y="7520"/>
                    </a:lnTo>
                    <a:lnTo>
                      <a:pt x="2089" y="7508"/>
                    </a:lnTo>
                    <a:lnTo>
                      <a:pt x="2119" y="7489"/>
                    </a:lnTo>
                    <a:lnTo>
                      <a:pt x="2149" y="7471"/>
                    </a:lnTo>
                    <a:lnTo>
                      <a:pt x="2164" y="7461"/>
                    </a:lnTo>
                    <a:lnTo>
                      <a:pt x="2179" y="7450"/>
                    </a:lnTo>
                    <a:lnTo>
                      <a:pt x="2193" y="7439"/>
                    </a:lnTo>
                    <a:lnTo>
                      <a:pt x="2205" y="7427"/>
                    </a:lnTo>
                    <a:lnTo>
                      <a:pt x="2218" y="7415"/>
                    </a:lnTo>
                    <a:lnTo>
                      <a:pt x="2229" y="7401"/>
                    </a:lnTo>
                    <a:lnTo>
                      <a:pt x="2238" y="7387"/>
                    </a:lnTo>
                    <a:lnTo>
                      <a:pt x="2248" y="7372"/>
                    </a:lnTo>
                    <a:lnTo>
                      <a:pt x="2255" y="7356"/>
                    </a:lnTo>
                    <a:lnTo>
                      <a:pt x="2259" y="7338"/>
                    </a:lnTo>
                    <a:lnTo>
                      <a:pt x="2263" y="7320"/>
                    </a:lnTo>
                    <a:lnTo>
                      <a:pt x="2264" y="7299"/>
                    </a:lnTo>
                    <a:lnTo>
                      <a:pt x="2264" y="7291"/>
                    </a:lnTo>
                    <a:lnTo>
                      <a:pt x="2264" y="7283"/>
                    </a:lnTo>
                    <a:lnTo>
                      <a:pt x="2263" y="7275"/>
                    </a:lnTo>
                    <a:lnTo>
                      <a:pt x="2261" y="7268"/>
                    </a:lnTo>
                    <a:lnTo>
                      <a:pt x="2258" y="7257"/>
                    </a:lnTo>
                    <a:lnTo>
                      <a:pt x="2251" y="7246"/>
                    </a:lnTo>
                    <a:lnTo>
                      <a:pt x="2244" y="7237"/>
                    </a:lnTo>
                    <a:lnTo>
                      <a:pt x="2236" y="7230"/>
                    </a:lnTo>
                    <a:lnTo>
                      <a:pt x="2227" y="7223"/>
                    </a:lnTo>
                    <a:lnTo>
                      <a:pt x="2218" y="7216"/>
                    </a:lnTo>
                    <a:lnTo>
                      <a:pt x="2209" y="7211"/>
                    </a:lnTo>
                    <a:lnTo>
                      <a:pt x="2200" y="7204"/>
                    </a:lnTo>
                    <a:lnTo>
                      <a:pt x="2190" y="7197"/>
                    </a:lnTo>
                    <a:lnTo>
                      <a:pt x="2182" y="7189"/>
                    </a:lnTo>
                    <a:lnTo>
                      <a:pt x="2175" y="7180"/>
                    </a:lnTo>
                    <a:lnTo>
                      <a:pt x="2171" y="7168"/>
                    </a:lnTo>
                    <a:lnTo>
                      <a:pt x="2169" y="7161"/>
                    </a:lnTo>
                    <a:lnTo>
                      <a:pt x="2167" y="7155"/>
                    </a:lnTo>
                    <a:lnTo>
                      <a:pt x="2166" y="7148"/>
                    </a:lnTo>
                    <a:lnTo>
                      <a:pt x="2166" y="7140"/>
                    </a:lnTo>
                    <a:lnTo>
                      <a:pt x="2167" y="7116"/>
                    </a:lnTo>
                    <a:lnTo>
                      <a:pt x="2169" y="7095"/>
                    </a:lnTo>
                    <a:lnTo>
                      <a:pt x="2170" y="7077"/>
                    </a:lnTo>
                    <a:lnTo>
                      <a:pt x="2172" y="7060"/>
                    </a:lnTo>
                    <a:lnTo>
                      <a:pt x="2172" y="7043"/>
                    </a:lnTo>
                    <a:lnTo>
                      <a:pt x="2172" y="7026"/>
                    </a:lnTo>
                    <a:lnTo>
                      <a:pt x="2171" y="7008"/>
                    </a:lnTo>
                    <a:lnTo>
                      <a:pt x="2166" y="6986"/>
                    </a:lnTo>
                    <a:lnTo>
                      <a:pt x="2180" y="6986"/>
                    </a:lnTo>
                    <a:lnTo>
                      <a:pt x="2189" y="6986"/>
                    </a:lnTo>
                    <a:lnTo>
                      <a:pt x="2195" y="6986"/>
                    </a:lnTo>
                    <a:lnTo>
                      <a:pt x="2200" y="6987"/>
                    </a:lnTo>
                    <a:lnTo>
                      <a:pt x="2203" y="6987"/>
                    </a:lnTo>
                    <a:lnTo>
                      <a:pt x="2208" y="6989"/>
                    </a:lnTo>
                    <a:lnTo>
                      <a:pt x="2213" y="6991"/>
                    </a:lnTo>
                    <a:lnTo>
                      <a:pt x="2222" y="6993"/>
                    </a:lnTo>
                    <a:lnTo>
                      <a:pt x="2234" y="7007"/>
                    </a:lnTo>
                    <a:lnTo>
                      <a:pt x="2245" y="7023"/>
                    </a:lnTo>
                    <a:lnTo>
                      <a:pt x="2256" y="7040"/>
                    </a:lnTo>
                    <a:lnTo>
                      <a:pt x="2266" y="7056"/>
                    </a:lnTo>
                    <a:lnTo>
                      <a:pt x="2272" y="7063"/>
                    </a:lnTo>
                    <a:lnTo>
                      <a:pt x="2279" y="7071"/>
                    </a:lnTo>
                    <a:lnTo>
                      <a:pt x="2284" y="7077"/>
                    </a:lnTo>
                    <a:lnTo>
                      <a:pt x="2291" y="7083"/>
                    </a:lnTo>
                    <a:lnTo>
                      <a:pt x="2299" y="7088"/>
                    </a:lnTo>
                    <a:lnTo>
                      <a:pt x="2307" y="7093"/>
                    </a:lnTo>
                    <a:lnTo>
                      <a:pt x="2316" y="7095"/>
                    </a:lnTo>
                    <a:lnTo>
                      <a:pt x="2327" y="7097"/>
                    </a:lnTo>
                    <a:lnTo>
                      <a:pt x="2341" y="7096"/>
                    </a:lnTo>
                    <a:lnTo>
                      <a:pt x="2352" y="7094"/>
                    </a:lnTo>
                    <a:lnTo>
                      <a:pt x="2363" y="7089"/>
                    </a:lnTo>
                    <a:lnTo>
                      <a:pt x="2373" y="7085"/>
                    </a:lnTo>
                    <a:lnTo>
                      <a:pt x="2381" y="7078"/>
                    </a:lnTo>
                    <a:lnTo>
                      <a:pt x="2389" y="7071"/>
                    </a:lnTo>
                    <a:lnTo>
                      <a:pt x="2396" y="7064"/>
                    </a:lnTo>
                    <a:lnTo>
                      <a:pt x="2402" y="7056"/>
                    </a:lnTo>
                    <a:lnTo>
                      <a:pt x="2414" y="7040"/>
                    </a:lnTo>
                    <a:lnTo>
                      <a:pt x="2425" y="7027"/>
                    </a:lnTo>
                    <a:lnTo>
                      <a:pt x="2431" y="7021"/>
                    </a:lnTo>
                    <a:lnTo>
                      <a:pt x="2438" y="7017"/>
                    </a:lnTo>
                    <a:lnTo>
                      <a:pt x="2445" y="7015"/>
                    </a:lnTo>
                    <a:lnTo>
                      <a:pt x="2452" y="7013"/>
                    </a:lnTo>
                    <a:lnTo>
                      <a:pt x="2464" y="7015"/>
                    </a:lnTo>
                    <a:lnTo>
                      <a:pt x="2476" y="7016"/>
                    </a:lnTo>
                    <a:lnTo>
                      <a:pt x="2487" y="7017"/>
                    </a:lnTo>
                    <a:lnTo>
                      <a:pt x="2499" y="7019"/>
                    </a:lnTo>
                    <a:lnTo>
                      <a:pt x="2519" y="7025"/>
                    </a:lnTo>
                    <a:lnTo>
                      <a:pt x="2540" y="7033"/>
                    </a:lnTo>
                    <a:lnTo>
                      <a:pt x="2560" y="7043"/>
                    </a:lnTo>
                    <a:lnTo>
                      <a:pt x="2578" y="7054"/>
                    </a:lnTo>
                    <a:lnTo>
                      <a:pt x="2596" y="7065"/>
                    </a:lnTo>
                    <a:lnTo>
                      <a:pt x="2613" y="7077"/>
                    </a:lnTo>
                    <a:lnTo>
                      <a:pt x="2632" y="7088"/>
                    </a:lnTo>
                    <a:lnTo>
                      <a:pt x="2649" y="7099"/>
                    </a:lnTo>
                    <a:lnTo>
                      <a:pt x="2666" y="7110"/>
                    </a:lnTo>
                    <a:lnTo>
                      <a:pt x="2684" y="7120"/>
                    </a:lnTo>
                    <a:lnTo>
                      <a:pt x="2704" y="7128"/>
                    </a:lnTo>
                    <a:lnTo>
                      <a:pt x="2723" y="7134"/>
                    </a:lnTo>
                    <a:lnTo>
                      <a:pt x="2734" y="7136"/>
                    </a:lnTo>
                    <a:lnTo>
                      <a:pt x="2744" y="7137"/>
                    </a:lnTo>
                    <a:lnTo>
                      <a:pt x="2754" y="7138"/>
                    </a:lnTo>
                    <a:lnTo>
                      <a:pt x="2765" y="7140"/>
                    </a:lnTo>
                    <a:lnTo>
                      <a:pt x="2781" y="7138"/>
                    </a:lnTo>
                    <a:lnTo>
                      <a:pt x="2796" y="7137"/>
                    </a:lnTo>
                    <a:lnTo>
                      <a:pt x="2809" y="7135"/>
                    </a:lnTo>
                    <a:lnTo>
                      <a:pt x="2821" y="7133"/>
                    </a:lnTo>
                    <a:lnTo>
                      <a:pt x="2842" y="7127"/>
                    </a:lnTo>
                    <a:lnTo>
                      <a:pt x="2861" y="7121"/>
                    </a:lnTo>
                    <a:lnTo>
                      <a:pt x="2870" y="7118"/>
                    </a:lnTo>
                    <a:lnTo>
                      <a:pt x="2879" y="7116"/>
                    </a:lnTo>
                    <a:lnTo>
                      <a:pt x="2889" y="7114"/>
                    </a:lnTo>
                    <a:lnTo>
                      <a:pt x="2899" y="7113"/>
                    </a:lnTo>
                    <a:lnTo>
                      <a:pt x="2909" y="7112"/>
                    </a:lnTo>
                    <a:lnTo>
                      <a:pt x="2921" y="7113"/>
                    </a:lnTo>
                    <a:lnTo>
                      <a:pt x="2932" y="7116"/>
                    </a:lnTo>
                    <a:lnTo>
                      <a:pt x="2946" y="7118"/>
                    </a:lnTo>
                    <a:lnTo>
                      <a:pt x="2944" y="7128"/>
                    </a:lnTo>
                    <a:lnTo>
                      <a:pt x="2939" y="7137"/>
                    </a:lnTo>
                    <a:lnTo>
                      <a:pt x="2936" y="7146"/>
                    </a:lnTo>
                    <a:lnTo>
                      <a:pt x="2931" y="7155"/>
                    </a:lnTo>
                    <a:lnTo>
                      <a:pt x="2920" y="7169"/>
                    </a:lnTo>
                    <a:lnTo>
                      <a:pt x="2909" y="7184"/>
                    </a:lnTo>
                    <a:lnTo>
                      <a:pt x="2898" y="7199"/>
                    </a:lnTo>
                    <a:lnTo>
                      <a:pt x="2889" y="7214"/>
                    </a:lnTo>
                    <a:lnTo>
                      <a:pt x="2884" y="7222"/>
                    </a:lnTo>
                    <a:lnTo>
                      <a:pt x="2881" y="7231"/>
                    </a:lnTo>
                    <a:lnTo>
                      <a:pt x="2878" y="7241"/>
                    </a:lnTo>
                    <a:lnTo>
                      <a:pt x="2877" y="7251"/>
                    </a:lnTo>
                    <a:lnTo>
                      <a:pt x="2894" y="7251"/>
                    </a:lnTo>
                    <a:lnTo>
                      <a:pt x="2912" y="7251"/>
                    </a:lnTo>
                    <a:lnTo>
                      <a:pt x="2928" y="7251"/>
                    </a:lnTo>
                    <a:lnTo>
                      <a:pt x="2942" y="7251"/>
                    </a:lnTo>
                    <a:lnTo>
                      <a:pt x="2955" y="7251"/>
                    </a:lnTo>
                    <a:lnTo>
                      <a:pt x="2965" y="7251"/>
                    </a:lnTo>
                    <a:lnTo>
                      <a:pt x="2975" y="7251"/>
                    </a:lnTo>
                    <a:lnTo>
                      <a:pt x="2981" y="7251"/>
                    </a:lnTo>
                    <a:lnTo>
                      <a:pt x="2996" y="7266"/>
                    </a:lnTo>
                    <a:lnTo>
                      <a:pt x="3009" y="7278"/>
                    </a:lnTo>
                    <a:lnTo>
                      <a:pt x="3022" y="7291"/>
                    </a:lnTo>
                    <a:lnTo>
                      <a:pt x="3032" y="7304"/>
                    </a:lnTo>
                    <a:lnTo>
                      <a:pt x="3043" y="7316"/>
                    </a:lnTo>
                    <a:lnTo>
                      <a:pt x="3055" y="7330"/>
                    </a:lnTo>
                    <a:lnTo>
                      <a:pt x="3066" y="7345"/>
                    </a:lnTo>
                    <a:lnTo>
                      <a:pt x="3079" y="7362"/>
                    </a:lnTo>
                    <a:lnTo>
                      <a:pt x="3073" y="7364"/>
                    </a:lnTo>
                    <a:lnTo>
                      <a:pt x="3069" y="7367"/>
                    </a:lnTo>
                    <a:lnTo>
                      <a:pt x="3063" y="7370"/>
                    </a:lnTo>
                    <a:lnTo>
                      <a:pt x="3058" y="7372"/>
                    </a:lnTo>
                    <a:lnTo>
                      <a:pt x="3054" y="7375"/>
                    </a:lnTo>
                    <a:lnTo>
                      <a:pt x="3050" y="7378"/>
                    </a:lnTo>
                    <a:lnTo>
                      <a:pt x="3047" y="7380"/>
                    </a:lnTo>
                    <a:lnTo>
                      <a:pt x="3043" y="7383"/>
                    </a:lnTo>
                    <a:lnTo>
                      <a:pt x="3048" y="7392"/>
                    </a:lnTo>
                    <a:lnTo>
                      <a:pt x="3053" y="7399"/>
                    </a:lnTo>
                    <a:lnTo>
                      <a:pt x="3059" y="7406"/>
                    </a:lnTo>
                    <a:lnTo>
                      <a:pt x="3065" y="7411"/>
                    </a:lnTo>
                    <a:lnTo>
                      <a:pt x="3072" y="7416"/>
                    </a:lnTo>
                    <a:lnTo>
                      <a:pt x="3080" y="7419"/>
                    </a:lnTo>
                    <a:lnTo>
                      <a:pt x="3088" y="7423"/>
                    </a:lnTo>
                    <a:lnTo>
                      <a:pt x="3096" y="7425"/>
                    </a:lnTo>
                    <a:lnTo>
                      <a:pt x="3113" y="7429"/>
                    </a:lnTo>
                    <a:lnTo>
                      <a:pt x="3132" y="7431"/>
                    </a:lnTo>
                    <a:lnTo>
                      <a:pt x="3150" y="7432"/>
                    </a:lnTo>
                    <a:lnTo>
                      <a:pt x="3169" y="7432"/>
                    </a:lnTo>
                    <a:lnTo>
                      <a:pt x="3182" y="7431"/>
                    </a:lnTo>
                    <a:lnTo>
                      <a:pt x="3194" y="7431"/>
                    </a:lnTo>
                    <a:lnTo>
                      <a:pt x="3205" y="7429"/>
                    </a:lnTo>
                    <a:lnTo>
                      <a:pt x="3216" y="7427"/>
                    </a:lnTo>
                    <a:lnTo>
                      <a:pt x="3236" y="7422"/>
                    </a:lnTo>
                    <a:lnTo>
                      <a:pt x="3254" y="7415"/>
                    </a:lnTo>
                    <a:lnTo>
                      <a:pt x="3270" y="7407"/>
                    </a:lnTo>
                    <a:lnTo>
                      <a:pt x="3286" y="7398"/>
                    </a:lnTo>
                    <a:lnTo>
                      <a:pt x="3300" y="7387"/>
                    </a:lnTo>
                    <a:lnTo>
                      <a:pt x="3314" y="7377"/>
                    </a:lnTo>
                    <a:lnTo>
                      <a:pt x="3339" y="7355"/>
                    </a:lnTo>
                    <a:lnTo>
                      <a:pt x="3364" y="7335"/>
                    </a:lnTo>
                    <a:lnTo>
                      <a:pt x="3378" y="7325"/>
                    </a:lnTo>
                    <a:lnTo>
                      <a:pt x="3393" y="7317"/>
                    </a:lnTo>
                    <a:lnTo>
                      <a:pt x="3409" y="7312"/>
                    </a:lnTo>
                    <a:lnTo>
                      <a:pt x="3426" y="7306"/>
                    </a:lnTo>
                    <a:lnTo>
                      <a:pt x="3431" y="7316"/>
                    </a:lnTo>
                    <a:lnTo>
                      <a:pt x="3434" y="7327"/>
                    </a:lnTo>
                    <a:lnTo>
                      <a:pt x="3438" y="7337"/>
                    </a:lnTo>
                    <a:lnTo>
                      <a:pt x="3440" y="7347"/>
                    </a:lnTo>
                    <a:lnTo>
                      <a:pt x="3444" y="7366"/>
                    </a:lnTo>
                    <a:lnTo>
                      <a:pt x="3448" y="7383"/>
                    </a:lnTo>
                    <a:lnTo>
                      <a:pt x="3450" y="7391"/>
                    </a:lnTo>
                    <a:lnTo>
                      <a:pt x="3455" y="7398"/>
                    </a:lnTo>
                    <a:lnTo>
                      <a:pt x="3460" y="7403"/>
                    </a:lnTo>
                    <a:lnTo>
                      <a:pt x="3465" y="7408"/>
                    </a:lnTo>
                    <a:lnTo>
                      <a:pt x="3473" y="7413"/>
                    </a:lnTo>
                    <a:lnTo>
                      <a:pt x="3484" y="7415"/>
                    </a:lnTo>
                    <a:lnTo>
                      <a:pt x="3496" y="7417"/>
                    </a:lnTo>
                    <a:lnTo>
                      <a:pt x="3510" y="7418"/>
                    </a:lnTo>
                    <a:lnTo>
                      <a:pt x="3520" y="7417"/>
                    </a:lnTo>
                    <a:lnTo>
                      <a:pt x="3529" y="7414"/>
                    </a:lnTo>
                    <a:lnTo>
                      <a:pt x="3538" y="7410"/>
                    </a:lnTo>
                    <a:lnTo>
                      <a:pt x="3546" y="7405"/>
                    </a:lnTo>
                    <a:lnTo>
                      <a:pt x="3552" y="7398"/>
                    </a:lnTo>
                    <a:lnTo>
                      <a:pt x="3558" y="7391"/>
                    </a:lnTo>
                    <a:lnTo>
                      <a:pt x="3564" y="7383"/>
                    </a:lnTo>
                    <a:lnTo>
                      <a:pt x="3570" y="7375"/>
                    </a:lnTo>
                    <a:lnTo>
                      <a:pt x="3579" y="7358"/>
                    </a:lnTo>
                    <a:lnTo>
                      <a:pt x="3589" y="7341"/>
                    </a:lnTo>
                    <a:lnTo>
                      <a:pt x="3594" y="7335"/>
                    </a:lnTo>
                    <a:lnTo>
                      <a:pt x="3598" y="7329"/>
                    </a:lnTo>
                    <a:lnTo>
                      <a:pt x="3603" y="7323"/>
                    </a:lnTo>
                    <a:lnTo>
                      <a:pt x="3607" y="7320"/>
                    </a:lnTo>
                    <a:lnTo>
                      <a:pt x="3613" y="7317"/>
                    </a:lnTo>
                    <a:lnTo>
                      <a:pt x="3620" y="7316"/>
                    </a:lnTo>
                    <a:lnTo>
                      <a:pt x="3627" y="7315"/>
                    </a:lnTo>
                    <a:lnTo>
                      <a:pt x="3634" y="7314"/>
                    </a:lnTo>
                    <a:lnTo>
                      <a:pt x="3650" y="7313"/>
                    </a:lnTo>
                    <a:lnTo>
                      <a:pt x="3667" y="7313"/>
                    </a:lnTo>
                    <a:lnTo>
                      <a:pt x="3684" y="7312"/>
                    </a:lnTo>
                    <a:lnTo>
                      <a:pt x="3700" y="7309"/>
                    </a:lnTo>
                    <a:lnTo>
                      <a:pt x="3707" y="7308"/>
                    </a:lnTo>
                    <a:lnTo>
                      <a:pt x="3714" y="7306"/>
                    </a:lnTo>
                    <a:lnTo>
                      <a:pt x="3721" y="7302"/>
                    </a:lnTo>
                    <a:lnTo>
                      <a:pt x="3726" y="7299"/>
                    </a:lnTo>
                    <a:lnTo>
                      <a:pt x="3734" y="7292"/>
                    </a:lnTo>
                    <a:lnTo>
                      <a:pt x="3739" y="7283"/>
                    </a:lnTo>
                    <a:lnTo>
                      <a:pt x="3744" y="7271"/>
                    </a:lnTo>
                    <a:lnTo>
                      <a:pt x="3747" y="7260"/>
                    </a:lnTo>
                    <a:lnTo>
                      <a:pt x="3753" y="7234"/>
                    </a:lnTo>
                    <a:lnTo>
                      <a:pt x="3759" y="7206"/>
                    </a:lnTo>
                    <a:lnTo>
                      <a:pt x="3762" y="7194"/>
                    </a:lnTo>
                    <a:lnTo>
                      <a:pt x="3767" y="7181"/>
                    </a:lnTo>
                    <a:lnTo>
                      <a:pt x="3773" y="7169"/>
                    </a:lnTo>
                    <a:lnTo>
                      <a:pt x="3779" y="7159"/>
                    </a:lnTo>
                    <a:lnTo>
                      <a:pt x="3783" y="7155"/>
                    </a:lnTo>
                    <a:lnTo>
                      <a:pt x="3787" y="7151"/>
                    </a:lnTo>
                    <a:lnTo>
                      <a:pt x="3792" y="7148"/>
                    </a:lnTo>
                    <a:lnTo>
                      <a:pt x="3797" y="7144"/>
                    </a:lnTo>
                    <a:lnTo>
                      <a:pt x="3802" y="7142"/>
                    </a:lnTo>
                    <a:lnTo>
                      <a:pt x="3809" y="7141"/>
                    </a:lnTo>
                    <a:lnTo>
                      <a:pt x="3816" y="7140"/>
                    </a:lnTo>
                    <a:lnTo>
                      <a:pt x="3824" y="7140"/>
                    </a:lnTo>
                    <a:lnTo>
                      <a:pt x="3838" y="7140"/>
                    </a:lnTo>
                    <a:lnTo>
                      <a:pt x="3851" y="7140"/>
                    </a:lnTo>
                    <a:lnTo>
                      <a:pt x="3861" y="7140"/>
                    </a:lnTo>
                    <a:lnTo>
                      <a:pt x="3870" y="7140"/>
                    </a:lnTo>
                    <a:lnTo>
                      <a:pt x="3879" y="7140"/>
                    </a:lnTo>
                    <a:lnTo>
                      <a:pt x="3888" y="7140"/>
                    </a:lnTo>
                    <a:lnTo>
                      <a:pt x="3898" y="7140"/>
                    </a:lnTo>
                    <a:lnTo>
                      <a:pt x="3907" y="7140"/>
                    </a:lnTo>
                    <a:lnTo>
                      <a:pt x="3919" y="7141"/>
                    </a:lnTo>
                    <a:lnTo>
                      <a:pt x="3933" y="7143"/>
                    </a:lnTo>
                    <a:lnTo>
                      <a:pt x="3949" y="7145"/>
                    </a:lnTo>
                    <a:lnTo>
                      <a:pt x="3964" y="7148"/>
                    </a:lnTo>
                    <a:lnTo>
                      <a:pt x="3972" y="7149"/>
                    </a:lnTo>
                    <a:lnTo>
                      <a:pt x="3980" y="7148"/>
                    </a:lnTo>
                    <a:lnTo>
                      <a:pt x="3987" y="7146"/>
                    </a:lnTo>
                    <a:lnTo>
                      <a:pt x="3994" y="7145"/>
                    </a:lnTo>
                    <a:lnTo>
                      <a:pt x="4000" y="7142"/>
                    </a:lnTo>
                    <a:lnTo>
                      <a:pt x="4004" y="7137"/>
                    </a:lnTo>
                    <a:lnTo>
                      <a:pt x="4009" y="7133"/>
                    </a:lnTo>
                    <a:lnTo>
                      <a:pt x="4011" y="7125"/>
                    </a:lnTo>
                    <a:lnTo>
                      <a:pt x="4019" y="7101"/>
                    </a:lnTo>
                    <a:lnTo>
                      <a:pt x="4027" y="7074"/>
                    </a:lnTo>
                    <a:lnTo>
                      <a:pt x="4035" y="7047"/>
                    </a:lnTo>
                    <a:lnTo>
                      <a:pt x="4045" y="7021"/>
                    </a:lnTo>
                    <a:lnTo>
                      <a:pt x="4051" y="7010"/>
                    </a:lnTo>
                    <a:lnTo>
                      <a:pt x="4058" y="7000"/>
                    </a:lnTo>
                    <a:lnTo>
                      <a:pt x="4065" y="6989"/>
                    </a:lnTo>
                    <a:lnTo>
                      <a:pt x="4073" y="6981"/>
                    </a:lnTo>
                    <a:lnTo>
                      <a:pt x="4082" y="6974"/>
                    </a:lnTo>
                    <a:lnTo>
                      <a:pt x="4092" y="6970"/>
                    </a:lnTo>
                    <a:lnTo>
                      <a:pt x="4104" y="6966"/>
                    </a:lnTo>
                    <a:lnTo>
                      <a:pt x="4117" y="6965"/>
                    </a:lnTo>
                    <a:lnTo>
                      <a:pt x="4147" y="6965"/>
                    </a:lnTo>
                    <a:lnTo>
                      <a:pt x="4178" y="6965"/>
                    </a:lnTo>
                    <a:lnTo>
                      <a:pt x="4209" y="6965"/>
                    </a:lnTo>
                    <a:lnTo>
                      <a:pt x="4243" y="6966"/>
                    </a:lnTo>
                    <a:lnTo>
                      <a:pt x="4276" y="6966"/>
                    </a:lnTo>
                    <a:lnTo>
                      <a:pt x="4313" y="6968"/>
                    </a:lnTo>
                    <a:lnTo>
                      <a:pt x="4352" y="6970"/>
                    </a:lnTo>
                    <a:lnTo>
                      <a:pt x="4394" y="6972"/>
                    </a:lnTo>
                    <a:lnTo>
                      <a:pt x="4428" y="6962"/>
                    </a:lnTo>
                    <a:lnTo>
                      <a:pt x="4468" y="6948"/>
                    </a:lnTo>
                    <a:lnTo>
                      <a:pt x="4511" y="6934"/>
                    </a:lnTo>
                    <a:lnTo>
                      <a:pt x="4556" y="6921"/>
                    </a:lnTo>
                    <a:lnTo>
                      <a:pt x="4579" y="6915"/>
                    </a:lnTo>
                    <a:lnTo>
                      <a:pt x="4600" y="6910"/>
                    </a:lnTo>
                    <a:lnTo>
                      <a:pt x="4622" y="6907"/>
                    </a:lnTo>
                    <a:lnTo>
                      <a:pt x="4644" y="6904"/>
                    </a:lnTo>
                    <a:lnTo>
                      <a:pt x="4665" y="6904"/>
                    </a:lnTo>
                    <a:lnTo>
                      <a:pt x="4685" y="6906"/>
                    </a:lnTo>
                    <a:lnTo>
                      <a:pt x="4694" y="6908"/>
                    </a:lnTo>
                    <a:lnTo>
                      <a:pt x="4704" y="6910"/>
                    </a:lnTo>
                    <a:lnTo>
                      <a:pt x="4713" y="6913"/>
                    </a:lnTo>
                    <a:lnTo>
                      <a:pt x="4722" y="6916"/>
                    </a:lnTo>
                    <a:lnTo>
                      <a:pt x="4748" y="6917"/>
                    </a:lnTo>
                    <a:lnTo>
                      <a:pt x="4772" y="6917"/>
                    </a:lnTo>
                    <a:lnTo>
                      <a:pt x="4794" y="6916"/>
                    </a:lnTo>
                    <a:lnTo>
                      <a:pt x="4814" y="6915"/>
                    </a:lnTo>
                    <a:lnTo>
                      <a:pt x="4849" y="6910"/>
                    </a:lnTo>
                    <a:lnTo>
                      <a:pt x="4880" y="6907"/>
                    </a:lnTo>
                    <a:lnTo>
                      <a:pt x="4894" y="6906"/>
                    </a:lnTo>
                    <a:lnTo>
                      <a:pt x="4908" y="6904"/>
                    </a:lnTo>
                    <a:lnTo>
                      <a:pt x="4920" y="6904"/>
                    </a:lnTo>
                    <a:lnTo>
                      <a:pt x="4933" y="6906"/>
                    </a:lnTo>
                    <a:lnTo>
                      <a:pt x="4945" y="6908"/>
                    </a:lnTo>
                    <a:lnTo>
                      <a:pt x="4959" y="6911"/>
                    </a:lnTo>
                    <a:lnTo>
                      <a:pt x="4972" y="6916"/>
                    </a:lnTo>
                    <a:lnTo>
                      <a:pt x="4987" y="6923"/>
                    </a:lnTo>
                    <a:lnTo>
                      <a:pt x="4987" y="6818"/>
                    </a:lnTo>
                    <a:lnTo>
                      <a:pt x="4978" y="6812"/>
                    </a:lnTo>
                    <a:lnTo>
                      <a:pt x="4966" y="6802"/>
                    </a:lnTo>
                    <a:lnTo>
                      <a:pt x="4953" y="6791"/>
                    </a:lnTo>
                    <a:lnTo>
                      <a:pt x="4940" y="6778"/>
                    </a:lnTo>
                    <a:lnTo>
                      <a:pt x="4928" y="6763"/>
                    </a:lnTo>
                    <a:lnTo>
                      <a:pt x="4919" y="6750"/>
                    </a:lnTo>
                    <a:lnTo>
                      <a:pt x="4914" y="6742"/>
                    </a:lnTo>
                    <a:lnTo>
                      <a:pt x="4912" y="6735"/>
                    </a:lnTo>
                    <a:lnTo>
                      <a:pt x="4910" y="6728"/>
                    </a:lnTo>
                    <a:lnTo>
                      <a:pt x="4910" y="6721"/>
                    </a:lnTo>
                    <a:lnTo>
                      <a:pt x="4912" y="6715"/>
                    </a:lnTo>
                    <a:lnTo>
                      <a:pt x="4917" y="6710"/>
                    </a:lnTo>
                    <a:lnTo>
                      <a:pt x="4923" y="6701"/>
                    </a:lnTo>
                    <a:lnTo>
                      <a:pt x="4929" y="6693"/>
                    </a:lnTo>
                    <a:lnTo>
                      <a:pt x="4947" y="6677"/>
                    </a:lnTo>
                    <a:lnTo>
                      <a:pt x="4966" y="6659"/>
                    </a:lnTo>
                    <a:lnTo>
                      <a:pt x="4987" y="6642"/>
                    </a:lnTo>
                    <a:lnTo>
                      <a:pt x="5005" y="6626"/>
                    </a:lnTo>
                    <a:lnTo>
                      <a:pt x="5019" y="6613"/>
                    </a:lnTo>
                    <a:lnTo>
                      <a:pt x="5028" y="6603"/>
                    </a:lnTo>
                    <a:lnTo>
                      <a:pt x="5077" y="6603"/>
                    </a:lnTo>
                    <a:lnTo>
                      <a:pt x="5077" y="6644"/>
                    </a:lnTo>
                    <a:lnTo>
                      <a:pt x="5069" y="6652"/>
                    </a:lnTo>
                    <a:lnTo>
                      <a:pt x="5064" y="6659"/>
                    </a:lnTo>
                    <a:lnTo>
                      <a:pt x="5059" y="6666"/>
                    </a:lnTo>
                    <a:lnTo>
                      <a:pt x="5056" y="6673"/>
                    </a:lnTo>
                    <a:lnTo>
                      <a:pt x="5052" y="6681"/>
                    </a:lnTo>
                    <a:lnTo>
                      <a:pt x="5051" y="6689"/>
                    </a:lnTo>
                    <a:lnTo>
                      <a:pt x="5050" y="6698"/>
                    </a:lnTo>
                    <a:lnTo>
                      <a:pt x="5049" y="6707"/>
                    </a:lnTo>
                    <a:lnTo>
                      <a:pt x="5050" y="6713"/>
                    </a:lnTo>
                    <a:lnTo>
                      <a:pt x="5052" y="6718"/>
                    </a:lnTo>
                    <a:lnTo>
                      <a:pt x="5057" y="6722"/>
                    </a:lnTo>
                    <a:lnTo>
                      <a:pt x="5061" y="6727"/>
                    </a:lnTo>
                    <a:lnTo>
                      <a:pt x="5067" y="6730"/>
                    </a:lnTo>
                    <a:lnTo>
                      <a:pt x="5073" y="6732"/>
                    </a:lnTo>
                    <a:lnTo>
                      <a:pt x="5078" y="6735"/>
                    </a:lnTo>
                    <a:lnTo>
                      <a:pt x="5084" y="6735"/>
                    </a:lnTo>
                    <a:lnTo>
                      <a:pt x="5092" y="6735"/>
                    </a:lnTo>
                    <a:lnTo>
                      <a:pt x="5101" y="6734"/>
                    </a:lnTo>
                    <a:lnTo>
                      <a:pt x="5108" y="6732"/>
                    </a:lnTo>
                    <a:lnTo>
                      <a:pt x="5116" y="6730"/>
                    </a:lnTo>
                    <a:lnTo>
                      <a:pt x="5130" y="6724"/>
                    </a:lnTo>
                    <a:lnTo>
                      <a:pt x="5143" y="6718"/>
                    </a:lnTo>
                    <a:lnTo>
                      <a:pt x="5154" y="6712"/>
                    </a:lnTo>
                    <a:lnTo>
                      <a:pt x="5167" y="6706"/>
                    </a:lnTo>
                    <a:lnTo>
                      <a:pt x="5174" y="6704"/>
                    </a:lnTo>
                    <a:lnTo>
                      <a:pt x="5180" y="6701"/>
                    </a:lnTo>
                    <a:lnTo>
                      <a:pt x="5187" y="6700"/>
                    </a:lnTo>
                    <a:lnTo>
                      <a:pt x="5195" y="6700"/>
                    </a:lnTo>
                    <a:lnTo>
                      <a:pt x="5200" y="6707"/>
                    </a:lnTo>
                    <a:lnTo>
                      <a:pt x="5206" y="6714"/>
                    </a:lnTo>
                    <a:lnTo>
                      <a:pt x="5211" y="6719"/>
                    </a:lnTo>
                    <a:lnTo>
                      <a:pt x="5217" y="6722"/>
                    </a:lnTo>
                    <a:lnTo>
                      <a:pt x="5223" y="6724"/>
                    </a:lnTo>
                    <a:lnTo>
                      <a:pt x="5230" y="6727"/>
                    </a:lnTo>
                    <a:lnTo>
                      <a:pt x="5237" y="6728"/>
                    </a:lnTo>
                    <a:lnTo>
                      <a:pt x="5244" y="6728"/>
                    </a:lnTo>
                    <a:lnTo>
                      <a:pt x="5257" y="6727"/>
                    </a:lnTo>
                    <a:lnTo>
                      <a:pt x="5270" y="6723"/>
                    </a:lnTo>
                    <a:lnTo>
                      <a:pt x="5283" y="6719"/>
                    </a:lnTo>
                    <a:lnTo>
                      <a:pt x="5294" y="6713"/>
                    </a:lnTo>
                    <a:lnTo>
                      <a:pt x="5305" y="6706"/>
                    </a:lnTo>
                    <a:lnTo>
                      <a:pt x="5317" y="6699"/>
                    </a:lnTo>
                    <a:lnTo>
                      <a:pt x="5326" y="6692"/>
                    </a:lnTo>
                    <a:lnTo>
                      <a:pt x="5334" y="6687"/>
                    </a:lnTo>
                    <a:lnTo>
                      <a:pt x="5343" y="6689"/>
                    </a:lnTo>
                    <a:lnTo>
                      <a:pt x="5352" y="6690"/>
                    </a:lnTo>
                    <a:lnTo>
                      <a:pt x="5362" y="6691"/>
                    </a:lnTo>
                    <a:lnTo>
                      <a:pt x="5370" y="6692"/>
                    </a:lnTo>
                    <a:lnTo>
                      <a:pt x="5378" y="6693"/>
                    </a:lnTo>
                    <a:lnTo>
                      <a:pt x="5385" y="6693"/>
                    </a:lnTo>
                    <a:lnTo>
                      <a:pt x="5389" y="6693"/>
                    </a:lnTo>
                    <a:lnTo>
                      <a:pt x="5390" y="6693"/>
                    </a:lnTo>
                    <a:lnTo>
                      <a:pt x="5386" y="6706"/>
                    </a:lnTo>
                    <a:lnTo>
                      <a:pt x="5385" y="6715"/>
                    </a:lnTo>
                    <a:lnTo>
                      <a:pt x="5385" y="6724"/>
                    </a:lnTo>
                    <a:lnTo>
                      <a:pt x="5385" y="6731"/>
                    </a:lnTo>
                    <a:lnTo>
                      <a:pt x="5387" y="6738"/>
                    </a:lnTo>
                    <a:lnTo>
                      <a:pt x="5388" y="6743"/>
                    </a:lnTo>
                    <a:lnTo>
                      <a:pt x="5389" y="6746"/>
                    </a:lnTo>
                    <a:lnTo>
                      <a:pt x="5390" y="6750"/>
                    </a:lnTo>
                    <a:lnTo>
                      <a:pt x="5393" y="6755"/>
                    </a:lnTo>
                    <a:lnTo>
                      <a:pt x="5398" y="6767"/>
                    </a:lnTo>
                    <a:lnTo>
                      <a:pt x="5408" y="6783"/>
                    </a:lnTo>
                    <a:lnTo>
                      <a:pt x="5420" y="6800"/>
                    </a:lnTo>
                    <a:lnTo>
                      <a:pt x="5427" y="6809"/>
                    </a:lnTo>
                    <a:lnTo>
                      <a:pt x="5436" y="6817"/>
                    </a:lnTo>
                    <a:lnTo>
                      <a:pt x="5445" y="6825"/>
                    </a:lnTo>
                    <a:lnTo>
                      <a:pt x="5455" y="6832"/>
                    </a:lnTo>
                    <a:lnTo>
                      <a:pt x="5466" y="6838"/>
                    </a:lnTo>
                    <a:lnTo>
                      <a:pt x="5476" y="6843"/>
                    </a:lnTo>
                    <a:lnTo>
                      <a:pt x="5489" y="6846"/>
                    </a:lnTo>
                    <a:lnTo>
                      <a:pt x="5502" y="6847"/>
                    </a:lnTo>
                    <a:lnTo>
                      <a:pt x="5508" y="6846"/>
                    </a:lnTo>
                    <a:lnTo>
                      <a:pt x="5515" y="6845"/>
                    </a:lnTo>
                    <a:lnTo>
                      <a:pt x="5523" y="6844"/>
                    </a:lnTo>
                    <a:lnTo>
                      <a:pt x="5530" y="6841"/>
                    </a:lnTo>
                    <a:lnTo>
                      <a:pt x="5544" y="6835"/>
                    </a:lnTo>
                    <a:lnTo>
                      <a:pt x="5558" y="6827"/>
                    </a:lnTo>
                    <a:lnTo>
                      <a:pt x="5585" y="6805"/>
                    </a:lnTo>
                    <a:lnTo>
                      <a:pt x="5614" y="6781"/>
                    </a:lnTo>
                    <a:lnTo>
                      <a:pt x="5629" y="6768"/>
                    </a:lnTo>
                    <a:lnTo>
                      <a:pt x="5644" y="6757"/>
                    </a:lnTo>
                    <a:lnTo>
                      <a:pt x="5660" y="6745"/>
                    </a:lnTo>
                    <a:lnTo>
                      <a:pt x="5677" y="6735"/>
                    </a:lnTo>
                    <a:lnTo>
                      <a:pt x="5694" y="6727"/>
                    </a:lnTo>
                    <a:lnTo>
                      <a:pt x="5712" y="6720"/>
                    </a:lnTo>
                    <a:lnTo>
                      <a:pt x="5722" y="6718"/>
                    </a:lnTo>
                    <a:lnTo>
                      <a:pt x="5732" y="6715"/>
                    </a:lnTo>
                    <a:lnTo>
                      <a:pt x="5742" y="6714"/>
                    </a:lnTo>
                    <a:lnTo>
                      <a:pt x="5753" y="6714"/>
                    </a:lnTo>
                    <a:lnTo>
                      <a:pt x="5769" y="6715"/>
                    </a:lnTo>
                    <a:lnTo>
                      <a:pt x="5784" y="6718"/>
                    </a:lnTo>
                    <a:lnTo>
                      <a:pt x="5795" y="6720"/>
                    </a:lnTo>
                    <a:lnTo>
                      <a:pt x="5806" y="6723"/>
                    </a:lnTo>
                    <a:lnTo>
                      <a:pt x="5817" y="6726"/>
                    </a:lnTo>
                    <a:lnTo>
                      <a:pt x="5827" y="6726"/>
                    </a:lnTo>
                    <a:lnTo>
                      <a:pt x="5832" y="6726"/>
                    </a:lnTo>
                    <a:lnTo>
                      <a:pt x="5837" y="6724"/>
                    </a:lnTo>
                    <a:lnTo>
                      <a:pt x="5843" y="6723"/>
                    </a:lnTo>
                    <a:lnTo>
                      <a:pt x="5850" y="6721"/>
                    </a:lnTo>
                    <a:lnTo>
                      <a:pt x="5850" y="6737"/>
                    </a:lnTo>
                    <a:lnTo>
                      <a:pt x="5852" y="6751"/>
                    </a:lnTo>
                    <a:lnTo>
                      <a:pt x="5857" y="6762"/>
                    </a:lnTo>
                    <a:lnTo>
                      <a:pt x="5862" y="6773"/>
                    </a:lnTo>
                    <a:lnTo>
                      <a:pt x="5867" y="6782"/>
                    </a:lnTo>
                    <a:lnTo>
                      <a:pt x="5874" y="6790"/>
                    </a:lnTo>
                    <a:lnTo>
                      <a:pt x="5882" y="6796"/>
                    </a:lnTo>
                    <a:lnTo>
                      <a:pt x="5890" y="6801"/>
                    </a:lnTo>
                    <a:lnTo>
                      <a:pt x="5910" y="6810"/>
                    </a:lnTo>
                    <a:lnTo>
                      <a:pt x="5929" y="6820"/>
                    </a:lnTo>
                    <a:lnTo>
                      <a:pt x="5939" y="6823"/>
                    </a:lnTo>
                    <a:lnTo>
                      <a:pt x="5949" y="6829"/>
                    </a:lnTo>
                    <a:lnTo>
                      <a:pt x="5959" y="6833"/>
                    </a:lnTo>
                    <a:lnTo>
                      <a:pt x="5968" y="6839"/>
                    </a:lnTo>
                    <a:lnTo>
                      <a:pt x="5956" y="6854"/>
                    </a:lnTo>
                    <a:lnTo>
                      <a:pt x="5943" y="6868"/>
                    </a:lnTo>
                    <a:lnTo>
                      <a:pt x="5930" y="6880"/>
                    </a:lnTo>
                    <a:lnTo>
                      <a:pt x="5920" y="6894"/>
                    </a:lnTo>
                    <a:lnTo>
                      <a:pt x="5915" y="6900"/>
                    </a:lnTo>
                    <a:lnTo>
                      <a:pt x="5911" y="6907"/>
                    </a:lnTo>
                    <a:lnTo>
                      <a:pt x="5907" y="6915"/>
                    </a:lnTo>
                    <a:lnTo>
                      <a:pt x="5904" y="6922"/>
                    </a:lnTo>
                    <a:lnTo>
                      <a:pt x="5902" y="6930"/>
                    </a:lnTo>
                    <a:lnTo>
                      <a:pt x="5901" y="6939"/>
                    </a:lnTo>
                    <a:lnTo>
                      <a:pt x="5899" y="6948"/>
                    </a:lnTo>
                    <a:lnTo>
                      <a:pt x="5898" y="6958"/>
                    </a:lnTo>
                    <a:lnTo>
                      <a:pt x="5899" y="6966"/>
                    </a:lnTo>
                    <a:lnTo>
                      <a:pt x="5901" y="6974"/>
                    </a:lnTo>
                    <a:lnTo>
                      <a:pt x="5902" y="6981"/>
                    </a:lnTo>
                    <a:lnTo>
                      <a:pt x="5905" y="6987"/>
                    </a:lnTo>
                    <a:lnTo>
                      <a:pt x="5907" y="6993"/>
                    </a:lnTo>
                    <a:lnTo>
                      <a:pt x="5912" y="6997"/>
                    </a:lnTo>
                    <a:lnTo>
                      <a:pt x="5917" y="7002"/>
                    </a:lnTo>
                    <a:lnTo>
                      <a:pt x="5921" y="7005"/>
                    </a:lnTo>
                    <a:lnTo>
                      <a:pt x="5933" y="7012"/>
                    </a:lnTo>
                    <a:lnTo>
                      <a:pt x="5945" y="7018"/>
                    </a:lnTo>
                    <a:lnTo>
                      <a:pt x="5960" y="7023"/>
                    </a:lnTo>
                    <a:lnTo>
                      <a:pt x="5975" y="7027"/>
                    </a:lnTo>
                    <a:lnTo>
                      <a:pt x="5991" y="7034"/>
                    </a:lnTo>
                    <a:lnTo>
                      <a:pt x="6006" y="7041"/>
                    </a:lnTo>
                    <a:lnTo>
                      <a:pt x="6020" y="7050"/>
                    </a:lnTo>
                    <a:lnTo>
                      <a:pt x="6032" y="7059"/>
                    </a:lnTo>
                    <a:lnTo>
                      <a:pt x="6044" y="7071"/>
                    </a:lnTo>
                    <a:lnTo>
                      <a:pt x="6055" y="7082"/>
                    </a:lnTo>
                    <a:lnTo>
                      <a:pt x="6066" y="7094"/>
                    </a:lnTo>
                    <a:lnTo>
                      <a:pt x="6076" y="7106"/>
                    </a:lnTo>
                    <a:lnTo>
                      <a:pt x="6098" y="7130"/>
                    </a:lnTo>
                    <a:lnTo>
                      <a:pt x="6120" y="7155"/>
                    </a:lnTo>
                    <a:lnTo>
                      <a:pt x="6132" y="7166"/>
                    </a:lnTo>
                    <a:lnTo>
                      <a:pt x="6146" y="7176"/>
                    </a:lnTo>
                    <a:lnTo>
                      <a:pt x="6161" y="7187"/>
                    </a:lnTo>
                    <a:lnTo>
                      <a:pt x="6177" y="7195"/>
                    </a:lnTo>
                    <a:lnTo>
                      <a:pt x="6295" y="7195"/>
                    </a:lnTo>
                    <a:lnTo>
                      <a:pt x="6295" y="7163"/>
                    </a:lnTo>
                    <a:lnTo>
                      <a:pt x="6294" y="7134"/>
                    </a:lnTo>
                    <a:lnTo>
                      <a:pt x="6291" y="7106"/>
                    </a:lnTo>
                    <a:lnTo>
                      <a:pt x="6290" y="7081"/>
                    </a:lnTo>
                    <a:lnTo>
                      <a:pt x="6289" y="7056"/>
                    </a:lnTo>
                    <a:lnTo>
                      <a:pt x="6289" y="7029"/>
                    </a:lnTo>
                    <a:lnTo>
                      <a:pt x="6291" y="7002"/>
                    </a:lnTo>
                    <a:lnTo>
                      <a:pt x="6295" y="6972"/>
                    </a:lnTo>
                    <a:lnTo>
                      <a:pt x="6298" y="6958"/>
                    </a:lnTo>
                    <a:lnTo>
                      <a:pt x="6304" y="6946"/>
                    </a:lnTo>
                    <a:lnTo>
                      <a:pt x="6310" y="6934"/>
                    </a:lnTo>
                    <a:lnTo>
                      <a:pt x="6318" y="6923"/>
                    </a:lnTo>
                    <a:lnTo>
                      <a:pt x="6335" y="6902"/>
                    </a:lnTo>
                    <a:lnTo>
                      <a:pt x="6353" y="6883"/>
                    </a:lnTo>
                    <a:lnTo>
                      <a:pt x="6363" y="6874"/>
                    </a:lnTo>
                    <a:lnTo>
                      <a:pt x="6372" y="6863"/>
                    </a:lnTo>
                    <a:lnTo>
                      <a:pt x="6381" y="6852"/>
                    </a:lnTo>
                    <a:lnTo>
                      <a:pt x="6389" y="6840"/>
                    </a:lnTo>
                    <a:lnTo>
                      <a:pt x="6395" y="6829"/>
                    </a:lnTo>
                    <a:lnTo>
                      <a:pt x="6400" y="6815"/>
                    </a:lnTo>
                    <a:lnTo>
                      <a:pt x="6405" y="6800"/>
                    </a:lnTo>
                    <a:lnTo>
                      <a:pt x="6407" y="6784"/>
                    </a:lnTo>
                    <a:lnTo>
                      <a:pt x="6405" y="6778"/>
                    </a:lnTo>
                    <a:lnTo>
                      <a:pt x="6402" y="6771"/>
                    </a:lnTo>
                    <a:lnTo>
                      <a:pt x="6396" y="6761"/>
                    </a:lnTo>
                    <a:lnTo>
                      <a:pt x="6389" y="6750"/>
                    </a:lnTo>
                    <a:lnTo>
                      <a:pt x="6369" y="6724"/>
                    </a:lnTo>
                    <a:lnTo>
                      <a:pt x="6345" y="6696"/>
                    </a:lnTo>
                    <a:lnTo>
                      <a:pt x="6333" y="6682"/>
                    </a:lnTo>
                    <a:lnTo>
                      <a:pt x="6320" y="6669"/>
                    </a:lnTo>
                    <a:lnTo>
                      <a:pt x="6308" y="6657"/>
                    </a:lnTo>
                    <a:lnTo>
                      <a:pt x="6295" y="6645"/>
                    </a:lnTo>
                    <a:lnTo>
                      <a:pt x="6283" y="6637"/>
                    </a:lnTo>
                    <a:lnTo>
                      <a:pt x="6272" y="6629"/>
                    </a:lnTo>
                    <a:lnTo>
                      <a:pt x="6267" y="6627"/>
                    </a:lnTo>
                    <a:lnTo>
                      <a:pt x="6262" y="6626"/>
                    </a:lnTo>
                    <a:lnTo>
                      <a:pt x="6258" y="6625"/>
                    </a:lnTo>
                    <a:lnTo>
                      <a:pt x="6254" y="6624"/>
                    </a:lnTo>
                    <a:lnTo>
                      <a:pt x="6233" y="6624"/>
                    </a:lnTo>
                    <a:lnTo>
                      <a:pt x="6211" y="6624"/>
                    </a:lnTo>
                    <a:lnTo>
                      <a:pt x="6191" y="6624"/>
                    </a:lnTo>
                    <a:lnTo>
                      <a:pt x="6169" y="6624"/>
                    </a:lnTo>
                    <a:lnTo>
                      <a:pt x="6146" y="6624"/>
                    </a:lnTo>
                    <a:lnTo>
                      <a:pt x="6123" y="6624"/>
                    </a:lnTo>
                    <a:lnTo>
                      <a:pt x="6098" y="6624"/>
                    </a:lnTo>
                    <a:lnTo>
                      <a:pt x="6072" y="6624"/>
                    </a:lnTo>
                    <a:lnTo>
                      <a:pt x="6082" y="6614"/>
                    </a:lnTo>
                    <a:lnTo>
                      <a:pt x="6092" y="6603"/>
                    </a:lnTo>
                    <a:lnTo>
                      <a:pt x="6103" y="6588"/>
                    </a:lnTo>
                    <a:lnTo>
                      <a:pt x="6115" y="6572"/>
                    </a:lnTo>
                    <a:lnTo>
                      <a:pt x="6125" y="6556"/>
                    </a:lnTo>
                    <a:lnTo>
                      <a:pt x="6134" y="6539"/>
                    </a:lnTo>
                    <a:lnTo>
                      <a:pt x="6138" y="6529"/>
                    </a:lnTo>
                    <a:lnTo>
                      <a:pt x="6140" y="6521"/>
                    </a:lnTo>
                    <a:lnTo>
                      <a:pt x="6141" y="6513"/>
                    </a:lnTo>
                    <a:lnTo>
                      <a:pt x="6142" y="6505"/>
                    </a:lnTo>
                    <a:lnTo>
                      <a:pt x="6141" y="6497"/>
                    </a:lnTo>
                    <a:lnTo>
                      <a:pt x="6138" y="6490"/>
                    </a:lnTo>
                    <a:lnTo>
                      <a:pt x="6133" y="6484"/>
                    </a:lnTo>
                    <a:lnTo>
                      <a:pt x="6129" y="6478"/>
                    </a:lnTo>
                    <a:lnTo>
                      <a:pt x="6123" y="6471"/>
                    </a:lnTo>
                    <a:lnTo>
                      <a:pt x="6118" y="6464"/>
                    </a:lnTo>
                    <a:lnTo>
                      <a:pt x="6116" y="6457"/>
                    </a:lnTo>
                    <a:lnTo>
                      <a:pt x="6115" y="6449"/>
                    </a:lnTo>
                    <a:lnTo>
                      <a:pt x="6115" y="6443"/>
                    </a:lnTo>
                    <a:lnTo>
                      <a:pt x="6116" y="6438"/>
                    </a:lnTo>
                    <a:lnTo>
                      <a:pt x="6117" y="6432"/>
                    </a:lnTo>
                    <a:lnTo>
                      <a:pt x="6118" y="6426"/>
                    </a:lnTo>
                    <a:lnTo>
                      <a:pt x="6124" y="6416"/>
                    </a:lnTo>
                    <a:lnTo>
                      <a:pt x="6131" y="6406"/>
                    </a:lnTo>
                    <a:lnTo>
                      <a:pt x="6139" y="6398"/>
                    </a:lnTo>
                    <a:lnTo>
                      <a:pt x="6147" y="6388"/>
                    </a:lnTo>
                    <a:lnTo>
                      <a:pt x="6157" y="6380"/>
                    </a:lnTo>
                    <a:lnTo>
                      <a:pt x="6167" y="6373"/>
                    </a:lnTo>
                    <a:lnTo>
                      <a:pt x="6177" y="6365"/>
                    </a:lnTo>
                    <a:lnTo>
                      <a:pt x="6186" y="6357"/>
                    </a:lnTo>
                    <a:lnTo>
                      <a:pt x="6194" y="6348"/>
                    </a:lnTo>
                    <a:lnTo>
                      <a:pt x="6202" y="6340"/>
                    </a:lnTo>
                    <a:lnTo>
                      <a:pt x="6209" y="6330"/>
                    </a:lnTo>
                    <a:lnTo>
                      <a:pt x="6215" y="6320"/>
                    </a:lnTo>
                    <a:lnTo>
                      <a:pt x="6216" y="6315"/>
                    </a:lnTo>
                    <a:lnTo>
                      <a:pt x="6218" y="6309"/>
                    </a:lnTo>
                    <a:lnTo>
                      <a:pt x="6218" y="6302"/>
                    </a:lnTo>
                    <a:lnTo>
                      <a:pt x="6219" y="6297"/>
                    </a:lnTo>
                    <a:lnTo>
                      <a:pt x="6219" y="6284"/>
                    </a:lnTo>
                    <a:lnTo>
                      <a:pt x="6218" y="6273"/>
                    </a:lnTo>
                    <a:lnTo>
                      <a:pt x="6216" y="6261"/>
                    </a:lnTo>
                    <a:lnTo>
                      <a:pt x="6214" y="6250"/>
                    </a:lnTo>
                    <a:lnTo>
                      <a:pt x="6210" y="6239"/>
                    </a:lnTo>
                    <a:lnTo>
                      <a:pt x="6205" y="6228"/>
                    </a:lnTo>
                    <a:lnTo>
                      <a:pt x="6201" y="6218"/>
                    </a:lnTo>
                    <a:lnTo>
                      <a:pt x="6195" y="6208"/>
                    </a:lnTo>
                    <a:lnTo>
                      <a:pt x="6181" y="6189"/>
                    </a:lnTo>
                    <a:lnTo>
                      <a:pt x="6167" y="6172"/>
                    </a:lnTo>
                    <a:lnTo>
                      <a:pt x="6149" y="6154"/>
                    </a:lnTo>
                    <a:lnTo>
                      <a:pt x="6131" y="6138"/>
                    </a:lnTo>
                    <a:lnTo>
                      <a:pt x="6093" y="6110"/>
                    </a:lnTo>
                    <a:lnTo>
                      <a:pt x="6055" y="6083"/>
                    </a:lnTo>
                    <a:lnTo>
                      <a:pt x="6038" y="6072"/>
                    </a:lnTo>
                    <a:lnTo>
                      <a:pt x="6022" y="6060"/>
                    </a:lnTo>
                    <a:lnTo>
                      <a:pt x="6008" y="6049"/>
                    </a:lnTo>
                    <a:lnTo>
                      <a:pt x="5996" y="6039"/>
                    </a:lnTo>
                    <a:lnTo>
                      <a:pt x="5990" y="6032"/>
                    </a:lnTo>
                    <a:lnTo>
                      <a:pt x="5985" y="6025"/>
                    </a:lnTo>
                    <a:lnTo>
                      <a:pt x="5983" y="6018"/>
                    </a:lnTo>
                    <a:lnTo>
                      <a:pt x="5981" y="6011"/>
                    </a:lnTo>
                    <a:lnTo>
                      <a:pt x="5980" y="5996"/>
                    </a:lnTo>
                    <a:lnTo>
                      <a:pt x="5981" y="5981"/>
                    </a:lnTo>
                    <a:lnTo>
                      <a:pt x="5982" y="5965"/>
                    </a:lnTo>
                    <a:lnTo>
                      <a:pt x="5982" y="5949"/>
                    </a:lnTo>
                    <a:lnTo>
                      <a:pt x="5982" y="5940"/>
                    </a:lnTo>
                    <a:lnTo>
                      <a:pt x="5981" y="5931"/>
                    </a:lnTo>
                    <a:lnTo>
                      <a:pt x="5978" y="5923"/>
                    </a:lnTo>
                    <a:lnTo>
                      <a:pt x="5975" y="5914"/>
                    </a:lnTo>
                    <a:lnTo>
                      <a:pt x="5965" y="5900"/>
                    </a:lnTo>
                    <a:lnTo>
                      <a:pt x="5954" y="5887"/>
                    </a:lnTo>
                    <a:lnTo>
                      <a:pt x="5942" y="5876"/>
                    </a:lnTo>
                    <a:lnTo>
                      <a:pt x="5928" y="5865"/>
                    </a:lnTo>
                    <a:lnTo>
                      <a:pt x="5902" y="5845"/>
                    </a:lnTo>
                    <a:lnTo>
                      <a:pt x="5874" y="5825"/>
                    </a:lnTo>
                    <a:lnTo>
                      <a:pt x="5862" y="5815"/>
                    </a:lnTo>
                    <a:lnTo>
                      <a:pt x="5850" y="5803"/>
                    </a:lnTo>
                    <a:lnTo>
                      <a:pt x="5839" y="5792"/>
                    </a:lnTo>
                    <a:lnTo>
                      <a:pt x="5831" y="5779"/>
                    </a:lnTo>
                    <a:lnTo>
                      <a:pt x="5826" y="5773"/>
                    </a:lnTo>
                    <a:lnTo>
                      <a:pt x="5823" y="5764"/>
                    </a:lnTo>
                    <a:lnTo>
                      <a:pt x="5820" y="5758"/>
                    </a:lnTo>
                    <a:lnTo>
                      <a:pt x="5818" y="5748"/>
                    </a:lnTo>
                    <a:lnTo>
                      <a:pt x="5816" y="5740"/>
                    </a:lnTo>
                    <a:lnTo>
                      <a:pt x="5815" y="5731"/>
                    </a:lnTo>
                    <a:lnTo>
                      <a:pt x="5815" y="5722"/>
                    </a:lnTo>
                    <a:lnTo>
                      <a:pt x="5815" y="5712"/>
                    </a:lnTo>
                    <a:lnTo>
                      <a:pt x="5816" y="5703"/>
                    </a:lnTo>
                    <a:lnTo>
                      <a:pt x="5817" y="5696"/>
                    </a:lnTo>
                    <a:lnTo>
                      <a:pt x="5818" y="5688"/>
                    </a:lnTo>
                    <a:lnTo>
                      <a:pt x="5820" y="5682"/>
                    </a:lnTo>
                    <a:lnTo>
                      <a:pt x="5823" y="5675"/>
                    </a:lnTo>
                    <a:lnTo>
                      <a:pt x="5826" y="5669"/>
                    </a:lnTo>
                    <a:lnTo>
                      <a:pt x="5829" y="5664"/>
                    </a:lnTo>
                    <a:lnTo>
                      <a:pt x="5834" y="5658"/>
                    </a:lnTo>
                    <a:lnTo>
                      <a:pt x="5843" y="5649"/>
                    </a:lnTo>
                    <a:lnTo>
                      <a:pt x="5854" y="5639"/>
                    </a:lnTo>
                    <a:lnTo>
                      <a:pt x="5865" y="5631"/>
                    </a:lnTo>
                    <a:lnTo>
                      <a:pt x="5878" y="5625"/>
                    </a:lnTo>
                    <a:lnTo>
                      <a:pt x="5903" y="5611"/>
                    </a:lnTo>
                    <a:lnTo>
                      <a:pt x="5927" y="5596"/>
                    </a:lnTo>
                    <a:lnTo>
                      <a:pt x="5937" y="5588"/>
                    </a:lnTo>
                    <a:lnTo>
                      <a:pt x="5946" y="5579"/>
                    </a:lnTo>
                    <a:lnTo>
                      <a:pt x="5954" y="5570"/>
                    </a:lnTo>
                    <a:lnTo>
                      <a:pt x="5961" y="5558"/>
                    </a:lnTo>
                    <a:lnTo>
                      <a:pt x="5966" y="5547"/>
                    </a:lnTo>
                    <a:lnTo>
                      <a:pt x="5969" y="5534"/>
                    </a:lnTo>
                    <a:lnTo>
                      <a:pt x="5973" y="5521"/>
                    </a:lnTo>
                    <a:lnTo>
                      <a:pt x="5975" y="5509"/>
                    </a:lnTo>
                    <a:lnTo>
                      <a:pt x="5977" y="5497"/>
                    </a:lnTo>
                    <a:lnTo>
                      <a:pt x="5981" y="5487"/>
                    </a:lnTo>
                    <a:lnTo>
                      <a:pt x="5982" y="5482"/>
                    </a:lnTo>
                    <a:lnTo>
                      <a:pt x="5984" y="5479"/>
                    </a:lnTo>
                    <a:lnTo>
                      <a:pt x="5987" y="5477"/>
                    </a:lnTo>
                    <a:lnTo>
                      <a:pt x="5989" y="5474"/>
                    </a:lnTo>
                    <a:lnTo>
                      <a:pt x="5999" y="5470"/>
                    </a:lnTo>
                    <a:lnTo>
                      <a:pt x="6009" y="5466"/>
                    </a:lnTo>
                    <a:lnTo>
                      <a:pt x="6019" y="5465"/>
                    </a:lnTo>
                    <a:lnTo>
                      <a:pt x="6028" y="5464"/>
                    </a:lnTo>
                    <a:lnTo>
                      <a:pt x="6045" y="5463"/>
                    </a:lnTo>
                    <a:lnTo>
                      <a:pt x="6062" y="5465"/>
                    </a:lnTo>
                    <a:lnTo>
                      <a:pt x="6079" y="5467"/>
                    </a:lnTo>
                    <a:lnTo>
                      <a:pt x="6097" y="5467"/>
                    </a:lnTo>
                    <a:lnTo>
                      <a:pt x="6106" y="5467"/>
                    </a:lnTo>
                    <a:lnTo>
                      <a:pt x="6115" y="5466"/>
                    </a:lnTo>
                    <a:lnTo>
                      <a:pt x="6125" y="5464"/>
                    </a:lnTo>
                    <a:lnTo>
                      <a:pt x="6136" y="5461"/>
                    </a:lnTo>
                    <a:lnTo>
                      <a:pt x="6141" y="5456"/>
                    </a:lnTo>
                    <a:lnTo>
                      <a:pt x="6148" y="5449"/>
                    </a:lnTo>
                    <a:lnTo>
                      <a:pt x="6154" y="5441"/>
                    </a:lnTo>
                    <a:lnTo>
                      <a:pt x="6160" y="5432"/>
                    </a:lnTo>
                    <a:lnTo>
                      <a:pt x="6171" y="5411"/>
                    </a:lnTo>
                    <a:lnTo>
                      <a:pt x="6183" y="5389"/>
                    </a:lnTo>
                    <a:lnTo>
                      <a:pt x="6193" y="5368"/>
                    </a:lnTo>
                    <a:lnTo>
                      <a:pt x="6202" y="5349"/>
                    </a:lnTo>
                    <a:lnTo>
                      <a:pt x="6207" y="5341"/>
                    </a:lnTo>
                    <a:lnTo>
                      <a:pt x="6210" y="5336"/>
                    </a:lnTo>
                    <a:lnTo>
                      <a:pt x="6215" y="5331"/>
                    </a:lnTo>
                    <a:lnTo>
                      <a:pt x="6219" y="5329"/>
                    </a:lnTo>
                    <a:lnTo>
                      <a:pt x="6225" y="5325"/>
                    </a:lnTo>
                    <a:lnTo>
                      <a:pt x="6232" y="5323"/>
                    </a:lnTo>
                    <a:lnTo>
                      <a:pt x="6238" y="5321"/>
                    </a:lnTo>
                    <a:lnTo>
                      <a:pt x="6243" y="5321"/>
                    </a:lnTo>
                    <a:lnTo>
                      <a:pt x="6256" y="5321"/>
                    </a:lnTo>
                    <a:lnTo>
                      <a:pt x="6267" y="5323"/>
                    </a:lnTo>
                    <a:lnTo>
                      <a:pt x="6279" y="5326"/>
                    </a:lnTo>
                    <a:lnTo>
                      <a:pt x="6291" y="5329"/>
                    </a:lnTo>
                    <a:lnTo>
                      <a:pt x="6297" y="5329"/>
                    </a:lnTo>
                    <a:lnTo>
                      <a:pt x="6303" y="5330"/>
                    </a:lnTo>
                    <a:lnTo>
                      <a:pt x="6310" y="5329"/>
                    </a:lnTo>
                    <a:lnTo>
                      <a:pt x="6317" y="5329"/>
                    </a:lnTo>
                    <a:lnTo>
                      <a:pt x="6329" y="5326"/>
                    </a:lnTo>
                    <a:lnTo>
                      <a:pt x="6342" y="5324"/>
                    </a:lnTo>
                    <a:lnTo>
                      <a:pt x="6355" y="5320"/>
                    </a:lnTo>
                    <a:lnTo>
                      <a:pt x="6367" y="5315"/>
                    </a:lnTo>
                    <a:lnTo>
                      <a:pt x="6379" y="5309"/>
                    </a:lnTo>
                    <a:lnTo>
                      <a:pt x="6391" y="5303"/>
                    </a:lnTo>
                    <a:lnTo>
                      <a:pt x="6403" y="5297"/>
                    </a:lnTo>
                    <a:lnTo>
                      <a:pt x="6414" y="5290"/>
                    </a:lnTo>
                    <a:lnTo>
                      <a:pt x="6435" y="5274"/>
                    </a:lnTo>
                    <a:lnTo>
                      <a:pt x="6455" y="5256"/>
                    </a:lnTo>
                    <a:lnTo>
                      <a:pt x="6474" y="5240"/>
                    </a:lnTo>
                    <a:lnTo>
                      <a:pt x="6490" y="5224"/>
                    </a:lnTo>
                    <a:lnTo>
                      <a:pt x="6496" y="5228"/>
                    </a:lnTo>
                    <a:lnTo>
                      <a:pt x="6502" y="5230"/>
                    </a:lnTo>
                    <a:lnTo>
                      <a:pt x="6508" y="5230"/>
                    </a:lnTo>
                    <a:lnTo>
                      <a:pt x="6515" y="5229"/>
                    </a:lnTo>
                    <a:lnTo>
                      <a:pt x="6523" y="5228"/>
                    </a:lnTo>
                    <a:lnTo>
                      <a:pt x="6530" y="5225"/>
                    </a:lnTo>
                    <a:lnTo>
                      <a:pt x="6538" y="5224"/>
                    </a:lnTo>
                    <a:lnTo>
                      <a:pt x="6546" y="5224"/>
                    </a:lnTo>
                    <a:lnTo>
                      <a:pt x="6559" y="5224"/>
                    </a:lnTo>
                    <a:lnTo>
                      <a:pt x="6571" y="5223"/>
                    </a:lnTo>
                    <a:lnTo>
                      <a:pt x="6584" y="5222"/>
                    </a:lnTo>
                    <a:lnTo>
                      <a:pt x="6598" y="5220"/>
                    </a:lnTo>
                    <a:lnTo>
                      <a:pt x="6610" y="5217"/>
                    </a:lnTo>
                    <a:lnTo>
                      <a:pt x="6624" y="5214"/>
                    </a:lnTo>
                    <a:lnTo>
                      <a:pt x="6638" y="5209"/>
                    </a:lnTo>
                    <a:lnTo>
                      <a:pt x="6650" y="5205"/>
                    </a:lnTo>
                    <a:lnTo>
                      <a:pt x="6664" y="5199"/>
                    </a:lnTo>
                    <a:lnTo>
                      <a:pt x="6678" y="5192"/>
                    </a:lnTo>
                    <a:lnTo>
                      <a:pt x="6690" y="5185"/>
                    </a:lnTo>
                    <a:lnTo>
                      <a:pt x="6704" y="5177"/>
                    </a:lnTo>
                    <a:lnTo>
                      <a:pt x="6717" y="5169"/>
                    </a:lnTo>
                    <a:lnTo>
                      <a:pt x="6729" y="5160"/>
                    </a:lnTo>
                    <a:lnTo>
                      <a:pt x="6741" y="5151"/>
                    </a:lnTo>
                    <a:lnTo>
                      <a:pt x="6754" y="5141"/>
                    </a:lnTo>
                    <a:lnTo>
                      <a:pt x="6765" y="5130"/>
                    </a:lnTo>
                    <a:lnTo>
                      <a:pt x="6775" y="5120"/>
                    </a:lnTo>
                    <a:lnTo>
                      <a:pt x="6787" y="5107"/>
                    </a:lnTo>
                    <a:lnTo>
                      <a:pt x="6797" y="5096"/>
                    </a:lnTo>
                    <a:lnTo>
                      <a:pt x="6806" y="5083"/>
                    </a:lnTo>
                    <a:lnTo>
                      <a:pt x="6815" y="5071"/>
                    </a:lnTo>
                    <a:lnTo>
                      <a:pt x="6825" y="5057"/>
                    </a:lnTo>
                    <a:lnTo>
                      <a:pt x="6831" y="5043"/>
                    </a:lnTo>
                    <a:lnTo>
                      <a:pt x="6840" y="5028"/>
                    </a:lnTo>
                    <a:lnTo>
                      <a:pt x="6845" y="5013"/>
                    </a:lnTo>
                    <a:lnTo>
                      <a:pt x="6851" y="4998"/>
                    </a:lnTo>
                    <a:lnTo>
                      <a:pt x="6856" y="4982"/>
                    </a:lnTo>
                    <a:lnTo>
                      <a:pt x="6860" y="4967"/>
                    </a:lnTo>
                    <a:lnTo>
                      <a:pt x="6864" y="4950"/>
                    </a:lnTo>
                    <a:lnTo>
                      <a:pt x="6865" y="4934"/>
                    </a:lnTo>
                    <a:lnTo>
                      <a:pt x="6866" y="4917"/>
                    </a:lnTo>
                    <a:lnTo>
                      <a:pt x="6866" y="4879"/>
                    </a:lnTo>
                    <a:lnTo>
                      <a:pt x="6866" y="4844"/>
                    </a:lnTo>
                    <a:lnTo>
                      <a:pt x="6867" y="4808"/>
                    </a:lnTo>
                    <a:lnTo>
                      <a:pt x="6867" y="4772"/>
                    </a:lnTo>
                    <a:lnTo>
                      <a:pt x="6868" y="4737"/>
                    </a:lnTo>
                    <a:lnTo>
                      <a:pt x="6869" y="4700"/>
                    </a:lnTo>
                    <a:lnTo>
                      <a:pt x="6870" y="4660"/>
                    </a:lnTo>
                    <a:lnTo>
                      <a:pt x="6873" y="4618"/>
                    </a:lnTo>
                    <a:lnTo>
                      <a:pt x="6929" y="4618"/>
                    </a:lnTo>
                    <a:lnTo>
                      <a:pt x="6932" y="4606"/>
                    </a:lnTo>
                    <a:lnTo>
                      <a:pt x="6937" y="4596"/>
                    </a:lnTo>
                    <a:lnTo>
                      <a:pt x="6943" y="4587"/>
                    </a:lnTo>
                    <a:lnTo>
                      <a:pt x="6948" y="4581"/>
                    </a:lnTo>
                    <a:lnTo>
                      <a:pt x="6956" y="4575"/>
                    </a:lnTo>
                    <a:lnTo>
                      <a:pt x="6966" y="4572"/>
                    </a:lnTo>
                    <a:lnTo>
                      <a:pt x="6975" y="4569"/>
                    </a:lnTo>
                    <a:lnTo>
                      <a:pt x="6985" y="4569"/>
                    </a:lnTo>
                    <a:lnTo>
                      <a:pt x="6992" y="4569"/>
                    </a:lnTo>
                    <a:lnTo>
                      <a:pt x="6999" y="4571"/>
                    </a:lnTo>
                    <a:lnTo>
                      <a:pt x="7006" y="4573"/>
                    </a:lnTo>
                    <a:lnTo>
                      <a:pt x="7012" y="4575"/>
                    </a:lnTo>
                    <a:lnTo>
                      <a:pt x="7023" y="4581"/>
                    </a:lnTo>
                    <a:lnTo>
                      <a:pt x="7033" y="4588"/>
                    </a:lnTo>
                    <a:lnTo>
                      <a:pt x="7044" y="4595"/>
                    </a:lnTo>
                    <a:lnTo>
                      <a:pt x="7055" y="4602"/>
                    </a:lnTo>
                    <a:lnTo>
                      <a:pt x="7061" y="4605"/>
                    </a:lnTo>
                    <a:lnTo>
                      <a:pt x="7068" y="4607"/>
                    </a:lnTo>
                    <a:lnTo>
                      <a:pt x="7075" y="4610"/>
                    </a:lnTo>
                    <a:lnTo>
                      <a:pt x="7083" y="4611"/>
                    </a:lnTo>
                    <a:lnTo>
                      <a:pt x="7088" y="4611"/>
                    </a:lnTo>
                    <a:lnTo>
                      <a:pt x="7094" y="4610"/>
                    </a:lnTo>
                    <a:lnTo>
                      <a:pt x="7099" y="4608"/>
                    </a:lnTo>
                    <a:lnTo>
                      <a:pt x="7103" y="4606"/>
                    </a:lnTo>
                    <a:lnTo>
                      <a:pt x="7111" y="4602"/>
                    </a:lnTo>
                    <a:lnTo>
                      <a:pt x="7119" y="4597"/>
                    </a:lnTo>
                    <a:lnTo>
                      <a:pt x="7125" y="4592"/>
                    </a:lnTo>
                    <a:lnTo>
                      <a:pt x="7131" y="4588"/>
                    </a:lnTo>
                    <a:lnTo>
                      <a:pt x="7138" y="4584"/>
                    </a:lnTo>
                    <a:lnTo>
                      <a:pt x="7145" y="4583"/>
                    </a:lnTo>
                    <a:lnTo>
                      <a:pt x="7154" y="4584"/>
                    </a:lnTo>
                    <a:lnTo>
                      <a:pt x="7164" y="4588"/>
                    </a:lnTo>
                    <a:lnTo>
                      <a:pt x="7174" y="4592"/>
                    </a:lnTo>
                    <a:lnTo>
                      <a:pt x="7185" y="4599"/>
                    </a:lnTo>
                    <a:lnTo>
                      <a:pt x="7195" y="4606"/>
                    </a:lnTo>
                    <a:lnTo>
                      <a:pt x="7205" y="4615"/>
                    </a:lnTo>
                    <a:lnTo>
                      <a:pt x="7216" y="4626"/>
                    </a:lnTo>
                    <a:lnTo>
                      <a:pt x="7227" y="4635"/>
                    </a:lnTo>
                    <a:lnTo>
                      <a:pt x="7247" y="4657"/>
                    </a:lnTo>
                    <a:lnTo>
                      <a:pt x="7266" y="4677"/>
                    </a:lnTo>
                    <a:lnTo>
                      <a:pt x="7283" y="4696"/>
                    </a:lnTo>
                    <a:lnTo>
                      <a:pt x="7298" y="4708"/>
                    </a:lnTo>
                    <a:lnTo>
                      <a:pt x="7306" y="4682"/>
                    </a:lnTo>
                    <a:lnTo>
                      <a:pt x="7315" y="4658"/>
                    </a:lnTo>
                    <a:lnTo>
                      <a:pt x="7326" y="4636"/>
                    </a:lnTo>
                    <a:lnTo>
                      <a:pt x="7336" y="4616"/>
                    </a:lnTo>
                    <a:lnTo>
                      <a:pt x="7359" y="4582"/>
                    </a:lnTo>
                    <a:lnTo>
                      <a:pt x="7381" y="4549"/>
                    </a:lnTo>
                    <a:lnTo>
                      <a:pt x="7391" y="4530"/>
                    </a:lnTo>
                    <a:lnTo>
                      <a:pt x="7401" y="4512"/>
                    </a:lnTo>
                    <a:lnTo>
                      <a:pt x="7410" y="4491"/>
                    </a:lnTo>
                    <a:lnTo>
                      <a:pt x="7419" y="4470"/>
                    </a:lnTo>
                    <a:lnTo>
                      <a:pt x="7425" y="4444"/>
                    </a:lnTo>
                    <a:lnTo>
                      <a:pt x="7431" y="4416"/>
                    </a:lnTo>
                    <a:lnTo>
                      <a:pt x="7435" y="4384"/>
                    </a:lnTo>
                    <a:lnTo>
                      <a:pt x="7437" y="4346"/>
                    </a:lnTo>
                    <a:lnTo>
                      <a:pt x="7437" y="4330"/>
                    </a:lnTo>
                    <a:lnTo>
                      <a:pt x="7435" y="4314"/>
                    </a:lnTo>
                    <a:lnTo>
                      <a:pt x="7432" y="4301"/>
                    </a:lnTo>
                    <a:lnTo>
                      <a:pt x="7429" y="4290"/>
                    </a:lnTo>
                    <a:lnTo>
                      <a:pt x="7424" y="4280"/>
                    </a:lnTo>
                    <a:lnTo>
                      <a:pt x="7420" y="4271"/>
                    </a:lnTo>
                    <a:lnTo>
                      <a:pt x="7415" y="4263"/>
                    </a:lnTo>
                    <a:lnTo>
                      <a:pt x="7409" y="4256"/>
                    </a:lnTo>
                    <a:lnTo>
                      <a:pt x="7399" y="4244"/>
                    </a:lnTo>
                    <a:lnTo>
                      <a:pt x="7390" y="4230"/>
                    </a:lnTo>
                    <a:lnTo>
                      <a:pt x="7386" y="4222"/>
                    </a:lnTo>
                    <a:lnTo>
                      <a:pt x="7384" y="4214"/>
                    </a:lnTo>
                    <a:lnTo>
                      <a:pt x="7382" y="4204"/>
                    </a:lnTo>
                    <a:lnTo>
                      <a:pt x="7382" y="4193"/>
                    </a:lnTo>
                    <a:lnTo>
                      <a:pt x="7382" y="4185"/>
                    </a:lnTo>
                    <a:lnTo>
                      <a:pt x="7383" y="4178"/>
                    </a:lnTo>
                    <a:lnTo>
                      <a:pt x="7385" y="4173"/>
                    </a:lnTo>
                    <a:lnTo>
                      <a:pt x="7388" y="4166"/>
                    </a:lnTo>
                    <a:lnTo>
                      <a:pt x="7393" y="4155"/>
                    </a:lnTo>
                    <a:lnTo>
                      <a:pt x="7400" y="4145"/>
                    </a:lnTo>
                    <a:lnTo>
                      <a:pt x="7408" y="4136"/>
                    </a:lnTo>
                    <a:lnTo>
                      <a:pt x="7417" y="4126"/>
                    </a:lnTo>
                    <a:lnTo>
                      <a:pt x="7424" y="4114"/>
                    </a:lnTo>
                    <a:lnTo>
                      <a:pt x="7430" y="4103"/>
                    </a:lnTo>
                    <a:lnTo>
                      <a:pt x="7423" y="4082"/>
                    </a:lnTo>
                    <a:lnTo>
                      <a:pt x="7409" y="4050"/>
                    </a:lnTo>
                    <a:lnTo>
                      <a:pt x="7391" y="4010"/>
                    </a:lnTo>
                    <a:lnTo>
                      <a:pt x="7368" y="3966"/>
                    </a:lnTo>
                    <a:lnTo>
                      <a:pt x="7345" y="3925"/>
                    </a:lnTo>
                    <a:lnTo>
                      <a:pt x="7323" y="3889"/>
                    </a:lnTo>
                    <a:lnTo>
                      <a:pt x="7314" y="3874"/>
                    </a:lnTo>
                    <a:lnTo>
                      <a:pt x="7305" y="3863"/>
                    </a:lnTo>
                    <a:lnTo>
                      <a:pt x="7297" y="3855"/>
                    </a:lnTo>
                    <a:lnTo>
                      <a:pt x="7291" y="3852"/>
                    </a:lnTo>
                    <a:lnTo>
                      <a:pt x="7282" y="3848"/>
                    </a:lnTo>
                    <a:lnTo>
                      <a:pt x="7273" y="3846"/>
                    </a:lnTo>
                    <a:lnTo>
                      <a:pt x="7265" y="3843"/>
                    </a:lnTo>
                    <a:lnTo>
                      <a:pt x="7257" y="3842"/>
                    </a:lnTo>
                    <a:lnTo>
                      <a:pt x="7242" y="3841"/>
                    </a:lnTo>
                    <a:lnTo>
                      <a:pt x="7227" y="3840"/>
                    </a:lnTo>
                    <a:lnTo>
                      <a:pt x="7214" y="3840"/>
                    </a:lnTo>
                    <a:lnTo>
                      <a:pt x="7202" y="3837"/>
                    </a:lnTo>
                    <a:lnTo>
                      <a:pt x="7196" y="3835"/>
                    </a:lnTo>
                    <a:lnTo>
                      <a:pt x="7190" y="3832"/>
                    </a:lnTo>
                    <a:lnTo>
                      <a:pt x="7185" y="3829"/>
                    </a:lnTo>
                    <a:lnTo>
                      <a:pt x="7180" y="3824"/>
                    </a:lnTo>
                    <a:lnTo>
                      <a:pt x="7169" y="3811"/>
                    </a:lnTo>
                    <a:lnTo>
                      <a:pt x="7158" y="3798"/>
                    </a:lnTo>
                    <a:lnTo>
                      <a:pt x="7148" y="3783"/>
                    </a:lnTo>
                    <a:lnTo>
                      <a:pt x="7140" y="3767"/>
                    </a:lnTo>
                    <a:lnTo>
                      <a:pt x="7122" y="3735"/>
                    </a:lnTo>
                    <a:lnTo>
                      <a:pt x="7103" y="3702"/>
                    </a:lnTo>
                    <a:lnTo>
                      <a:pt x="7093" y="3688"/>
                    </a:lnTo>
                    <a:lnTo>
                      <a:pt x="7081" y="3674"/>
                    </a:lnTo>
                    <a:lnTo>
                      <a:pt x="7070" y="3661"/>
                    </a:lnTo>
                    <a:lnTo>
                      <a:pt x="7056" y="3651"/>
                    </a:lnTo>
                    <a:lnTo>
                      <a:pt x="7049" y="3646"/>
                    </a:lnTo>
                    <a:lnTo>
                      <a:pt x="7041" y="3642"/>
                    </a:lnTo>
                    <a:lnTo>
                      <a:pt x="7033" y="3638"/>
                    </a:lnTo>
                    <a:lnTo>
                      <a:pt x="7024" y="3635"/>
                    </a:lnTo>
                    <a:lnTo>
                      <a:pt x="7015" y="3632"/>
                    </a:lnTo>
                    <a:lnTo>
                      <a:pt x="7006" y="3630"/>
                    </a:lnTo>
                    <a:lnTo>
                      <a:pt x="6995" y="3629"/>
                    </a:lnTo>
                    <a:lnTo>
                      <a:pt x="6985" y="3629"/>
                    </a:lnTo>
                    <a:lnTo>
                      <a:pt x="6976" y="3629"/>
                    </a:lnTo>
                    <a:lnTo>
                      <a:pt x="6969" y="3631"/>
                    </a:lnTo>
                    <a:lnTo>
                      <a:pt x="6962" y="3634"/>
                    </a:lnTo>
                    <a:lnTo>
                      <a:pt x="6956" y="3636"/>
                    </a:lnTo>
                    <a:lnTo>
                      <a:pt x="6952" y="3639"/>
                    </a:lnTo>
                    <a:lnTo>
                      <a:pt x="6947" y="3644"/>
                    </a:lnTo>
                    <a:lnTo>
                      <a:pt x="6944" y="3650"/>
                    </a:lnTo>
                    <a:lnTo>
                      <a:pt x="6940" y="3655"/>
                    </a:lnTo>
                    <a:lnTo>
                      <a:pt x="6935" y="3668"/>
                    </a:lnTo>
                    <a:lnTo>
                      <a:pt x="6931" y="3682"/>
                    </a:lnTo>
                    <a:lnTo>
                      <a:pt x="6927" y="3697"/>
                    </a:lnTo>
                    <a:lnTo>
                      <a:pt x="6922" y="3713"/>
                    </a:lnTo>
                    <a:lnTo>
                      <a:pt x="6906" y="3712"/>
                    </a:lnTo>
                    <a:lnTo>
                      <a:pt x="6890" y="3709"/>
                    </a:lnTo>
                    <a:lnTo>
                      <a:pt x="6876" y="3705"/>
                    </a:lnTo>
                    <a:lnTo>
                      <a:pt x="6862" y="3700"/>
                    </a:lnTo>
                    <a:lnTo>
                      <a:pt x="6851" y="3694"/>
                    </a:lnTo>
                    <a:lnTo>
                      <a:pt x="6840" y="3689"/>
                    </a:lnTo>
                    <a:lnTo>
                      <a:pt x="6829" y="3681"/>
                    </a:lnTo>
                    <a:lnTo>
                      <a:pt x="6819" y="3673"/>
                    </a:lnTo>
                    <a:lnTo>
                      <a:pt x="6811" y="3663"/>
                    </a:lnTo>
                    <a:lnTo>
                      <a:pt x="6803" y="3653"/>
                    </a:lnTo>
                    <a:lnTo>
                      <a:pt x="6795" y="3643"/>
                    </a:lnTo>
                    <a:lnTo>
                      <a:pt x="6788" y="3632"/>
                    </a:lnTo>
                    <a:lnTo>
                      <a:pt x="6775" y="3610"/>
                    </a:lnTo>
                    <a:lnTo>
                      <a:pt x="6765" y="3584"/>
                    </a:lnTo>
                    <a:lnTo>
                      <a:pt x="6747" y="3533"/>
                    </a:lnTo>
                    <a:lnTo>
                      <a:pt x="6729" y="3482"/>
                    </a:lnTo>
                    <a:lnTo>
                      <a:pt x="6720" y="3458"/>
                    </a:lnTo>
                    <a:lnTo>
                      <a:pt x="6710" y="3436"/>
                    </a:lnTo>
                    <a:lnTo>
                      <a:pt x="6704" y="3426"/>
                    </a:lnTo>
                    <a:lnTo>
                      <a:pt x="6699" y="3417"/>
                    </a:lnTo>
                    <a:lnTo>
                      <a:pt x="6692" y="3408"/>
                    </a:lnTo>
                    <a:lnTo>
                      <a:pt x="6685" y="3398"/>
                    </a:lnTo>
                    <a:lnTo>
                      <a:pt x="6677" y="3393"/>
                    </a:lnTo>
                    <a:lnTo>
                      <a:pt x="6668" y="3386"/>
                    </a:lnTo>
                    <a:lnTo>
                      <a:pt x="6658" y="3380"/>
                    </a:lnTo>
                    <a:lnTo>
                      <a:pt x="6648" y="3374"/>
                    </a:lnTo>
                    <a:lnTo>
                      <a:pt x="6626" y="3365"/>
                    </a:lnTo>
                    <a:lnTo>
                      <a:pt x="6602" y="3357"/>
                    </a:lnTo>
                    <a:lnTo>
                      <a:pt x="6553" y="3343"/>
                    </a:lnTo>
                    <a:lnTo>
                      <a:pt x="6504" y="3329"/>
                    </a:lnTo>
                    <a:lnTo>
                      <a:pt x="6481" y="3319"/>
                    </a:lnTo>
                    <a:lnTo>
                      <a:pt x="6459" y="3309"/>
                    </a:lnTo>
                    <a:lnTo>
                      <a:pt x="6449" y="3303"/>
                    </a:lnTo>
                    <a:lnTo>
                      <a:pt x="6439" y="3298"/>
                    </a:lnTo>
                    <a:lnTo>
                      <a:pt x="6431" y="3291"/>
                    </a:lnTo>
                    <a:lnTo>
                      <a:pt x="6423" y="3283"/>
                    </a:lnTo>
                    <a:lnTo>
                      <a:pt x="6418" y="3275"/>
                    </a:lnTo>
                    <a:lnTo>
                      <a:pt x="6411" y="3265"/>
                    </a:lnTo>
                    <a:lnTo>
                      <a:pt x="6406" y="3255"/>
                    </a:lnTo>
                    <a:lnTo>
                      <a:pt x="6403" y="3244"/>
                    </a:lnTo>
                    <a:lnTo>
                      <a:pt x="6400" y="3232"/>
                    </a:lnTo>
                    <a:lnTo>
                      <a:pt x="6398" y="3220"/>
                    </a:lnTo>
                    <a:lnTo>
                      <a:pt x="6398" y="3205"/>
                    </a:lnTo>
                    <a:lnTo>
                      <a:pt x="6399" y="3190"/>
                    </a:lnTo>
                    <a:lnTo>
                      <a:pt x="6389" y="3185"/>
                    </a:lnTo>
                    <a:lnTo>
                      <a:pt x="6377" y="3178"/>
                    </a:lnTo>
                    <a:lnTo>
                      <a:pt x="6363" y="3169"/>
                    </a:lnTo>
                    <a:lnTo>
                      <a:pt x="6348" y="3159"/>
                    </a:lnTo>
                    <a:lnTo>
                      <a:pt x="6313" y="3135"/>
                    </a:lnTo>
                    <a:lnTo>
                      <a:pt x="6279" y="3106"/>
                    </a:lnTo>
                    <a:lnTo>
                      <a:pt x="6262" y="3092"/>
                    </a:lnTo>
                    <a:lnTo>
                      <a:pt x="6246" y="3077"/>
                    </a:lnTo>
                    <a:lnTo>
                      <a:pt x="6231" y="3064"/>
                    </a:lnTo>
                    <a:lnTo>
                      <a:pt x="6217" y="3049"/>
                    </a:lnTo>
                    <a:lnTo>
                      <a:pt x="6204" y="3036"/>
                    </a:lnTo>
                    <a:lnTo>
                      <a:pt x="6195" y="3023"/>
                    </a:lnTo>
                    <a:lnTo>
                      <a:pt x="6188" y="3012"/>
                    </a:lnTo>
                    <a:lnTo>
                      <a:pt x="6184" y="3002"/>
                    </a:lnTo>
                    <a:lnTo>
                      <a:pt x="6178" y="2984"/>
                    </a:lnTo>
                    <a:lnTo>
                      <a:pt x="6172" y="2966"/>
                    </a:lnTo>
                    <a:lnTo>
                      <a:pt x="6165" y="2949"/>
                    </a:lnTo>
                    <a:lnTo>
                      <a:pt x="6158" y="2932"/>
                    </a:lnTo>
                    <a:lnTo>
                      <a:pt x="6150" y="2916"/>
                    </a:lnTo>
                    <a:lnTo>
                      <a:pt x="6142" y="2900"/>
                    </a:lnTo>
                    <a:lnTo>
                      <a:pt x="6133" y="2885"/>
                    </a:lnTo>
                    <a:lnTo>
                      <a:pt x="6123" y="2871"/>
                    </a:lnTo>
                    <a:lnTo>
                      <a:pt x="6113" y="2859"/>
                    </a:lnTo>
                    <a:lnTo>
                      <a:pt x="6100" y="2848"/>
                    </a:lnTo>
                    <a:lnTo>
                      <a:pt x="6087" y="2838"/>
                    </a:lnTo>
                    <a:lnTo>
                      <a:pt x="6075" y="2830"/>
                    </a:lnTo>
                    <a:lnTo>
                      <a:pt x="6060" y="2823"/>
                    </a:lnTo>
                    <a:lnTo>
                      <a:pt x="6044" y="2818"/>
                    </a:lnTo>
                    <a:lnTo>
                      <a:pt x="6028" y="2815"/>
                    </a:lnTo>
                    <a:lnTo>
                      <a:pt x="6009" y="2814"/>
                    </a:lnTo>
                    <a:lnTo>
                      <a:pt x="6000" y="2815"/>
                    </a:lnTo>
                    <a:lnTo>
                      <a:pt x="5992" y="2816"/>
                    </a:lnTo>
                    <a:lnTo>
                      <a:pt x="5984" y="2817"/>
                    </a:lnTo>
                    <a:lnTo>
                      <a:pt x="5978" y="2819"/>
                    </a:lnTo>
                    <a:lnTo>
                      <a:pt x="5967" y="2825"/>
                    </a:lnTo>
                    <a:lnTo>
                      <a:pt x="5959" y="2832"/>
                    </a:lnTo>
                    <a:lnTo>
                      <a:pt x="5950" y="2838"/>
                    </a:lnTo>
                    <a:lnTo>
                      <a:pt x="5941" y="2843"/>
                    </a:lnTo>
                    <a:lnTo>
                      <a:pt x="5935" y="2846"/>
                    </a:lnTo>
                    <a:lnTo>
                      <a:pt x="5928" y="2847"/>
                    </a:lnTo>
                    <a:lnTo>
                      <a:pt x="5921" y="2848"/>
                    </a:lnTo>
                    <a:lnTo>
                      <a:pt x="5912" y="2849"/>
                    </a:lnTo>
                    <a:lnTo>
                      <a:pt x="5889" y="2848"/>
                    </a:lnTo>
                    <a:lnTo>
                      <a:pt x="5868" y="2846"/>
                    </a:lnTo>
                    <a:lnTo>
                      <a:pt x="5850" y="2842"/>
                    </a:lnTo>
                    <a:lnTo>
                      <a:pt x="5833" y="2837"/>
                    </a:lnTo>
                    <a:lnTo>
                      <a:pt x="5819" y="2831"/>
                    </a:lnTo>
                    <a:lnTo>
                      <a:pt x="5806" y="2823"/>
                    </a:lnTo>
                    <a:lnTo>
                      <a:pt x="5795" y="2814"/>
                    </a:lnTo>
                    <a:lnTo>
                      <a:pt x="5786" y="2804"/>
                    </a:lnTo>
                    <a:lnTo>
                      <a:pt x="5777" y="2794"/>
                    </a:lnTo>
                    <a:lnTo>
                      <a:pt x="5769" y="2783"/>
                    </a:lnTo>
                    <a:lnTo>
                      <a:pt x="5762" y="2770"/>
                    </a:lnTo>
                    <a:lnTo>
                      <a:pt x="5756" y="2757"/>
                    </a:lnTo>
                    <a:lnTo>
                      <a:pt x="5743" y="2731"/>
                    </a:lnTo>
                    <a:lnTo>
                      <a:pt x="5731" y="2702"/>
                    </a:lnTo>
                    <a:lnTo>
                      <a:pt x="5724" y="2690"/>
                    </a:lnTo>
                    <a:lnTo>
                      <a:pt x="5716" y="2677"/>
                    </a:lnTo>
                    <a:lnTo>
                      <a:pt x="5708" y="2668"/>
                    </a:lnTo>
                    <a:lnTo>
                      <a:pt x="5699" y="2659"/>
                    </a:lnTo>
                    <a:lnTo>
                      <a:pt x="5688" y="2652"/>
                    </a:lnTo>
                    <a:lnTo>
                      <a:pt x="5678" y="2645"/>
                    </a:lnTo>
                    <a:lnTo>
                      <a:pt x="5668" y="2639"/>
                    </a:lnTo>
                    <a:lnTo>
                      <a:pt x="5656" y="2635"/>
                    </a:lnTo>
                    <a:lnTo>
                      <a:pt x="5635" y="2627"/>
                    </a:lnTo>
                    <a:lnTo>
                      <a:pt x="5612" y="2619"/>
                    </a:lnTo>
                    <a:lnTo>
                      <a:pt x="5601" y="2614"/>
                    </a:lnTo>
                    <a:lnTo>
                      <a:pt x="5591" y="2609"/>
                    </a:lnTo>
                    <a:lnTo>
                      <a:pt x="5581" y="2604"/>
                    </a:lnTo>
                    <a:lnTo>
                      <a:pt x="5571" y="2598"/>
                    </a:lnTo>
                    <a:lnTo>
                      <a:pt x="5565" y="2590"/>
                    </a:lnTo>
                    <a:lnTo>
                      <a:pt x="5559" y="2582"/>
                    </a:lnTo>
                    <a:lnTo>
                      <a:pt x="5555" y="2573"/>
                    </a:lnTo>
                    <a:lnTo>
                      <a:pt x="5552" y="2565"/>
                    </a:lnTo>
                    <a:lnTo>
                      <a:pt x="5551" y="2556"/>
                    </a:lnTo>
                    <a:lnTo>
                      <a:pt x="5551" y="2546"/>
                    </a:lnTo>
                    <a:lnTo>
                      <a:pt x="5551" y="2536"/>
                    </a:lnTo>
                    <a:lnTo>
                      <a:pt x="5552" y="2527"/>
                    </a:lnTo>
                    <a:lnTo>
                      <a:pt x="5555" y="2507"/>
                    </a:lnTo>
                    <a:lnTo>
                      <a:pt x="5560" y="2487"/>
                    </a:lnTo>
                    <a:lnTo>
                      <a:pt x="5563" y="2466"/>
                    </a:lnTo>
                    <a:lnTo>
                      <a:pt x="5565" y="2445"/>
                    </a:lnTo>
                    <a:lnTo>
                      <a:pt x="5563" y="2435"/>
                    </a:lnTo>
                    <a:lnTo>
                      <a:pt x="5562" y="2427"/>
                    </a:lnTo>
                    <a:lnTo>
                      <a:pt x="5560" y="2420"/>
                    </a:lnTo>
                    <a:lnTo>
                      <a:pt x="5558" y="2413"/>
                    </a:lnTo>
                    <a:lnTo>
                      <a:pt x="5554" y="2409"/>
                    </a:lnTo>
                    <a:lnTo>
                      <a:pt x="5550" y="2404"/>
                    </a:lnTo>
                    <a:lnTo>
                      <a:pt x="5545" y="2401"/>
                    </a:lnTo>
                    <a:lnTo>
                      <a:pt x="5541" y="2398"/>
                    </a:lnTo>
                    <a:lnTo>
                      <a:pt x="5530" y="2394"/>
                    </a:lnTo>
                    <a:lnTo>
                      <a:pt x="5520" y="2390"/>
                    </a:lnTo>
                    <a:lnTo>
                      <a:pt x="5511" y="2387"/>
                    </a:lnTo>
                    <a:lnTo>
                      <a:pt x="5502" y="2382"/>
                    </a:lnTo>
                    <a:lnTo>
                      <a:pt x="5492" y="2375"/>
                    </a:lnTo>
                    <a:lnTo>
                      <a:pt x="5484" y="2367"/>
                    </a:lnTo>
                    <a:lnTo>
                      <a:pt x="5477" y="2357"/>
                    </a:lnTo>
                    <a:lnTo>
                      <a:pt x="5471" y="2346"/>
                    </a:lnTo>
                    <a:lnTo>
                      <a:pt x="5464" y="2333"/>
                    </a:lnTo>
                    <a:lnTo>
                      <a:pt x="5458" y="2319"/>
                    </a:lnTo>
                    <a:lnTo>
                      <a:pt x="5453" y="2304"/>
                    </a:lnTo>
                    <a:lnTo>
                      <a:pt x="5449" y="2289"/>
                    </a:lnTo>
                    <a:lnTo>
                      <a:pt x="5441" y="2258"/>
                    </a:lnTo>
                    <a:lnTo>
                      <a:pt x="5436" y="2229"/>
                    </a:lnTo>
                    <a:lnTo>
                      <a:pt x="5433" y="2202"/>
                    </a:lnTo>
                    <a:lnTo>
                      <a:pt x="5432" y="2181"/>
                    </a:lnTo>
                    <a:lnTo>
                      <a:pt x="5421" y="2179"/>
                    </a:lnTo>
                    <a:lnTo>
                      <a:pt x="5411" y="2178"/>
                    </a:lnTo>
                    <a:lnTo>
                      <a:pt x="5403" y="2176"/>
                    </a:lnTo>
                    <a:lnTo>
                      <a:pt x="5396" y="2172"/>
                    </a:lnTo>
                    <a:lnTo>
                      <a:pt x="5390" y="2169"/>
                    </a:lnTo>
                    <a:lnTo>
                      <a:pt x="5385" y="2164"/>
                    </a:lnTo>
                    <a:lnTo>
                      <a:pt x="5381" y="2160"/>
                    </a:lnTo>
                    <a:lnTo>
                      <a:pt x="5378" y="2154"/>
                    </a:lnTo>
                    <a:lnTo>
                      <a:pt x="5375" y="2147"/>
                    </a:lnTo>
                    <a:lnTo>
                      <a:pt x="5373" y="2142"/>
                    </a:lnTo>
                    <a:lnTo>
                      <a:pt x="5372" y="2133"/>
                    </a:lnTo>
                    <a:lnTo>
                      <a:pt x="5371" y="2127"/>
                    </a:lnTo>
                    <a:lnTo>
                      <a:pt x="5371" y="2111"/>
                    </a:lnTo>
                    <a:lnTo>
                      <a:pt x="5372" y="2094"/>
                    </a:lnTo>
                    <a:lnTo>
                      <a:pt x="5373" y="2078"/>
                    </a:lnTo>
                    <a:lnTo>
                      <a:pt x="5373" y="2062"/>
                    </a:lnTo>
                    <a:lnTo>
                      <a:pt x="5373" y="2047"/>
                    </a:lnTo>
                    <a:lnTo>
                      <a:pt x="5371" y="2034"/>
                    </a:lnTo>
                    <a:lnTo>
                      <a:pt x="5369" y="2027"/>
                    </a:lnTo>
                    <a:lnTo>
                      <a:pt x="5365" y="2021"/>
                    </a:lnTo>
                    <a:lnTo>
                      <a:pt x="5362" y="2015"/>
                    </a:lnTo>
                    <a:lnTo>
                      <a:pt x="5357" y="2011"/>
                    </a:lnTo>
                    <a:lnTo>
                      <a:pt x="5351" y="2007"/>
                    </a:lnTo>
                    <a:lnTo>
                      <a:pt x="5344" y="2004"/>
                    </a:lnTo>
                    <a:lnTo>
                      <a:pt x="5336" y="2000"/>
                    </a:lnTo>
                    <a:lnTo>
                      <a:pt x="5327" y="1999"/>
                    </a:lnTo>
                    <a:lnTo>
                      <a:pt x="5293" y="1994"/>
                    </a:lnTo>
                    <a:lnTo>
                      <a:pt x="5263" y="1987"/>
                    </a:lnTo>
                    <a:lnTo>
                      <a:pt x="5249" y="1982"/>
                    </a:lnTo>
                    <a:lnTo>
                      <a:pt x="5237" y="1978"/>
                    </a:lnTo>
                    <a:lnTo>
                      <a:pt x="5225" y="1972"/>
                    </a:lnTo>
                    <a:lnTo>
                      <a:pt x="5215" y="1965"/>
                    </a:lnTo>
                    <a:lnTo>
                      <a:pt x="5206" y="1958"/>
                    </a:lnTo>
                    <a:lnTo>
                      <a:pt x="5197" y="1950"/>
                    </a:lnTo>
                    <a:lnTo>
                      <a:pt x="5190" y="1940"/>
                    </a:lnTo>
                    <a:lnTo>
                      <a:pt x="5185" y="1929"/>
                    </a:lnTo>
                    <a:lnTo>
                      <a:pt x="5180" y="1918"/>
                    </a:lnTo>
                    <a:lnTo>
                      <a:pt x="5177" y="1904"/>
                    </a:lnTo>
                    <a:lnTo>
                      <a:pt x="5175" y="1890"/>
                    </a:lnTo>
                    <a:lnTo>
                      <a:pt x="5175" y="1874"/>
                    </a:lnTo>
                    <a:lnTo>
                      <a:pt x="5190" y="1873"/>
                    </a:lnTo>
                    <a:lnTo>
                      <a:pt x="5203" y="1871"/>
                    </a:lnTo>
                    <a:lnTo>
                      <a:pt x="5216" y="1866"/>
                    </a:lnTo>
                    <a:lnTo>
                      <a:pt x="5226" y="1861"/>
                    </a:lnTo>
                    <a:lnTo>
                      <a:pt x="5237" y="1854"/>
                    </a:lnTo>
                    <a:lnTo>
                      <a:pt x="5245" y="1846"/>
                    </a:lnTo>
                    <a:lnTo>
                      <a:pt x="5253" y="1836"/>
                    </a:lnTo>
                    <a:lnTo>
                      <a:pt x="5258" y="1826"/>
                    </a:lnTo>
                    <a:lnTo>
                      <a:pt x="5264" y="1815"/>
                    </a:lnTo>
                    <a:lnTo>
                      <a:pt x="5268" y="1803"/>
                    </a:lnTo>
                    <a:lnTo>
                      <a:pt x="5270" y="1791"/>
                    </a:lnTo>
                    <a:lnTo>
                      <a:pt x="5271" y="1777"/>
                    </a:lnTo>
                    <a:lnTo>
                      <a:pt x="5271" y="1763"/>
                    </a:lnTo>
                    <a:lnTo>
                      <a:pt x="5270" y="1749"/>
                    </a:lnTo>
                    <a:lnTo>
                      <a:pt x="5269" y="1734"/>
                    </a:lnTo>
                    <a:lnTo>
                      <a:pt x="5265" y="1721"/>
                    </a:lnTo>
                    <a:lnTo>
                      <a:pt x="5265" y="1679"/>
                    </a:lnTo>
                    <a:lnTo>
                      <a:pt x="5273" y="1677"/>
                    </a:lnTo>
                    <a:lnTo>
                      <a:pt x="5281" y="1675"/>
                    </a:lnTo>
                    <a:lnTo>
                      <a:pt x="5289" y="1671"/>
                    </a:lnTo>
                    <a:lnTo>
                      <a:pt x="5296" y="1668"/>
                    </a:lnTo>
                    <a:lnTo>
                      <a:pt x="5310" y="1660"/>
                    </a:lnTo>
                    <a:lnTo>
                      <a:pt x="5323" y="1650"/>
                    </a:lnTo>
                    <a:lnTo>
                      <a:pt x="5334" y="1637"/>
                    </a:lnTo>
                    <a:lnTo>
                      <a:pt x="5344" y="1624"/>
                    </a:lnTo>
                    <a:lnTo>
                      <a:pt x="5354" y="1611"/>
                    </a:lnTo>
                    <a:lnTo>
                      <a:pt x="5362" y="1597"/>
                    </a:lnTo>
                    <a:lnTo>
                      <a:pt x="5374" y="1570"/>
                    </a:lnTo>
                    <a:lnTo>
                      <a:pt x="5383" y="1547"/>
                    </a:lnTo>
                    <a:lnTo>
                      <a:pt x="5388" y="1531"/>
                    </a:lnTo>
                    <a:lnTo>
                      <a:pt x="5390" y="1526"/>
                    </a:lnTo>
                    <a:lnTo>
                      <a:pt x="5386" y="1516"/>
                    </a:lnTo>
                    <a:lnTo>
                      <a:pt x="5379" y="1508"/>
                    </a:lnTo>
                    <a:lnTo>
                      <a:pt x="5372" y="1500"/>
                    </a:lnTo>
                    <a:lnTo>
                      <a:pt x="5363" y="1492"/>
                    </a:lnTo>
                    <a:lnTo>
                      <a:pt x="5343" y="1479"/>
                    </a:lnTo>
                    <a:lnTo>
                      <a:pt x="5323" y="1465"/>
                    </a:lnTo>
                    <a:lnTo>
                      <a:pt x="5304" y="1452"/>
                    </a:lnTo>
                    <a:lnTo>
                      <a:pt x="5287" y="1440"/>
                    </a:lnTo>
                    <a:lnTo>
                      <a:pt x="5281" y="1433"/>
                    </a:lnTo>
                    <a:lnTo>
                      <a:pt x="5276" y="1427"/>
                    </a:lnTo>
                    <a:lnTo>
                      <a:pt x="5273" y="1420"/>
                    </a:lnTo>
                    <a:lnTo>
                      <a:pt x="5272" y="1414"/>
                    </a:lnTo>
                    <a:lnTo>
                      <a:pt x="5272" y="1408"/>
                    </a:lnTo>
                    <a:lnTo>
                      <a:pt x="5273" y="1403"/>
                    </a:lnTo>
                    <a:lnTo>
                      <a:pt x="5276" y="1398"/>
                    </a:lnTo>
                    <a:lnTo>
                      <a:pt x="5278" y="1395"/>
                    </a:lnTo>
                    <a:lnTo>
                      <a:pt x="5285" y="1388"/>
                    </a:lnTo>
                    <a:lnTo>
                      <a:pt x="5293" y="1383"/>
                    </a:lnTo>
                    <a:lnTo>
                      <a:pt x="5301" y="1379"/>
                    </a:lnTo>
                    <a:lnTo>
                      <a:pt x="5307" y="1374"/>
                    </a:lnTo>
                    <a:lnTo>
                      <a:pt x="5310" y="1371"/>
                    </a:lnTo>
                    <a:lnTo>
                      <a:pt x="5312" y="1367"/>
                    </a:lnTo>
                    <a:lnTo>
                      <a:pt x="5313" y="1363"/>
                    </a:lnTo>
                    <a:lnTo>
                      <a:pt x="5313" y="1358"/>
                    </a:lnTo>
                    <a:lnTo>
                      <a:pt x="5312" y="1349"/>
                    </a:lnTo>
                    <a:lnTo>
                      <a:pt x="5311" y="1341"/>
                    </a:lnTo>
                    <a:lnTo>
                      <a:pt x="5308" y="1335"/>
                    </a:lnTo>
                    <a:lnTo>
                      <a:pt x="5303" y="1331"/>
                    </a:lnTo>
                    <a:lnTo>
                      <a:pt x="5299" y="1327"/>
                    </a:lnTo>
                    <a:lnTo>
                      <a:pt x="5293" y="1325"/>
                    </a:lnTo>
                    <a:lnTo>
                      <a:pt x="5286" y="1324"/>
                    </a:lnTo>
                    <a:lnTo>
                      <a:pt x="5279" y="1324"/>
                    </a:lnTo>
                    <a:lnTo>
                      <a:pt x="5264" y="1325"/>
                    </a:lnTo>
                    <a:lnTo>
                      <a:pt x="5249" y="1327"/>
                    </a:lnTo>
                    <a:lnTo>
                      <a:pt x="5236" y="1330"/>
                    </a:lnTo>
                    <a:lnTo>
                      <a:pt x="5223" y="1331"/>
                    </a:lnTo>
                    <a:lnTo>
                      <a:pt x="4931" y="1163"/>
                    </a:lnTo>
                    <a:lnTo>
                      <a:pt x="4927" y="1156"/>
                    </a:lnTo>
                    <a:lnTo>
                      <a:pt x="4925" y="1151"/>
                    </a:lnTo>
                    <a:lnTo>
                      <a:pt x="4924" y="1144"/>
                    </a:lnTo>
                    <a:lnTo>
                      <a:pt x="4924" y="1137"/>
                    </a:lnTo>
                    <a:lnTo>
                      <a:pt x="4925" y="1124"/>
                    </a:lnTo>
                    <a:lnTo>
                      <a:pt x="4926" y="1112"/>
                    </a:lnTo>
                    <a:lnTo>
                      <a:pt x="4928" y="1098"/>
                    </a:lnTo>
                    <a:lnTo>
                      <a:pt x="4928" y="1085"/>
                    </a:lnTo>
                    <a:lnTo>
                      <a:pt x="4927" y="1078"/>
                    </a:lnTo>
                    <a:lnTo>
                      <a:pt x="4925" y="1071"/>
                    </a:lnTo>
                    <a:lnTo>
                      <a:pt x="4921" y="1066"/>
                    </a:lnTo>
                    <a:lnTo>
                      <a:pt x="4917" y="1059"/>
                    </a:lnTo>
                    <a:lnTo>
                      <a:pt x="4911" y="1054"/>
                    </a:lnTo>
                    <a:lnTo>
                      <a:pt x="4905" y="1050"/>
                    </a:lnTo>
                    <a:lnTo>
                      <a:pt x="4898" y="1046"/>
                    </a:lnTo>
                    <a:lnTo>
                      <a:pt x="4890" y="1042"/>
                    </a:lnTo>
                    <a:lnTo>
                      <a:pt x="4877" y="1035"/>
                    </a:lnTo>
                    <a:lnTo>
                      <a:pt x="4862" y="1028"/>
                    </a:lnTo>
                    <a:lnTo>
                      <a:pt x="4855" y="1024"/>
                    </a:lnTo>
                    <a:lnTo>
                      <a:pt x="4849" y="1021"/>
                    </a:lnTo>
                    <a:lnTo>
                      <a:pt x="4843" y="1016"/>
                    </a:lnTo>
                    <a:lnTo>
                      <a:pt x="4839" y="1011"/>
                    </a:lnTo>
                    <a:lnTo>
                      <a:pt x="4835" y="1005"/>
                    </a:lnTo>
                    <a:lnTo>
                      <a:pt x="4833" y="998"/>
                    </a:lnTo>
                    <a:lnTo>
                      <a:pt x="4833" y="991"/>
                    </a:lnTo>
                    <a:lnTo>
                      <a:pt x="4833" y="982"/>
                    </a:lnTo>
                    <a:lnTo>
                      <a:pt x="4834" y="969"/>
                    </a:lnTo>
                    <a:lnTo>
                      <a:pt x="4838" y="958"/>
                    </a:lnTo>
                    <a:lnTo>
                      <a:pt x="4842" y="948"/>
                    </a:lnTo>
                    <a:lnTo>
                      <a:pt x="4847" y="937"/>
                    </a:lnTo>
                    <a:lnTo>
                      <a:pt x="4853" y="927"/>
                    </a:lnTo>
                    <a:lnTo>
                      <a:pt x="4857" y="916"/>
                    </a:lnTo>
                    <a:lnTo>
                      <a:pt x="4859" y="904"/>
                    </a:lnTo>
                    <a:lnTo>
                      <a:pt x="4861" y="891"/>
                    </a:lnTo>
                    <a:lnTo>
                      <a:pt x="4861" y="887"/>
                    </a:lnTo>
                    <a:lnTo>
                      <a:pt x="4859" y="881"/>
                    </a:lnTo>
                    <a:lnTo>
                      <a:pt x="4857" y="875"/>
                    </a:lnTo>
                    <a:lnTo>
                      <a:pt x="4855" y="870"/>
                    </a:lnTo>
                    <a:lnTo>
                      <a:pt x="4848" y="857"/>
                    </a:lnTo>
                    <a:lnTo>
                      <a:pt x="4840" y="846"/>
                    </a:lnTo>
                    <a:lnTo>
                      <a:pt x="4829" y="833"/>
                    </a:lnTo>
                    <a:lnTo>
                      <a:pt x="4816" y="820"/>
                    </a:lnTo>
                    <a:lnTo>
                      <a:pt x="4802" y="809"/>
                    </a:lnTo>
                    <a:lnTo>
                      <a:pt x="4788" y="797"/>
                    </a:lnTo>
                    <a:lnTo>
                      <a:pt x="4772" y="786"/>
                    </a:lnTo>
                    <a:lnTo>
                      <a:pt x="4757" y="776"/>
                    </a:lnTo>
                    <a:lnTo>
                      <a:pt x="4741" y="766"/>
                    </a:lnTo>
                    <a:lnTo>
                      <a:pt x="4726" y="757"/>
                    </a:lnTo>
                    <a:lnTo>
                      <a:pt x="4712" y="750"/>
                    </a:lnTo>
                    <a:lnTo>
                      <a:pt x="4697" y="745"/>
                    </a:lnTo>
                    <a:lnTo>
                      <a:pt x="4684" y="741"/>
                    </a:lnTo>
                    <a:lnTo>
                      <a:pt x="4673" y="739"/>
                    </a:lnTo>
                    <a:lnTo>
                      <a:pt x="4678" y="730"/>
                    </a:lnTo>
                    <a:lnTo>
                      <a:pt x="4684" y="722"/>
                    </a:lnTo>
                    <a:lnTo>
                      <a:pt x="4691" y="715"/>
                    </a:lnTo>
                    <a:lnTo>
                      <a:pt x="4697" y="709"/>
                    </a:lnTo>
                    <a:lnTo>
                      <a:pt x="4709" y="698"/>
                    </a:lnTo>
                    <a:lnTo>
                      <a:pt x="4722" y="687"/>
                    </a:lnTo>
                    <a:lnTo>
                      <a:pt x="4732" y="677"/>
                    </a:lnTo>
                    <a:lnTo>
                      <a:pt x="4741" y="667"/>
                    </a:lnTo>
                    <a:lnTo>
                      <a:pt x="4745" y="661"/>
                    </a:lnTo>
                    <a:lnTo>
                      <a:pt x="4747" y="655"/>
                    </a:lnTo>
                    <a:lnTo>
                      <a:pt x="4749" y="648"/>
                    </a:lnTo>
                    <a:lnTo>
                      <a:pt x="4749" y="641"/>
                    </a:lnTo>
                    <a:lnTo>
                      <a:pt x="4751" y="633"/>
                    </a:lnTo>
                    <a:lnTo>
                      <a:pt x="4749" y="626"/>
                    </a:lnTo>
                    <a:lnTo>
                      <a:pt x="4748" y="621"/>
                    </a:lnTo>
                    <a:lnTo>
                      <a:pt x="4746" y="615"/>
                    </a:lnTo>
                    <a:lnTo>
                      <a:pt x="4739" y="605"/>
                    </a:lnTo>
                    <a:lnTo>
                      <a:pt x="4731" y="596"/>
                    </a:lnTo>
                    <a:lnTo>
                      <a:pt x="4723" y="586"/>
                    </a:lnTo>
                    <a:lnTo>
                      <a:pt x="4715" y="576"/>
                    </a:lnTo>
                    <a:lnTo>
                      <a:pt x="4713" y="570"/>
                    </a:lnTo>
                    <a:lnTo>
                      <a:pt x="4710" y="565"/>
                    </a:lnTo>
                    <a:lnTo>
                      <a:pt x="4708" y="558"/>
                    </a:lnTo>
                    <a:lnTo>
                      <a:pt x="4708" y="551"/>
                    </a:lnTo>
                    <a:lnTo>
                      <a:pt x="4692" y="550"/>
                    </a:lnTo>
                    <a:lnTo>
                      <a:pt x="4676" y="549"/>
                    </a:lnTo>
                    <a:lnTo>
                      <a:pt x="4660" y="546"/>
                    </a:lnTo>
                    <a:lnTo>
                      <a:pt x="4644" y="544"/>
                    </a:lnTo>
                    <a:lnTo>
                      <a:pt x="4629" y="539"/>
                    </a:lnTo>
                    <a:lnTo>
                      <a:pt x="4614" y="536"/>
                    </a:lnTo>
                    <a:lnTo>
                      <a:pt x="4599" y="530"/>
                    </a:lnTo>
                    <a:lnTo>
                      <a:pt x="4585" y="526"/>
                    </a:lnTo>
                    <a:lnTo>
                      <a:pt x="4574" y="520"/>
                    </a:lnTo>
                    <a:lnTo>
                      <a:pt x="4563" y="513"/>
                    </a:lnTo>
                    <a:lnTo>
                      <a:pt x="4552" y="507"/>
                    </a:lnTo>
                    <a:lnTo>
                      <a:pt x="4543" y="500"/>
                    </a:lnTo>
                    <a:lnTo>
                      <a:pt x="4536" y="493"/>
                    </a:lnTo>
                    <a:lnTo>
                      <a:pt x="4532" y="488"/>
                    </a:lnTo>
                    <a:lnTo>
                      <a:pt x="4528" y="481"/>
                    </a:lnTo>
                    <a:lnTo>
                      <a:pt x="4527" y="474"/>
                    </a:lnTo>
                    <a:lnTo>
                      <a:pt x="4527" y="469"/>
                    </a:lnTo>
                    <a:lnTo>
                      <a:pt x="4527" y="466"/>
                    </a:lnTo>
                    <a:lnTo>
                      <a:pt x="4527" y="464"/>
                    </a:lnTo>
                    <a:lnTo>
                      <a:pt x="4527" y="460"/>
                    </a:lnTo>
                    <a:lnTo>
                      <a:pt x="4527" y="456"/>
                    </a:lnTo>
                    <a:lnTo>
                      <a:pt x="4527" y="449"/>
                    </a:lnTo>
                    <a:lnTo>
                      <a:pt x="4527" y="438"/>
                    </a:lnTo>
                    <a:lnTo>
                      <a:pt x="4527" y="425"/>
                    </a:lnTo>
                    <a:lnTo>
                      <a:pt x="4526" y="415"/>
                    </a:lnTo>
                    <a:lnTo>
                      <a:pt x="4525" y="406"/>
                    </a:lnTo>
                    <a:lnTo>
                      <a:pt x="4522" y="397"/>
                    </a:lnTo>
                    <a:lnTo>
                      <a:pt x="4518" y="389"/>
                    </a:lnTo>
                    <a:lnTo>
                      <a:pt x="4514" y="382"/>
                    </a:lnTo>
                    <a:lnTo>
                      <a:pt x="4509" y="375"/>
                    </a:lnTo>
                    <a:lnTo>
                      <a:pt x="4502" y="370"/>
                    </a:lnTo>
                    <a:lnTo>
                      <a:pt x="4496" y="364"/>
                    </a:lnTo>
                    <a:lnTo>
                      <a:pt x="4480" y="354"/>
                    </a:lnTo>
                    <a:lnTo>
                      <a:pt x="4462" y="344"/>
                    </a:lnTo>
                    <a:lnTo>
                      <a:pt x="4443" y="335"/>
                    </a:lnTo>
                    <a:lnTo>
                      <a:pt x="4423" y="327"/>
                    </a:lnTo>
                    <a:lnTo>
                      <a:pt x="4419" y="329"/>
                    </a:lnTo>
                    <a:lnTo>
                      <a:pt x="4412" y="335"/>
                    </a:lnTo>
                    <a:lnTo>
                      <a:pt x="4400" y="343"/>
                    </a:lnTo>
                    <a:lnTo>
                      <a:pt x="4385" y="351"/>
                    </a:lnTo>
                    <a:lnTo>
                      <a:pt x="4368" y="359"/>
                    </a:lnTo>
                    <a:lnTo>
                      <a:pt x="4349" y="366"/>
                    </a:lnTo>
                    <a:lnTo>
                      <a:pt x="4339" y="368"/>
                    </a:lnTo>
                    <a:lnTo>
                      <a:pt x="4330" y="370"/>
                    </a:lnTo>
                    <a:lnTo>
                      <a:pt x="4321" y="370"/>
                    </a:lnTo>
                    <a:lnTo>
                      <a:pt x="4311" y="370"/>
                    </a:lnTo>
                    <a:lnTo>
                      <a:pt x="4303" y="368"/>
                    </a:lnTo>
                    <a:lnTo>
                      <a:pt x="4297" y="367"/>
                    </a:lnTo>
                    <a:lnTo>
                      <a:pt x="4290" y="365"/>
                    </a:lnTo>
                    <a:lnTo>
                      <a:pt x="4284" y="363"/>
                    </a:lnTo>
                    <a:lnTo>
                      <a:pt x="4272" y="356"/>
                    </a:lnTo>
                    <a:lnTo>
                      <a:pt x="4262" y="349"/>
                    </a:lnTo>
                    <a:lnTo>
                      <a:pt x="4252" y="341"/>
                    </a:lnTo>
                    <a:lnTo>
                      <a:pt x="4240" y="334"/>
                    </a:lnTo>
                    <a:lnTo>
                      <a:pt x="4235" y="332"/>
                    </a:lnTo>
                    <a:lnTo>
                      <a:pt x="4228" y="329"/>
                    </a:lnTo>
                    <a:lnTo>
                      <a:pt x="4221" y="328"/>
                    </a:lnTo>
                    <a:lnTo>
                      <a:pt x="4214" y="327"/>
                    </a:lnTo>
                    <a:lnTo>
                      <a:pt x="4199" y="327"/>
                    </a:lnTo>
                    <a:lnTo>
                      <a:pt x="4186" y="328"/>
                    </a:lnTo>
                    <a:lnTo>
                      <a:pt x="4174" y="332"/>
                    </a:lnTo>
                    <a:lnTo>
                      <a:pt x="4162" y="335"/>
                    </a:lnTo>
                    <a:lnTo>
                      <a:pt x="4139" y="347"/>
                    </a:lnTo>
                    <a:lnTo>
                      <a:pt x="4117" y="359"/>
                    </a:lnTo>
                    <a:lnTo>
                      <a:pt x="4105" y="366"/>
                    </a:lnTo>
                    <a:lnTo>
                      <a:pt x="4094" y="373"/>
                    </a:lnTo>
                    <a:lnTo>
                      <a:pt x="4081" y="380"/>
                    </a:lnTo>
                    <a:lnTo>
                      <a:pt x="4067" y="386"/>
                    </a:lnTo>
                    <a:lnTo>
                      <a:pt x="4053" y="390"/>
                    </a:lnTo>
                    <a:lnTo>
                      <a:pt x="4039" y="394"/>
                    </a:lnTo>
                    <a:lnTo>
                      <a:pt x="4022" y="396"/>
                    </a:lnTo>
                    <a:lnTo>
                      <a:pt x="4004" y="397"/>
                    </a:lnTo>
                    <a:lnTo>
                      <a:pt x="3985" y="397"/>
                    </a:lnTo>
                    <a:lnTo>
                      <a:pt x="3966" y="397"/>
                    </a:lnTo>
                    <a:lnTo>
                      <a:pt x="3949" y="397"/>
                    </a:lnTo>
                    <a:lnTo>
                      <a:pt x="3932" y="397"/>
                    </a:lnTo>
                    <a:lnTo>
                      <a:pt x="3916" y="397"/>
                    </a:lnTo>
                    <a:lnTo>
                      <a:pt x="3900" y="397"/>
                    </a:lnTo>
                    <a:lnTo>
                      <a:pt x="3883" y="397"/>
                    </a:lnTo>
                    <a:lnTo>
                      <a:pt x="3865" y="397"/>
                    </a:lnTo>
                    <a:lnTo>
                      <a:pt x="3657" y="237"/>
                    </a:lnTo>
                    <a:lnTo>
                      <a:pt x="3657" y="230"/>
                    </a:lnTo>
                    <a:lnTo>
                      <a:pt x="3658" y="223"/>
                    </a:lnTo>
                    <a:lnTo>
                      <a:pt x="3660" y="216"/>
                    </a:lnTo>
                    <a:lnTo>
                      <a:pt x="3662" y="210"/>
                    </a:lnTo>
                    <a:lnTo>
                      <a:pt x="3669" y="199"/>
                    </a:lnTo>
                    <a:lnTo>
                      <a:pt x="3677" y="187"/>
                    </a:lnTo>
                    <a:lnTo>
                      <a:pt x="3685" y="176"/>
                    </a:lnTo>
                    <a:lnTo>
                      <a:pt x="3691" y="163"/>
                    </a:lnTo>
                    <a:lnTo>
                      <a:pt x="3695" y="156"/>
                    </a:lnTo>
                    <a:lnTo>
                      <a:pt x="3697" y="149"/>
                    </a:lnTo>
                    <a:lnTo>
                      <a:pt x="3698" y="141"/>
                    </a:lnTo>
                    <a:lnTo>
                      <a:pt x="3698" y="132"/>
                    </a:lnTo>
                    <a:lnTo>
                      <a:pt x="3698" y="125"/>
                    </a:lnTo>
                    <a:lnTo>
                      <a:pt x="3696" y="120"/>
                    </a:lnTo>
                    <a:lnTo>
                      <a:pt x="3692" y="113"/>
                    </a:lnTo>
                    <a:lnTo>
                      <a:pt x="3689" y="107"/>
                    </a:lnTo>
                    <a:lnTo>
                      <a:pt x="3683" y="101"/>
                    </a:lnTo>
                    <a:lnTo>
                      <a:pt x="3677" y="94"/>
                    </a:lnTo>
                    <a:lnTo>
                      <a:pt x="3671" y="86"/>
                    </a:lnTo>
                    <a:lnTo>
                      <a:pt x="3664" y="77"/>
                    </a:lnTo>
                    <a:lnTo>
                      <a:pt x="3649" y="82"/>
                    </a:lnTo>
                    <a:lnTo>
                      <a:pt x="3635" y="87"/>
                    </a:lnTo>
                    <a:lnTo>
                      <a:pt x="3621" y="94"/>
                    </a:lnTo>
                    <a:lnTo>
                      <a:pt x="3610" y="101"/>
                    </a:lnTo>
                    <a:lnTo>
                      <a:pt x="3588" y="118"/>
                    </a:lnTo>
                    <a:lnTo>
                      <a:pt x="3567" y="136"/>
                    </a:lnTo>
                    <a:lnTo>
                      <a:pt x="3547" y="154"/>
                    </a:lnTo>
                    <a:lnTo>
                      <a:pt x="3525" y="171"/>
                    </a:lnTo>
                    <a:lnTo>
                      <a:pt x="3515" y="178"/>
                    </a:lnTo>
                    <a:lnTo>
                      <a:pt x="3502" y="185"/>
                    </a:lnTo>
                    <a:lnTo>
                      <a:pt x="3489" y="191"/>
                    </a:lnTo>
                    <a:lnTo>
                      <a:pt x="3476" y="195"/>
                    </a:lnTo>
                    <a:lnTo>
                      <a:pt x="3466" y="198"/>
                    </a:lnTo>
                    <a:lnTo>
                      <a:pt x="3457" y="198"/>
                    </a:lnTo>
                    <a:lnTo>
                      <a:pt x="3446" y="198"/>
                    </a:lnTo>
                    <a:lnTo>
                      <a:pt x="3435" y="199"/>
                    </a:lnTo>
                    <a:lnTo>
                      <a:pt x="3430" y="200"/>
                    </a:lnTo>
                    <a:lnTo>
                      <a:pt x="3425" y="201"/>
                    </a:lnTo>
                    <a:lnTo>
                      <a:pt x="3421" y="202"/>
                    </a:lnTo>
                    <a:lnTo>
                      <a:pt x="3417" y="206"/>
                    </a:lnTo>
                    <a:lnTo>
                      <a:pt x="3413" y="208"/>
                    </a:lnTo>
                    <a:lnTo>
                      <a:pt x="3410" y="212"/>
                    </a:lnTo>
                    <a:lnTo>
                      <a:pt x="3408" y="217"/>
                    </a:lnTo>
                    <a:lnTo>
                      <a:pt x="3406" y="223"/>
                    </a:lnTo>
                    <a:lnTo>
                      <a:pt x="3407" y="251"/>
                    </a:lnTo>
                    <a:lnTo>
                      <a:pt x="3410" y="277"/>
                    </a:lnTo>
                    <a:lnTo>
                      <a:pt x="3415" y="302"/>
                    </a:lnTo>
                    <a:lnTo>
                      <a:pt x="3419" y="327"/>
                    </a:lnTo>
                    <a:lnTo>
                      <a:pt x="3425" y="351"/>
                    </a:lnTo>
                    <a:lnTo>
                      <a:pt x="3430" y="375"/>
                    </a:lnTo>
                    <a:lnTo>
                      <a:pt x="3432" y="399"/>
                    </a:lnTo>
                    <a:lnTo>
                      <a:pt x="3433" y="425"/>
                    </a:lnTo>
                    <a:lnTo>
                      <a:pt x="3434" y="444"/>
                    </a:lnTo>
                    <a:lnTo>
                      <a:pt x="3434" y="468"/>
                    </a:lnTo>
                    <a:lnTo>
                      <a:pt x="3435" y="496"/>
                    </a:lnTo>
                    <a:lnTo>
                      <a:pt x="3435" y="527"/>
                    </a:lnTo>
                    <a:lnTo>
                      <a:pt x="3435" y="560"/>
                    </a:lnTo>
                    <a:lnTo>
                      <a:pt x="3433" y="592"/>
                    </a:lnTo>
                    <a:lnTo>
                      <a:pt x="3431" y="625"/>
                    </a:lnTo>
                    <a:lnTo>
                      <a:pt x="3426" y="655"/>
                    </a:lnTo>
                    <a:lnTo>
                      <a:pt x="3288" y="655"/>
                    </a:lnTo>
                    <a:lnTo>
                      <a:pt x="3288" y="645"/>
                    </a:lnTo>
                    <a:lnTo>
                      <a:pt x="3288" y="637"/>
                    </a:lnTo>
                    <a:lnTo>
                      <a:pt x="3288" y="626"/>
                    </a:lnTo>
                    <a:lnTo>
                      <a:pt x="3288" y="616"/>
                    </a:lnTo>
                    <a:lnTo>
                      <a:pt x="3288" y="601"/>
                    </a:lnTo>
                    <a:lnTo>
                      <a:pt x="3288" y="583"/>
                    </a:lnTo>
                    <a:lnTo>
                      <a:pt x="3288" y="560"/>
                    </a:lnTo>
                    <a:lnTo>
                      <a:pt x="3288" y="529"/>
                    </a:lnTo>
                    <a:lnTo>
                      <a:pt x="3286" y="516"/>
                    </a:lnTo>
                    <a:lnTo>
                      <a:pt x="3284" y="503"/>
                    </a:lnTo>
                    <a:lnTo>
                      <a:pt x="3281" y="490"/>
                    </a:lnTo>
                    <a:lnTo>
                      <a:pt x="3275" y="477"/>
                    </a:lnTo>
                    <a:lnTo>
                      <a:pt x="3272" y="472"/>
                    </a:lnTo>
                    <a:lnTo>
                      <a:pt x="3268" y="466"/>
                    </a:lnTo>
                    <a:lnTo>
                      <a:pt x="3263" y="461"/>
                    </a:lnTo>
                    <a:lnTo>
                      <a:pt x="3258" y="457"/>
                    </a:lnTo>
                    <a:lnTo>
                      <a:pt x="3252" y="453"/>
                    </a:lnTo>
                    <a:lnTo>
                      <a:pt x="3246" y="450"/>
                    </a:lnTo>
                    <a:lnTo>
                      <a:pt x="3239" y="448"/>
                    </a:lnTo>
                    <a:lnTo>
                      <a:pt x="3231" y="446"/>
                    </a:lnTo>
                    <a:lnTo>
                      <a:pt x="3227" y="446"/>
                    </a:lnTo>
                    <a:lnTo>
                      <a:pt x="3222" y="449"/>
                    </a:lnTo>
                    <a:lnTo>
                      <a:pt x="3218" y="452"/>
                    </a:lnTo>
                    <a:lnTo>
                      <a:pt x="3214" y="456"/>
                    </a:lnTo>
                    <a:lnTo>
                      <a:pt x="3206" y="466"/>
                    </a:lnTo>
                    <a:lnTo>
                      <a:pt x="3199" y="476"/>
                    </a:lnTo>
                    <a:lnTo>
                      <a:pt x="3192" y="488"/>
                    </a:lnTo>
                    <a:lnTo>
                      <a:pt x="3183" y="496"/>
                    </a:lnTo>
                    <a:lnTo>
                      <a:pt x="3179" y="499"/>
                    </a:lnTo>
                    <a:lnTo>
                      <a:pt x="3174" y="501"/>
                    </a:lnTo>
                    <a:lnTo>
                      <a:pt x="3168" y="503"/>
                    </a:lnTo>
                    <a:lnTo>
                      <a:pt x="3163" y="501"/>
                    </a:lnTo>
                    <a:lnTo>
                      <a:pt x="3158" y="501"/>
                    </a:lnTo>
                    <a:lnTo>
                      <a:pt x="3155" y="500"/>
                    </a:lnTo>
                    <a:lnTo>
                      <a:pt x="3152" y="498"/>
                    </a:lnTo>
                    <a:lnTo>
                      <a:pt x="3149" y="496"/>
                    </a:lnTo>
                    <a:lnTo>
                      <a:pt x="3144" y="490"/>
                    </a:lnTo>
                    <a:lnTo>
                      <a:pt x="3141" y="482"/>
                    </a:lnTo>
                    <a:lnTo>
                      <a:pt x="3137" y="473"/>
                    </a:lnTo>
                    <a:lnTo>
                      <a:pt x="3135" y="464"/>
                    </a:lnTo>
                    <a:lnTo>
                      <a:pt x="3135" y="454"/>
                    </a:lnTo>
                    <a:lnTo>
                      <a:pt x="3134" y="446"/>
                    </a:lnTo>
                    <a:lnTo>
                      <a:pt x="3121" y="449"/>
                    </a:lnTo>
                    <a:lnTo>
                      <a:pt x="3110" y="452"/>
                    </a:lnTo>
                    <a:lnTo>
                      <a:pt x="3098" y="457"/>
                    </a:lnTo>
                    <a:lnTo>
                      <a:pt x="3087" y="462"/>
                    </a:lnTo>
                    <a:lnTo>
                      <a:pt x="3077" y="469"/>
                    </a:lnTo>
                    <a:lnTo>
                      <a:pt x="3067" y="476"/>
                    </a:lnTo>
                    <a:lnTo>
                      <a:pt x="3058" y="485"/>
                    </a:lnTo>
                    <a:lnTo>
                      <a:pt x="3050" y="495"/>
                    </a:lnTo>
                    <a:lnTo>
                      <a:pt x="3036" y="488"/>
                    </a:lnTo>
                    <a:lnTo>
                      <a:pt x="3025" y="481"/>
                    </a:lnTo>
                    <a:lnTo>
                      <a:pt x="3016" y="474"/>
                    </a:lnTo>
                    <a:lnTo>
                      <a:pt x="3009" y="466"/>
                    </a:lnTo>
                    <a:lnTo>
                      <a:pt x="2999" y="451"/>
                    </a:lnTo>
                    <a:lnTo>
                      <a:pt x="2988" y="436"/>
                    </a:lnTo>
                    <a:lnTo>
                      <a:pt x="2984" y="430"/>
                    </a:lnTo>
                    <a:lnTo>
                      <a:pt x="2977" y="423"/>
                    </a:lnTo>
                    <a:lnTo>
                      <a:pt x="2970" y="418"/>
                    </a:lnTo>
                    <a:lnTo>
                      <a:pt x="2960" y="413"/>
                    </a:lnTo>
                    <a:lnTo>
                      <a:pt x="2947" y="410"/>
                    </a:lnTo>
                    <a:lnTo>
                      <a:pt x="2932" y="406"/>
                    </a:lnTo>
                    <a:lnTo>
                      <a:pt x="2913" y="405"/>
                    </a:lnTo>
                    <a:lnTo>
                      <a:pt x="2891" y="404"/>
                    </a:lnTo>
                    <a:lnTo>
                      <a:pt x="2877" y="405"/>
                    </a:lnTo>
                    <a:lnTo>
                      <a:pt x="2861" y="407"/>
                    </a:lnTo>
                    <a:lnTo>
                      <a:pt x="2842" y="411"/>
                    </a:lnTo>
                    <a:lnTo>
                      <a:pt x="2821" y="415"/>
                    </a:lnTo>
                    <a:lnTo>
                      <a:pt x="2798" y="422"/>
                    </a:lnTo>
                    <a:lnTo>
                      <a:pt x="2775" y="429"/>
                    </a:lnTo>
                    <a:lnTo>
                      <a:pt x="2751" y="436"/>
                    </a:lnTo>
                    <a:lnTo>
                      <a:pt x="2728" y="445"/>
                    </a:lnTo>
                    <a:lnTo>
                      <a:pt x="2705" y="454"/>
                    </a:lnTo>
                    <a:lnTo>
                      <a:pt x="2683" y="464"/>
                    </a:lnTo>
                    <a:lnTo>
                      <a:pt x="2664" y="474"/>
                    </a:lnTo>
                    <a:lnTo>
                      <a:pt x="2647" y="483"/>
                    </a:lnTo>
                    <a:lnTo>
                      <a:pt x="2633" y="493"/>
                    </a:lnTo>
                    <a:lnTo>
                      <a:pt x="2621" y="504"/>
                    </a:lnTo>
                    <a:lnTo>
                      <a:pt x="2617" y="508"/>
                    </a:lnTo>
                    <a:lnTo>
                      <a:pt x="2615" y="513"/>
                    </a:lnTo>
                    <a:lnTo>
                      <a:pt x="2612" y="518"/>
                    </a:lnTo>
                    <a:lnTo>
                      <a:pt x="2612" y="522"/>
                    </a:lnTo>
                    <a:lnTo>
                      <a:pt x="2613" y="531"/>
                    </a:lnTo>
                    <a:lnTo>
                      <a:pt x="2617" y="539"/>
                    </a:lnTo>
                    <a:lnTo>
                      <a:pt x="2621" y="550"/>
                    </a:lnTo>
                    <a:lnTo>
                      <a:pt x="2628" y="559"/>
                    </a:lnTo>
                    <a:lnTo>
                      <a:pt x="2636" y="569"/>
                    </a:lnTo>
                    <a:lnTo>
                      <a:pt x="2646" y="579"/>
                    </a:lnTo>
                    <a:lnTo>
                      <a:pt x="2655" y="590"/>
                    </a:lnTo>
                    <a:lnTo>
                      <a:pt x="2666" y="600"/>
                    </a:lnTo>
                    <a:lnTo>
                      <a:pt x="2689" y="620"/>
                    </a:lnTo>
                    <a:lnTo>
                      <a:pt x="2712" y="637"/>
                    </a:lnTo>
                    <a:lnTo>
                      <a:pt x="2734" y="652"/>
                    </a:lnTo>
                    <a:lnTo>
                      <a:pt x="2751" y="662"/>
                    </a:lnTo>
                    <a:lnTo>
                      <a:pt x="2759" y="663"/>
                    </a:lnTo>
                    <a:lnTo>
                      <a:pt x="2770" y="665"/>
                    </a:lnTo>
                    <a:lnTo>
                      <a:pt x="2784" y="669"/>
                    </a:lnTo>
                    <a:lnTo>
                      <a:pt x="2798" y="672"/>
                    </a:lnTo>
                    <a:lnTo>
                      <a:pt x="2812" y="676"/>
                    </a:lnTo>
                    <a:lnTo>
                      <a:pt x="2823" y="679"/>
                    </a:lnTo>
                    <a:lnTo>
                      <a:pt x="2832" y="682"/>
                    </a:lnTo>
                    <a:lnTo>
                      <a:pt x="2835" y="683"/>
                    </a:lnTo>
                    <a:lnTo>
                      <a:pt x="2835" y="690"/>
                    </a:lnTo>
                    <a:lnTo>
                      <a:pt x="2834" y="695"/>
                    </a:lnTo>
                    <a:lnTo>
                      <a:pt x="2832" y="701"/>
                    </a:lnTo>
                    <a:lnTo>
                      <a:pt x="2830" y="707"/>
                    </a:lnTo>
                    <a:lnTo>
                      <a:pt x="2828" y="713"/>
                    </a:lnTo>
                    <a:lnTo>
                      <a:pt x="2824" y="718"/>
                    </a:lnTo>
                    <a:lnTo>
                      <a:pt x="2821" y="723"/>
                    </a:lnTo>
                    <a:lnTo>
                      <a:pt x="2816" y="727"/>
                    </a:lnTo>
                    <a:lnTo>
                      <a:pt x="2812" y="731"/>
                    </a:lnTo>
                    <a:lnTo>
                      <a:pt x="2807" y="734"/>
                    </a:lnTo>
                    <a:lnTo>
                      <a:pt x="2803" y="738"/>
                    </a:lnTo>
                    <a:lnTo>
                      <a:pt x="2797" y="740"/>
                    </a:lnTo>
                    <a:lnTo>
                      <a:pt x="2791" y="742"/>
                    </a:lnTo>
                    <a:lnTo>
                      <a:pt x="2785" y="745"/>
                    </a:lnTo>
                    <a:lnTo>
                      <a:pt x="2779" y="745"/>
                    </a:lnTo>
                    <a:lnTo>
                      <a:pt x="2772" y="746"/>
                    </a:lnTo>
                    <a:lnTo>
                      <a:pt x="2758" y="745"/>
                    </a:lnTo>
                    <a:lnTo>
                      <a:pt x="2741" y="743"/>
                    </a:lnTo>
                    <a:lnTo>
                      <a:pt x="2722" y="742"/>
                    </a:lnTo>
                    <a:lnTo>
                      <a:pt x="2704" y="740"/>
                    </a:lnTo>
                    <a:lnTo>
                      <a:pt x="2684" y="739"/>
                    </a:lnTo>
                    <a:lnTo>
                      <a:pt x="2667" y="740"/>
                    </a:lnTo>
                    <a:lnTo>
                      <a:pt x="2659" y="740"/>
                    </a:lnTo>
                    <a:lnTo>
                      <a:pt x="2652" y="741"/>
                    </a:lnTo>
                    <a:lnTo>
                      <a:pt x="2646" y="743"/>
                    </a:lnTo>
                    <a:lnTo>
                      <a:pt x="2640" y="746"/>
                    </a:lnTo>
                    <a:lnTo>
                      <a:pt x="2637" y="753"/>
                    </a:lnTo>
                    <a:lnTo>
                      <a:pt x="2637" y="761"/>
                    </a:lnTo>
                    <a:lnTo>
                      <a:pt x="2636" y="769"/>
                    </a:lnTo>
                    <a:lnTo>
                      <a:pt x="2637" y="777"/>
                    </a:lnTo>
                    <a:lnTo>
                      <a:pt x="2637" y="787"/>
                    </a:lnTo>
                    <a:lnTo>
                      <a:pt x="2639" y="799"/>
                    </a:lnTo>
                    <a:lnTo>
                      <a:pt x="2640" y="812"/>
                    </a:lnTo>
                    <a:lnTo>
                      <a:pt x="2640" y="829"/>
                    </a:lnTo>
                    <a:lnTo>
                      <a:pt x="2592" y="829"/>
                    </a:lnTo>
                    <a:lnTo>
                      <a:pt x="2571" y="818"/>
                    </a:lnTo>
                    <a:lnTo>
                      <a:pt x="2548" y="808"/>
                    </a:lnTo>
                    <a:lnTo>
                      <a:pt x="2524" y="796"/>
                    </a:lnTo>
                    <a:lnTo>
                      <a:pt x="2501" y="782"/>
                    </a:lnTo>
                    <a:lnTo>
                      <a:pt x="2490" y="776"/>
                    </a:lnTo>
                    <a:lnTo>
                      <a:pt x="2480" y="769"/>
                    </a:lnTo>
                    <a:lnTo>
                      <a:pt x="2471" y="761"/>
                    </a:lnTo>
                    <a:lnTo>
                      <a:pt x="2464" y="752"/>
                    </a:lnTo>
                    <a:lnTo>
                      <a:pt x="2457" y="742"/>
                    </a:lnTo>
                    <a:lnTo>
                      <a:pt x="2454" y="733"/>
                    </a:lnTo>
                    <a:lnTo>
                      <a:pt x="2453" y="727"/>
                    </a:lnTo>
                    <a:lnTo>
                      <a:pt x="2452" y="722"/>
                    </a:lnTo>
                    <a:lnTo>
                      <a:pt x="2452" y="716"/>
                    </a:lnTo>
                    <a:lnTo>
                      <a:pt x="2452" y="710"/>
                    </a:lnTo>
                    <a:lnTo>
                      <a:pt x="2452" y="709"/>
                    </a:lnTo>
                    <a:lnTo>
                      <a:pt x="2452" y="703"/>
                    </a:lnTo>
                    <a:lnTo>
                      <a:pt x="2452" y="695"/>
                    </a:lnTo>
                    <a:lnTo>
                      <a:pt x="2452" y="685"/>
                    </a:lnTo>
                    <a:lnTo>
                      <a:pt x="2452" y="674"/>
                    </a:lnTo>
                    <a:lnTo>
                      <a:pt x="2452" y="661"/>
                    </a:lnTo>
                    <a:lnTo>
                      <a:pt x="2452" y="647"/>
                    </a:lnTo>
                    <a:lnTo>
                      <a:pt x="2452" y="635"/>
                    </a:lnTo>
                    <a:lnTo>
                      <a:pt x="2452" y="620"/>
                    </a:lnTo>
                    <a:lnTo>
                      <a:pt x="2451" y="606"/>
                    </a:lnTo>
                    <a:lnTo>
                      <a:pt x="2448" y="593"/>
                    </a:lnTo>
                    <a:lnTo>
                      <a:pt x="2445" y="581"/>
                    </a:lnTo>
                    <a:lnTo>
                      <a:pt x="2441" y="569"/>
                    </a:lnTo>
                    <a:lnTo>
                      <a:pt x="2437" y="559"/>
                    </a:lnTo>
                    <a:lnTo>
                      <a:pt x="2432" y="549"/>
                    </a:lnTo>
                    <a:lnTo>
                      <a:pt x="2427" y="539"/>
                    </a:lnTo>
                    <a:lnTo>
                      <a:pt x="2421" y="531"/>
                    </a:lnTo>
                    <a:lnTo>
                      <a:pt x="2415" y="523"/>
                    </a:lnTo>
                    <a:lnTo>
                      <a:pt x="2408" y="518"/>
                    </a:lnTo>
                    <a:lnTo>
                      <a:pt x="2402" y="512"/>
                    </a:lnTo>
                    <a:lnTo>
                      <a:pt x="2396" y="507"/>
                    </a:lnTo>
                    <a:lnTo>
                      <a:pt x="2389" y="504"/>
                    </a:lnTo>
                    <a:lnTo>
                      <a:pt x="2382" y="503"/>
                    </a:lnTo>
                    <a:lnTo>
                      <a:pt x="2375" y="501"/>
                    </a:lnTo>
                    <a:lnTo>
                      <a:pt x="2373" y="501"/>
                    </a:lnTo>
                    <a:lnTo>
                      <a:pt x="2368" y="501"/>
                    </a:lnTo>
                    <a:lnTo>
                      <a:pt x="2363" y="501"/>
                    </a:lnTo>
                    <a:lnTo>
                      <a:pt x="2358" y="501"/>
                    </a:lnTo>
                    <a:lnTo>
                      <a:pt x="2353" y="501"/>
                    </a:lnTo>
                    <a:lnTo>
                      <a:pt x="2347" y="501"/>
                    </a:lnTo>
                    <a:lnTo>
                      <a:pt x="2344" y="501"/>
                    </a:lnTo>
                    <a:lnTo>
                      <a:pt x="2341" y="501"/>
                    </a:lnTo>
                    <a:lnTo>
                      <a:pt x="2331" y="501"/>
                    </a:lnTo>
                    <a:lnTo>
                      <a:pt x="2323" y="499"/>
                    </a:lnTo>
                    <a:lnTo>
                      <a:pt x="2316" y="496"/>
                    </a:lnTo>
                    <a:lnTo>
                      <a:pt x="2310" y="492"/>
                    </a:lnTo>
                    <a:lnTo>
                      <a:pt x="2304" y="488"/>
                    </a:lnTo>
                    <a:lnTo>
                      <a:pt x="2298" y="482"/>
                    </a:lnTo>
                    <a:lnTo>
                      <a:pt x="2294" y="475"/>
                    </a:lnTo>
                    <a:lnTo>
                      <a:pt x="2289" y="468"/>
                    </a:lnTo>
                    <a:lnTo>
                      <a:pt x="2281" y="452"/>
                    </a:lnTo>
                    <a:lnTo>
                      <a:pt x="2275" y="434"/>
                    </a:lnTo>
                    <a:lnTo>
                      <a:pt x="2269" y="415"/>
                    </a:lnTo>
                    <a:lnTo>
                      <a:pt x="2264" y="397"/>
                    </a:lnTo>
                    <a:lnTo>
                      <a:pt x="2209" y="390"/>
                    </a:lnTo>
                    <a:lnTo>
                      <a:pt x="2206" y="391"/>
                    </a:lnTo>
                    <a:lnTo>
                      <a:pt x="2201" y="394"/>
                    </a:lnTo>
                    <a:lnTo>
                      <a:pt x="2193" y="397"/>
                    </a:lnTo>
                    <a:lnTo>
                      <a:pt x="2183" y="401"/>
                    </a:lnTo>
                    <a:lnTo>
                      <a:pt x="2173" y="403"/>
                    </a:lnTo>
                    <a:lnTo>
                      <a:pt x="2164" y="402"/>
                    </a:lnTo>
                    <a:lnTo>
                      <a:pt x="2161" y="401"/>
                    </a:lnTo>
                    <a:lnTo>
                      <a:pt x="2157" y="398"/>
                    </a:lnTo>
                    <a:lnTo>
                      <a:pt x="2155" y="395"/>
                    </a:lnTo>
                    <a:lnTo>
                      <a:pt x="2153" y="390"/>
                    </a:lnTo>
                    <a:lnTo>
                      <a:pt x="2144" y="364"/>
                    </a:lnTo>
                    <a:lnTo>
                      <a:pt x="2134" y="332"/>
                    </a:lnTo>
                    <a:lnTo>
                      <a:pt x="2122" y="297"/>
                    </a:lnTo>
                    <a:lnTo>
                      <a:pt x="2108" y="262"/>
                    </a:lnTo>
                    <a:lnTo>
                      <a:pt x="2099" y="245"/>
                    </a:lnTo>
                    <a:lnTo>
                      <a:pt x="2091" y="227"/>
                    </a:lnTo>
                    <a:lnTo>
                      <a:pt x="2080" y="211"/>
                    </a:lnTo>
                    <a:lnTo>
                      <a:pt x="2070" y="196"/>
                    </a:lnTo>
                    <a:lnTo>
                      <a:pt x="2058" y="183"/>
                    </a:lnTo>
                    <a:lnTo>
                      <a:pt x="2047" y="171"/>
                    </a:lnTo>
                    <a:lnTo>
                      <a:pt x="2040" y="165"/>
                    </a:lnTo>
                    <a:lnTo>
                      <a:pt x="2034" y="161"/>
                    </a:lnTo>
                    <a:lnTo>
                      <a:pt x="2028" y="157"/>
                    </a:lnTo>
                    <a:lnTo>
                      <a:pt x="2021" y="154"/>
                    </a:lnTo>
                    <a:lnTo>
                      <a:pt x="1995" y="143"/>
                    </a:lnTo>
                    <a:lnTo>
                      <a:pt x="1971" y="132"/>
                    </a:lnTo>
                    <a:lnTo>
                      <a:pt x="1961" y="126"/>
                    </a:lnTo>
                    <a:lnTo>
                      <a:pt x="1951" y="120"/>
                    </a:lnTo>
                    <a:lnTo>
                      <a:pt x="1940" y="113"/>
                    </a:lnTo>
                    <a:lnTo>
                      <a:pt x="1931" y="106"/>
                    </a:lnTo>
                    <a:lnTo>
                      <a:pt x="1922" y="98"/>
                    </a:lnTo>
                    <a:lnTo>
                      <a:pt x="1914" y="90"/>
                    </a:lnTo>
                    <a:lnTo>
                      <a:pt x="1906" y="81"/>
                    </a:lnTo>
                    <a:lnTo>
                      <a:pt x="1899" y="70"/>
                    </a:lnTo>
                    <a:lnTo>
                      <a:pt x="1892" y="60"/>
                    </a:lnTo>
                    <a:lnTo>
                      <a:pt x="1885" y="47"/>
                    </a:lnTo>
                    <a:lnTo>
                      <a:pt x="1880" y="35"/>
                    </a:lnTo>
                    <a:lnTo>
                      <a:pt x="1874" y="21"/>
                    </a:lnTo>
                    <a:lnTo>
                      <a:pt x="1864" y="20"/>
                    </a:lnTo>
                    <a:lnTo>
                      <a:pt x="1856" y="20"/>
                    </a:lnTo>
                    <a:lnTo>
                      <a:pt x="1848" y="22"/>
                    </a:lnTo>
                    <a:lnTo>
                      <a:pt x="1840" y="26"/>
                    </a:lnTo>
                    <a:lnTo>
                      <a:pt x="1833" y="31"/>
                    </a:lnTo>
                    <a:lnTo>
                      <a:pt x="1826" y="38"/>
                    </a:lnTo>
                    <a:lnTo>
                      <a:pt x="1819" y="46"/>
                    </a:lnTo>
                    <a:lnTo>
                      <a:pt x="1811" y="56"/>
                    </a:lnTo>
                    <a:lnTo>
                      <a:pt x="1804" y="53"/>
                    </a:lnTo>
                    <a:lnTo>
                      <a:pt x="1797" y="48"/>
                    </a:lnTo>
                    <a:lnTo>
                      <a:pt x="1790" y="43"/>
                    </a:lnTo>
                    <a:lnTo>
                      <a:pt x="1784" y="36"/>
                    </a:lnTo>
                    <a:lnTo>
                      <a:pt x="1779" y="28"/>
                    </a:lnTo>
                    <a:lnTo>
                      <a:pt x="1773" y="20"/>
                    </a:lnTo>
                    <a:lnTo>
                      <a:pt x="1767" y="11"/>
                    </a:lnTo>
                    <a:lnTo>
                      <a:pt x="1763" y="0"/>
                    </a:lnTo>
                    <a:lnTo>
                      <a:pt x="1745" y="6"/>
                    </a:lnTo>
                    <a:lnTo>
                      <a:pt x="1731" y="13"/>
                    </a:lnTo>
                    <a:lnTo>
                      <a:pt x="1717" y="21"/>
                    </a:lnTo>
                    <a:lnTo>
                      <a:pt x="1704" y="30"/>
                    </a:lnTo>
                    <a:lnTo>
                      <a:pt x="1692" y="39"/>
                    </a:lnTo>
                    <a:lnTo>
                      <a:pt x="1679" y="50"/>
                    </a:lnTo>
                    <a:lnTo>
                      <a:pt x="1666" y="60"/>
                    </a:lnTo>
                    <a:lnTo>
                      <a:pt x="1651" y="70"/>
                    </a:lnTo>
                    <a:lnTo>
                      <a:pt x="1646" y="92"/>
                    </a:lnTo>
                    <a:lnTo>
                      <a:pt x="1639" y="115"/>
                    </a:lnTo>
                    <a:lnTo>
                      <a:pt x="1630" y="138"/>
                    </a:lnTo>
                    <a:lnTo>
                      <a:pt x="1621" y="163"/>
                    </a:lnTo>
                    <a:lnTo>
                      <a:pt x="1609" y="187"/>
                    </a:lnTo>
                    <a:lnTo>
                      <a:pt x="1598" y="211"/>
                    </a:lnTo>
                    <a:lnTo>
                      <a:pt x="1583" y="235"/>
                    </a:lnTo>
                    <a:lnTo>
                      <a:pt x="1568" y="258"/>
                    </a:lnTo>
                    <a:lnTo>
                      <a:pt x="1560" y="269"/>
                    </a:lnTo>
                    <a:lnTo>
                      <a:pt x="1551" y="279"/>
                    </a:lnTo>
                    <a:lnTo>
                      <a:pt x="1541" y="289"/>
                    </a:lnTo>
                    <a:lnTo>
                      <a:pt x="1531" y="300"/>
                    </a:lnTo>
                    <a:lnTo>
                      <a:pt x="1522" y="309"/>
                    </a:lnTo>
                    <a:lnTo>
                      <a:pt x="1510" y="317"/>
                    </a:lnTo>
                    <a:lnTo>
                      <a:pt x="1500" y="325"/>
                    </a:lnTo>
                    <a:lnTo>
                      <a:pt x="1489" y="333"/>
                    </a:lnTo>
                    <a:lnTo>
                      <a:pt x="1477" y="339"/>
                    </a:lnTo>
                    <a:lnTo>
                      <a:pt x="1465" y="346"/>
                    </a:lnTo>
                    <a:lnTo>
                      <a:pt x="1452" y="350"/>
                    </a:lnTo>
                    <a:lnTo>
                      <a:pt x="1438" y="355"/>
                    </a:lnTo>
                    <a:lnTo>
                      <a:pt x="1424" y="358"/>
                    </a:lnTo>
                    <a:lnTo>
                      <a:pt x="1410" y="360"/>
                    </a:lnTo>
                    <a:lnTo>
                      <a:pt x="1395" y="362"/>
                    </a:lnTo>
                    <a:lnTo>
                      <a:pt x="1380" y="363"/>
                    </a:lnTo>
                    <a:lnTo>
                      <a:pt x="1359" y="359"/>
                    </a:lnTo>
                    <a:lnTo>
                      <a:pt x="1341" y="355"/>
                    </a:lnTo>
                    <a:lnTo>
                      <a:pt x="1325" y="350"/>
                    </a:lnTo>
                    <a:lnTo>
                      <a:pt x="1309" y="346"/>
                    </a:lnTo>
                    <a:lnTo>
                      <a:pt x="1293" y="340"/>
                    </a:lnTo>
                    <a:lnTo>
                      <a:pt x="1278" y="335"/>
                    </a:lnTo>
                    <a:lnTo>
                      <a:pt x="1263" y="331"/>
                    </a:lnTo>
                    <a:lnTo>
                      <a:pt x="1248" y="327"/>
                    </a:lnTo>
                    <a:lnTo>
                      <a:pt x="1241" y="328"/>
                    </a:lnTo>
                    <a:lnTo>
                      <a:pt x="1234" y="329"/>
                    </a:lnTo>
                    <a:lnTo>
                      <a:pt x="1228" y="331"/>
                    </a:lnTo>
                    <a:lnTo>
                      <a:pt x="1223" y="334"/>
                    </a:lnTo>
                    <a:lnTo>
                      <a:pt x="1217" y="336"/>
                    </a:lnTo>
                    <a:lnTo>
                      <a:pt x="1212" y="341"/>
                    </a:lnTo>
                    <a:lnTo>
                      <a:pt x="1208" y="344"/>
                    </a:lnTo>
                    <a:lnTo>
                      <a:pt x="1203" y="349"/>
                    </a:lnTo>
                    <a:lnTo>
                      <a:pt x="1195" y="360"/>
                    </a:lnTo>
                    <a:lnTo>
                      <a:pt x="1189" y="372"/>
                    </a:lnTo>
                    <a:lnTo>
                      <a:pt x="1187" y="378"/>
                    </a:lnTo>
                    <a:lnTo>
                      <a:pt x="1186" y="385"/>
                    </a:lnTo>
                    <a:lnTo>
                      <a:pt x="1185" y="390"/>
                    </a:lnTo>
                    <a:lnTo>
                      <a:pt x="1185" y="397"/>
                    </a:lnTo>
                    <a:lnTo>
                      <a:pt x="1186" y="417"/>
                    </a:lnTo>
                    <a:lnTo>
                      <a:pt x="1188" y="441"/>
                    </a:lnTo>
                    <a:lnTo>
                      <a:pt x="1192" y="468"/>
                    </a:lnTo>
                    <a:lnTo>
                      <a:pt x="1195" y="498"/>
                    </a:lnTo>
                    <a:lnTo>
                      <a:pt x="1197" y="528"/>
                    </a:lnTo>
                    <a:lnTo>
                      <a:pt x="1196" y="555"/>
                    </a:lnTo>
                    <a:lnTo>
                      <a:pt x="1195" y="569"/>
                    </a:lnTo>
                    <a:lnTo>
                      <a:pt x="1193" y="581"/>
                    </a:lnTo>
                    <a:lnTo>
                      <a:pt x="1189" y="591"/>
                    </a:lnTo>
                    <a:lnTo>
                      <a:pt x="1185" y="599"/>
                    </a:lnTo>
                    <a:lnTo>
                      <a:pt x="1172" y="609"/>
                    </a:lnTo>
                    <a:lnTo>
                      <a:pt x="1156" y="620"/>
                    </a:lnTo>
                    <a:lnTo>
                      <a:pt x="1139" y="629"/>
                    </a:lnTo>
                    <a:lnTo>
                      <a:pt x="1121" y="638"/>
                    </a:lnTo>
                    <a:lnTo>
                      <a:pt x="1102" y="647"/>
                    </a:lnTo>
                    <a:lnTo>
                      <a:pt x="1086" y="656"/>
                    </a:lnTo>
                    <a:lnTo>
                      <a:pt x="1081" y="661"/>
                    </a:lnTo>
                    <a:lnTo>
                      <a:pt x="1075" y="665"/>
                    </a:lnTo>
                    <a:lnTo>
                      <a:pt x="1069" y="671"/>
                    </a:lnTo>
                    <a:lnTo>
                      <a:pt x="1067" y="676"/>
                    </a:lnTo>
                    <a:lnTo>
                      <a:pt x="1059" y="699"/>
                    </a:lnTo>
                    <a:lnTo>
                      <a:pt x="1053" y="718"/>
                    </a:lnTo>
                    <a:lnTo>
                      <a:pt x="1050" y="727"/>
                    </a:lnTo>
                    <a:lnTo>
                      <a:pt x="1046" y="737"/>
                    </a:lnTo>
                    <a:lnTo>
                      <a:pt x="1043" y="745"/>
                    </a:lnTo>
                    <a:lnTo>
                      <a:pt x="1038" y="752"/>
                    </a:lnTo>
                    <a:lnTo>
                      <a:pt x="1033" y="758"/>
                    </a:lnTo>
                    <a:lnTo>
                      <a:pt x="1028" y="764"/>
                    </a:lnTo>
                    <a:lnTo>
                      <a:pt x="1021" y="769"/>
                    </a:lnTo>
                    <a:lnTo>
                      <a:pt x="1013" y="773"/>
                    </a:lnTo>
                    <a:lnTo>
                      <a:pt x="1005" y="776"/>
                    </a:lnTo>
                    <a:lnTo>
                      <a:pt x="995" y="778"/>
                    </a:lnTo>
                    <a:lnTo>
                      <a:pt x="982" y="780"/>
                    </a:lnTo>
                    <a:lnTo>
                      <a:pt x="969" y="780"/>
                    </a:lnTo>
                    <a:lnTo>
                      <a:pt x="953" y="780"/>
                    </a:lnTo>
                    <a:lnTo>
                      <a:pt x="938" y="778"/>
                    </a:lnTo>
                    <a:lnTo>
                      <a:pt x="923" y="776"/>
                    </a:lnTo>
                    <a:lnTo>
                      <a:pt x="909" y="772"/>
                    </a:lnTo>
                    <a:lnTo>
                      <a:pt x="894" y="768"/>
                    </a:lnTo>
                    <a:lnTo>
                      <a:pt x="878" y="763"/>
                    </a:lnTo>
                    <a:lnTo>
                      <a:pt x="862" y="757"/>
                    </a:lnTo>
                    <a:lnTo>
                      <a:pt x="843" y="753"/>
                    </a:lnTo>
                    <a:lnTo>
                      <a:pt x="840" y="761"/>
                    </a:lnTo>
                    <a:lnTo>
                      <a:pt x="835" y="771"/>
                    </a:lnTo>
                    <a:lnTo>
                      <a:pt x="829" y="781"/>
                    </a:lnTo>
                    <a:lnTo>
                      <a:pt x="824" y="793"/>
                    </a:lnTo>
                    <a:lnTo>
                      <a:pt x="818" y="804"/>
                    </a:lnTo>
                    <a:lnTo>
                      <a:pt x="813" y="817"/>
                    </a:lnTo>
                    <a:lnTo>
                      <a:pt x="810" y="829"/>
                    </a:lnTo>
                    <a:lnTo>
                      <a:pt x="809" y="843"/>
                    </a:lnTo>
                    <a:lnTo>
                      <a:pt x="809" y="852"/>
                    </a:lnTo>
                    <a:lnTo>
                      <a:pt x="810" y="860"/>
                    </a:lnTo>
                    <a:lnTo>
                      <a:pt x="812" y="868"/>
                    </a:lnTo>
                    <a:lnTo>
                      <a:pt x="815" y="875"/>
                    </a:lnTo>
                    <a:lnTo>
                      <a:pt x="820" y="889"/>
                    </a:lnTo>
                    <a:lnTo>
                      <a:pt x="826" y="903"/>
                    </a:lnTo>
                    <a:lnTo>
                      <a:pt x="833" y="917"/>
                    </a:lnTo>
                    <a:lnTo>
                      <a:pt x="839" y="932"/>
                    </a:lnTo>
                    <a:lnTo>
                      <a:pt x="840" y="941"/>
                    </a:lnTo>
                    <a:lnTo>
                      <a:pt x="842" y="949"/>
                    </a:lnTo>
                    <a:lnTo>
                      <a:pt x="843" y="958"/>
                    </a:lnTo>
                    <a:lnTo>
                      <a:pt x="843" y="968"/>
                    </a:lnTo>
                    <a:lnTo>
                      <a:pt x="843" y="979"/>
                    </a:lnTo>
                    <a:lnTo>
                      <a:pt x="842" y="989"/>
                    </a:lnTo>
                    <a:lnTo>
                      <a:pt x="840" y="1000"/>
                    </a:lnTo>
                    <a:lnTo>
                      <a:pt x="837" y="1011"/>
                    </a:lnTo>
                    <a:lnTo>
                      <a:pt x="833" y="1020"/>
                    </a:lnTo>
                    <a:lnTo>
                      <a:pt x="828" y="1030"/>
                    </a:lnTo>
                    <a:lnTo>
                      <a:pt x="824" y="1039"/>
                    </a:lnTo>
                    <a:lnTo>
                      <a:pt x="817" y="1047"/>
                    </a:lnTo>
                    <a:lnTo>
                      <a:pt x="810" y="1055"/>
                    </a:lnTo>
                    <a:lnTo>
                      <a:pt x="803" y="1062"/>
                    </a:lnTo>
                    <a:lnTo>
                      <a:pt x="794" y="1068"/>
                    </a:lnTo>
                    <a:lnTo>
                      <a:pt x="785" y="1073"/>
                    </a:lnTo>
                    <a:lnTo>
                      <a:pt x="774" y="1077"/>
                    </a:lnTo>
                    <a:lnTo>
                      <a:pt x="764" y="1080"/>
                    </a:lnTo>
                    <a:lnTo>
                      <a:pt x="751" y="1081"/>
                    </a:lnTo>
                    <a:lnTo>
                      <a:pt x="739" y="1080"/>
                    </a:lnTo>
                    <a:lnTo>
                      <a:pt x="724" y="1080"/>
                    </a:lnTo>
                    <a:lnTo>
                      <a:pt x="710" y="1077"/>
                    </a:lnTo>
                    <a:lnTo>
                      <a:pt x="700" y="1074"/>
                    </a:lnTo>
                    <a:lnTo>
                      <a:pt x="691" y="1068"/>
                    </a:lnTo>
                    <a:lnTo>
                      <a:pt x="683" y="1063"/>
                    </a:lnTo>
                    <a:lnTo>
                      <a:pt x="677" y="1057"/>
                    </a:lnTo>
                    <a:lnTo>
                      <a:pt x="672" y="1050"/>
                    </a:lnTo>
                    <a:lnTo>
                      <a:pt x="669" y="1043"/>
                    </a:lnTo>
                    <a:lnTo>
                      <a:pt x="662" y="1027"/>
                    </a:lnTo>
                    <a:lnTo>
                      <a:pt x="656" y="1012"/>
                    </a:lnTo>
                    <a:lnTo>
                      <a:pt x="652" y="1005"/>
                    </a:lnTo>
                    <a:lnTo>
                      <a:pt x="647" y="999"/>
                    </a:lnTo>
                    <a:lnTo>
                      <a:pt x="641" y="993"/>
                    </a:lnTo>
                    <a:lnTo>
                      <a:pt x="635" y="989"/>
                    </a:lnTo>
                    <a:lnTo>
                      <a:pt x="628" y="985"/>
                    </a:lnTo>
                    <a:lnTo>
                      <a:pt x="620" y="982"/>
                    </a:lnTo>
                    <a:lnTo>
                      <a:pt x="609" y="979"/>
                    </a:lnTo>
                    <a:lnTo>
                      <a:pt x="600" y="976"/>
                    </a:lnTo>
                    <a:lnTo>
                      <a:pt x="577" y="972"/>
                    </a:lnTo>
                    <a:lnTo>
                      <a:pt x="553" y="967"/>
                    </a:lnTo>
                    <a:lnTo>
                      <a:pt x="528" y="965"/>
                    </a:lnTo>
                    <a:lnTo>
                      <a:pt x="504" y="963"/>
                    </a:lnTo>
                    <a:lnTo>
                      <a:pt x="481" y="961"/>
                    </a:lnTo>
                    <a:lnTo>
                      <a:pt x="460" y="961"/>
                    </a:lnTo>
                    <a:lnTo>
                      <a:pt x="453" y="961"/>
                    </a:lnTo>
                    <a:lnTo>
                      <a:pt x="445" y="963"/>
                    </a:lnTo>
                    <a:lnTo>
                      <a:pt x="438" y="964"/>
                    </a:lnTo>
                    <a:lnTo>
                      <a:pt x="432" y="966"/>
                    </a:lnTo>
                    <a:lnTo>
                      <a:pt x="419" y="971"/>
                    </a:lnTo>
                    <a:lnTo>
                      <a:pt x="409" y="977"/>
                    </a:lnTo>
                    <a:lnTo>
                      <a:pt x="397" y="985"/>
                    </a:lnTo>
                    <a:lnTo>
                      <a:pt x="388" y="995"/>
                    </a:lnTo>
                    <a:lnTo>
                      <a:pt x="379" y="1004"/>
                    </a:lnTo>
                    <a:lnTo>
                      <a:pt x="370" y="1014"/>
                    </a:lnTo>
                    <a:lnTo>
                      <a:pt x="354" y="1032"/>
                    </a:lnTo>
                    <a:lnTo>
                      <a:pt x="338" y="1050"/>
                    </a:lnTo>
                    <a:lnTo>
                      <a:pt x="328" y="1057"/>
                    </a:lnTo>
                    <a:lnTo>
                      <a:pt x="320" y="1061"/>
                    </a:lnTo>
                    <a:lnTo>
                      <a:pt x="310" y="1065"/>
                    </a:lnTo>
                    <a:lnTo>
                      <a:pt x="301" y="1066"/>
                    </a:lnTo>
                    <a:lnTo>
                      <a:pt x="294" y="1065"/>
                    </a:lnTo>
                    <a:lnTo>
                      <a:pt x="288" y="1063"/>
                    </a:lnTo>
                    <a:lnTo>
                      <a:pt x="283" y="1060"/>
                    </a:lnTo>
                    <a:lnTo>
                      <a:pt x="278" y="1055"/>
                    </a:lnTo>
                    <a:lnTo>
                      <a:pt x="268" y="1044"/>
                    </a:lnTo>
                    <a:lnTo>
                      <a:pt x="258" y="1031"/>
                    </a:lnTo>
                    <a:lnTo>
                      <a:pt x="249" y="1019"/>
                    </a:lnTo>
                    <a:lnTo>
                      <a:pt x="240" y="1007"/>
                    </a:lnTo>
                    <a:lnTo>
                      <a:pt x="234" y="1003"/>
                    </a:lnTo>
                    <a:lnTo>
                      <a:pt x="229" y="999"/>
                    </a:lnTo>
                    <a:lnTo>
                      <a:pt x="223" y="997"/>
                    </a:lnTo>
                    <a:lnTo>
                      <a:pt x="217" y="996"/>
                    </a:lnTo>
                    <a:lnTo>
                      <a:pt x="202" y="997"/>
                    </a:lnTo>
                    <a:lnTo>
                      <a:pt x="185" y="1002"/>
                    </a:lnTo>
                    <a:lnTo>
                      <a:pt x="169" y="1007"/>
                    </a:lnTo>
                    <a:lnTo>
                      <a:pt x="151" y="1014"/>
                    </a:lnTo>
                    <a:lnTo>
                      <a:pt x="132" y="1023"/>
                    </a:lnTo>
                    <a:lnTo>
                      <a:pt x="115" y="1035"/>
                    </a:lnTo>
                    <a:lnTo>
                      <a:pt x="97" y="1046"/>
                    </a:lnTo>
                    <a:lnTo>
                      <a:pt x="81" y="1059"/>
                    </a:lnTo>
                    <a:lnTo>
                      <a:pt x="64" y="1073"/>
                    </a:lnTo>
                    <a:lnTo>
                      <a:pt x="49" y="1086"/>
                    </a:lnTo>
                    <a:lnTo>
                      <a:pt x="36" y="1100"/>
                    </a:lnTo>
                    <a:lnTo>
                      <a:pt x="23" y="1114"/>
                    </a:lnTo>
                    <a:lnTo>
                      <a:pt x="14" y="1128"/>
                    </a:lnTo>
                    <a:lnTo>
                      <a:pt x="7" y="1140"/>
                    </a:lnTo>
                    <a:lnTo>
                      <a:pt x="4" y="1146"/>
                    </a:lnTo>
                    <a:lnTo>
                      <a:pt x="3" y="1153"/>
                    </a:lnTo>
                    <a:lnTo>
                      <a:pt x="2" y="1157"/>
                    </a:lnTo>
                    <a:lnTo>
                      <a:pt x="0" y="1163"/>
                    </a:lnTo>
                    <a:lnTo>
                      <a:pt x="2" y="1168"/>
                    </a:lnTo>
                    <a:lnTo>
                      <a:pt x="2" y="1172"/>
                    </a:lnTo>
                    <a:lnTo>
                      <a:pt x="4" y="1176"/>
                    </a:lnTo>
                    <a:lnTo>
                      <a:pt x="5" y="1179"/>
                    </a:lnTo>
                    <a:lnTo>
                      <a:pt x="11" y="1185"/>
                    </a:lnTo>
                    <a:lnTo>
                      <a:pt x="18" y="1191"/>
                    </a:lnTo>
                    <a:lnTo>
                      <a:pt x="34" y="1200"/>
                    </a:lnTo>
                    <a:lnTo>
                      <a:pt x="53" y="1209"/>
                    </a:lnTo>
                    <a:lnTo>
                      <a:pt x="62" y="1215"/>
                    </a:lnTo>
                    <a:lnTo>
                      <a:pt x="73" y="1221"/>
                    </a:lnTo>
                    <a:lnTo>
                      <a:pt x="81" y="1227"/>
                    </a:lnTo>
                    <a:lnTo>
                      <a:pt x="89" y="1234"/>
                    </a:lnTo>
                    <a:lnTo>
                      <a:pt x="96" y="1244"/>
                    </a:lnTo>
                    <a:lnTo>
                      <a:pt x="101" y="1255"/>
                    </a:lnTo>
                    <a:lnTo>
                      <a:pt x="103" y="1261"/>
                    </a:lnTo>
                    <a:lnTo>
                      <a:pt x="105" y="1268"/>
                    </a:lnTo>
                    <a:lnTo>
                      <a:pt x="105" y="1274"/>
                    </a:lnTo>
                    <a:lnTo>
                      <a:pt x="106" y="1281"/>
                    </a:lnTo>
                    <a:lnTo>
                      <a:pt x="104" y="1300"/>
                    </a:lnTo>
                    <a:lnTo>
                      <a:pt x="101" y="1316"/>
                    </a:lnTo>
                    <a:lnTo>
                      <a:pt x="97" y="1332"/>
                    </a:lnTo>
                    <a:lnTo>
                      <a:pt x="91" y="1348"/>
                    </a:lnTo>
                    <a:lnTo>
                      <a:pt x="84" y="1364"/>
                    </a:lnTo>
                    <a:lnTo>
                      <a:pt x="78" y="1380"/>
                    </a:lnTo>
                    <a:lnTo>
                      <a:pt x="74" y="1396"/>
                    </a:lnTo>
                    <a:lnTo>
                      <a:pt x="70" y="1414"/>
                    </a:lnTo>
                    <a:lnTo>
                      <a:pt x="72" y="1448"/>
                    </a:lnTo>
                    <a:lnTo>
                      <a:pt x="74" y="1479"/>
                    </a:lnTo>
                    <a:lnTo>
                      <a:pt x="78" y="1508"/>
                    </a:lnTo>
                    <a:lnTo>
                      <a:pt x="84" y="1537"/>
                    </a:lnTo>
                    <a:lnTo>
                      <a:pt x="91" y="1565"/>
                    </a:lnTo>
                    <a:lnTo>
                      <a:pt x="100" y="1591"/>
                    </a:lnTo>
                    <a:lnTo>
                      <a:pt x="111" y="1615"/>
                    </a:lnTo>
                    <a:lnTo>
                      <a:pt x="122" y="1639"/>
                    </a:lnTo>
                    <a:lnTo>
                      <a:pt x="135" y="1661"/>
                    </a:lnTo>
                    <a:lnTo>
                      <a:pt x="148" y="1683"/>
                    </a:lnTo>
                    <a:lnTo>
                      <a:pt x="163" y="1702"/>
                    </a:lnTo>
                    <a:lnTo>
                      <a:pt x="179" y="1722"/>
                    </a:lnTo>
                    <a:lnTo>
                      <a:pt x="197" y="1740"/>
                    </a:lnTo>
                    <a:lnTo>
                      <a:pt x="214" y="1757"/>
                    </a:lnTo>
                    <a:lnTo>
                      <a:pt x="232" y="1775"/>
                    </a:lnTo>
                    <a:lnTo>
                      <a:pt x="252" y="1791"/>
                    </a:lnTo>
                    <a:lnTo>
                      <a:pt x="244" y="1800"/>
                    </a:lnTo>
                    <a:lnTo>
                      <a:pt x="234" y="1808"/>
                    </a:lnTo>
                    <a:lnTo>
                      <a:pt x="225" y="1815"/>
                    </a:lnTo>
                    <a:lnTo>
                      <a:pt x="216" y="1822"/>
                    </a:lnTo>
                    <a:lnTo>
                      <a:pt x="208" y="1828"/>
                    </a:lnTo>
                    <a:lnTo>
                      <a:pt x="202" y="1835"/>
                    </a:lnTo>
                    <a:lnTo>
                      <a:pt x="199" y="1839"/>
                    </a:lnTo>
                    <a:lnTo>
                      <a:pt x="198" y="1843"/>
                    </a:lnTo>
                    <a:lnTo>
                      <a:pt x="197" y="1848"/>
                    </a:lnTo>
                    <a:lnTo>
                      <a:pt x="195" y="1853"/>
                    </a:lnTo>
                    <a:lnTo>
                      <a:pt x="197" y="1861"/>
                    </a:lnTo>
                    <a:lnTo>
                      <a:pt x="198" y="1867"/>
                    </a:lnTo>
                    <a:lnTo>
                      <a:pt x="200" y="1873"/>
                    </a:lnTo>
                    <a:lnTo>
                      <a:pt x="203" y="1879"/>
                    </a:lnTo>
                    <a:lnTo>
                      <a:pt x="211" y="1889"/>
                    </a:lnTo>
                    <a:lnTo>
                      <a:pt x="221" y="1900"/>
                    </a:lnTo>
                    <a:lnTo>
                      <a:pt x="230" y="1909"/>
                    </a:lnTo>
                    <a:lnTo>
                      <a:pt x="237" y="1920"/>
                    </a:lnTo>
                    <a:lnTo>
                      <a:pt x="240" y="1927"/>
                    </a:lnTo>
                    <a:lnTo>
                      <a:pt x="242" y="1934"/>
                    </a:lnTo>
                    <a:lnTo>
                      <a:pt x="245" y="1942"/>
                    </a:lnTo>
                    <a:lnTo>
                      <a:pt x="245" y="1950"/>
                    </a:lnTo>
                    <a:lnTo>
                      <a:pt x="244" y="1960"/>
                    </a:lnTo>
                    <a:lnTo>
                      <a:pt x="242" y="1969"/>
                    </a:lnTo>
                    <a:lnTo>
                      <a:pt x="240" y="1979"/>
                    </a:lnTo>
                    <a:lnTo>
                      <a:pt x="236" y="1987"/>
                    </a:lnTo>
                    <a:lnTo>
                      <a:pt x="227" y="2000"/>
                    </a:lnTo>
                    <a:lnTo>
                      <a:pt x="217" y="2014"/>
                    </a:lnTo>
                    <a:lnTo>
                      <a:pt x="207" y="2026"/>
                    </a:lnTo>
                    <a:lnTo>
                      <a:pt x="198" y="2037"/>
                    </a:lnTo>
                    <a:lnTo>
                      <a:pt x="194" y="2043"/>
                    </a:lnTo>
                    <a:lnTo>
                      <a:pt x="191" y="2050"/>
                    </a:lnTo>
                    <a:lnTo>
                      <a:pt x="190" y="2056"/>
                    </a:lnTo>
                    <a:lnTo>
                      <a:pt x="189" y="2062"/>
                    </a:lnTo>
                    <a:lnTo>
                      <a:pt x="189" y="2069"/>
                    </a:lnTo>
                    <a:lnTo>
                      <a:pt x="189" y="2077"/>
                    </a:lnTo>
                    <a:lnTo>
                      <a:pt x="189" y="2085"/>
                    </a:lnTo>
                    <a:lnTo>
                      <a:pt x="189" y="2093"/>
                    </a:lnTo>
                    <a:lnTo>
                      <a:pt x="189" y="2101"/>
                    </a:lnTo>
                    <a:lnTo>
                      <a:pt x="189" y="2109"/>
                    </a:lnTo>
                    <a:lnTo>
                      <a:pt x="189" y="2116"/>
                    </a:lnTo>
                    <a:lnTo>
                      <a:pt x="189" y="2124"/>
                    </a:lnTo>
                    <a:lnTo>
                      <a:pt x="189" y="2135"/>
                    </a:lnTo>
                    <a:lnTo>
                      <a:pt x="186" y="2144"/>
                    </a:lnTo>
                    <a:lnTo>
                      <a:pt x="183" y="2151"/>
                    </a:lnTo>
                    <a:lnTo>
                      <a:pt x="179" y="2159"/>
                    </a:lnTo>
                    <a:lnTo>
                      <a:pt x="175" y="2164"/>
                    </a:lnTo>
                    <a:lnTo>
                      <a:pt x="169" y="2170"/>
                    </a:lnTo>
                    <a:lnTo>
                      <a:pt x="163" y="2176"/>
                    </a:lnTo>
                    <a:lnTo>
                      <a:pt x="158" y="2182"/>
                    </a:lnTo>
                    <a:lnTo>
                      <a:pt x="146" y="2191"/>
                    </a:lnTo>
                    <a:lnTo>
                      <a:pt x="136" y="2200"/>
                    </a:lnTo>
                    <a:lnTo>
                      <a:pt x="132" y="2205"/>
                    </a:lnTo>
                    <a:lnTo>
                      <a:pt x="129" y="2210"/>
                    </a:lnTo>
                    <a:lnTo>
                      <a:pt x="127" y="2216"/>
                    </a:lnTo>
                    <a:lnTo>
                      <a:pt x="127" y="2222"/>
                    </a:lnTo>
                    <a:lnTo>
                      <a:pt x="127" y="2230"/>
                    </a:lnTo>
                    <a:lnTo>
                      <a:pt x="128" y="2236"/>
                    </a:lnTo>
                    <a:lnTo>
                      <a:pt x="129" y="2241"/>
                    </a:lnTo>
                    <a:lnTo>
                      <a:pt x="131" y="2246"/>
                    </a:lnTo>
                    <a:lnTo>
                      <a:pt x="136" y="2254"/>
                    </a:lnTo>
                    <a:lnTo>
                      <a:pt x="141" y="2262"/>
                    </a:lnTo>
                    <a:lnTo>
                      <a:pt x="147" y="2270"/>
                    </a:lnTo>
                    <a:lnTo>
                      <a:pt x="153" y="2280"/>
                    </a:lnTo>
                    <a:lnTo>
                      <a:pt x="155" y="2287"/>
                    </a:lnTo>
                    <a:lnTo>
                      <a:pt x="158" y="2294"/>
                    </a:lnTo>
                    <a:lnTo>
                      <a:pt x="160" y="2303"/>
                    </a:lnTo>
                    <a:lnTo>
                      <a:pt x="161" y="2312"/>
                    </a:lnTo>
                    <a:lnTo>
                      <a:pt x="177" y="2306"/>
                    </a:lnTo>
                    <a:lnTo>
                      <a:pt x="192" y="2300"/>
                    </a:lnTo>
                    <a:lnTo>
                      <a:pt x="206" y="2294"/>
                    </a:lnTo>
                    <a:lnTo>
                      <a:pt x="221" y="2291"/>
                    </a:lnTo>
                    <a:lnTo>
                      <a:pt x="234" y="2287"/>
                    </a:lnTo>
                    <a:lnTo>
                      <a:pt x="249" y="2285"/>
                    </a:lnTo>
                    <a:lnTo>
                      <a:pt x="263" y="2284"/>
                    </a:lnTo>
                    <a:lnTo>
                      <a:pt x="277" y="2283"/>
                    </a:lnTo>
                    <a:lnTo>
                      <a:pt x="305" y="2283"/>
                    </a:lnTo>
                    <a:lnTo>
                      <a:pt x="334" y="2284"/>
                    </a:lnTo>
                    <a:lnTo>
                      <a:pt x="365" y="2284"/>
                    </a:lnTo>
                    <a:lnTo>
                      <a:pt x="398" y="2285"/>
                    </a:lnTo>
                    <a:lnTo>
                      <a:pt x="405" y="2285"/>
                    </a:lnTo>
                    <a:lnTo>
                      <a:pt x="412" y="2284"/>
                    </a:lnTo>
                    <a:lnTo>
                      <a:pt x="419" y="2283"/>
                    </a:lnTo>
                    <a:lnTo>
                      <a:pt x="425" y="2280"/>
                    </a:lnTo>
                    <a:lnTo>
                      <a:pt x="435" y="2276"/>
                    </a:lnTo>
                    <a:lnTo>
                      <a:pt x="444" y="2269"/>
                    </a:lnTo>
                    <a:lnTo>
                      <a:pt x="452" y="2261"/>
                    </a:lnTo>
                    <a:lnTo>
                      <a:pt x="458" y="2252"/>
                    </a:lnTo>
                    <a:lnTo>
                      <a:pt x="463" y="2242"/>
                    </a:lnTo>
                    <a:lnTo>
                      <a:pt x="467" y="2232"/>
                    </a:lnTo>
                    <a:lnTo>
                      <a:pt x="473" y="2209"/>
                    </a:lnTo>
                    <a:lnTo>
                      <a:pt x="477" y="2187"/>
                    </a:lnTo>
                    <a:lnTo>
                      <a:pt x="480" y="2177"/>
                    </a:lnTo>
                    <a:lnTo>
                      <a:pt x="482" y="2168"/>
                    </a:lnTo>
                    <a:lnTo>
                      <a:pt x="484" y="2160"/>
                    </a:lnTo>
                    <a:lnTo>
                      <a:pt x="489" y="2152"/>
                    </a:lnTo>
                    <a:lnTo>
                      <a:pt x="495" y="2145"/>
                    </a:lnTo>
                    <a:lnTo>
                      <a:pt x="503" y="2140"/>
                    </a:lnTo>
                    <a:lnTo>
                      <a:pt x="510" y="2136"/>
                    </a:lnTo>
                    <a:lnTo>
                      <a:pt x="518" y="2133"/>
                    </a:lnTo>
                    <a:lnTo>
                      <a:pt x="527" y="2132"/>
                    </a:lnTo>
                    <a:lnTo>
                      <a:pt x="535" y="2131"/>
                    </a:lnTo>
                    <a:lnTo>
                      <a:pt x="544" y="2131"/>
                    </a:lnTo>
                    <a:lnTo>
                      <a:pt x="553" y="2132"/>
                    </a:lnTo>
                    <a:lnTo>
                      <a:pt x="573" y="2135"/>
                    </a:lnTo>
                    <a:lnTo>
                      <a:pt x="593" y="2138"/>
                    </a:lnTo>
                    <a:lnTo>
                      <a:pt x="604" y="2139"/>
                    </a:lnTo>
                    <a:lnTo>
                      <a:pt x="614" y="2139"/>
                    </a:lnTo>
                    <a:lnTo>
                      <a:pt x="624" y="2139"/>
                    </a:lnTo>
                    <a:lnTo>
                      <a:pt x="635" y="2138"/>
                    </a:lnTo>
                    <a:lnTo>
                      <a:pt x="644" y="2137"/>
                    </a:lnTo>
                    <a:lnTo>
                      <a:pt x="651" y="2133"/>
                    </a:lnTo>
                    <a:lnTo>
                      <a:pt x="657" y="2129"/>
                    </a:lnTo>
                    <a:lnTo>
                      <a:pt x="664" y="2123"/>
                    </a:lnTo>
                    <a:lnTo>
                      <a:pt x="669" y="2116"/>
                    </a:lnTo>
                    <a:lnTo>
                      <a:pt x="673" y="2108"/>
                    </a:lnTo>
                    <a:lnTo>
                      <a:pt x="677" y="2100"/>
                    </a:lnTo>
                    <a:lnTo>
                      <a:pt x="680" y="2091"/>
                    </a:lnTo>
                    <a:lnTo>
                      <a:pt x="686" y="2073"/>
                    </a:lnTo>
                    <a:lnTo>
                      <a:pt x="688" y="2052"/>
                    </a:lnTo>
                    <a:lnTo>
                      <a:pt x="690" y="2033"/>
                    </a:lnTo>
                    <a:lnTo>
                      <a:pt x="691" y="2013"/>
                    </a:lnTo>
                    <a:lnTo>
                      <a:pt x="690" y="2003"/>
                    </a:lnTo>
                    <a:lnTo>
                      <a:pt x="687" y="1994"/>
                    </a:lnTo>
                    <a:lnTo>
                      <a:pt x="685" y="1986"/>
                    </a:lnTo>
                    <a:lnTo>
                      <a:pt x="680" y="1979"/>
                    </a:lnTo>
                    <a:lnTo>
                      <a:pt x="676" y="1973"/>
                    </a:lnTo>
                    <a:lnTo>
                      <a:pt x="670" y="1968"/>
                    </a:lnTo>
                    <a:lnTo>
                      <a:pt x="663" y="1965"/>
                    </a:lnTo>
                    <a:lnTo>
                      <a:pt x="655" y="1964"/>
                    </a:lnTo>
                    <a:lnTo>
                      <a:pt x="646" y="1966"/>
                    </a:lnTo>
                    <a:lnTo>
                      <a:pt x="638" y="1968"/>
                    </a:lnTo>
                    <a:lnTo>
                      <a:pt x="631" y="1973"/>
                    </a:lnTo>
                    <a:lnTo>
                      <a:pt x="624" y="1979"/>
                    </a:lnTo>
                    <a:lnTo>
                      <a:pt x="617" y="1983"/>
                    </a:lnTo>
                    <a:lnTo>
                      <a:pt x="610" y="1988"/>
                    </a:lnTo>
                    <a:lnTo>
                      <a:pt x="602" y="1991"/>
                    </a:lnTo>
                    <a:lnTo>
                      <a:pt x="593" y="1992"/>
                    </a:lnTo>
                    <a:lnTo>
                      <a:pt x="585" y="1991"/>
                    </a:lnTo>
                    <a:lnTo>
                      <a:pt x="577" y="1988"/>
                    </a:lnTo>
                    <a:lnTo>
                      <a:pt x="569" y="1983"/>
                    </a:lnTo>
                    <a:lnTo>
                      <a:pt x="561" y="1978"/>
                    </a:lnTo>
                    <a:lnTo>
                      <a:pt x="553" y="1971"/>
                    </a:lnTo>
                    <a:lnTo>
                      <a:pt x="546" y="1963"/>
                    </a:lnTo>
                    <a:lnTo>
                      <a:pt x="538" y="1955"/>
                    </a:lnTo>
                    <a:lnTo>
                      <a:pt x="532" y="1945"/>
                    </a:lnTo>
                    <a:lnTo>
                      <a:pt x="520" y="1927"/>
                    </a:lnTo>
                    <a:lnTo>
                      <a:pt x="511" y="1910"/>
                    </a:lnTo>
                    <a:lnTo>
                      <a:pt x="505" y="1896"/>
                    </a:lnTo>
                    <a:lnTo>
                      <a:pt x="503" y="1888"/>
                    </a:lnTo>
                    <a:lnTo>
                      <a:pt x="503" y="1885"/>
                    </a:lnTo>
                    <a:lnTo>
                      <a:pt x="504" y="1882"/>
                    </a:lnTo>
                    <a:lnTo>
                      <a:pt x="506" y="1879"/>
                    </a:lnTo>
                    <a:lnTo>
                      <a:pt x="510" y="1877"/>
                    </a:lnTo>
                    <a:lnTo>
                      <a:pt x="519" y="1870"/>
                    </a:lnTo>
                    <a:lnTo>
                      <a:pt x="530" y="1863"/>
                    </a:lnTo>
                    <a:lnTo>
                      <a:pt x="559" y="1849"/>
                    </a:lnTo>
                    <a:lnTo>
                      <a:pt x="592" y="1835"/>
                    </a:lnTo>
                    <a:lnTo>
                      <a:pt x="626" y="1824"/>
                    </a:lnTo>
                    <a:lnTo>
                      <a:pt x="657" y="1814"/>
                    </a:lnTo>
                    <a:lnTo>
                      <a:pt x="683" y="1807"/>
                    </a:lnTo>
                    <a:lnTo>
                      <a:pt x="698" y="1804"/>
                    </a:lnTo>
                    <a:lnTo>
                      <a:pt x="698" y="1809"/>
                    </a:lnTo>
                    <a:lnTo>
                      <a:pt x="698" y="1815"/>
                    </a:lnTo>
                    <a:lnTo>
                      <a:pt x="696" y="1820"/>
                    </a:lnTo>
                    <a:lnTo>
                      <a:pt x="696" y="1825"/>
                    </a:lnTo>
                    <a:lnTo>
                      <a:pt x="695" y="1831"/>
                    </a:lnTo>
                    <a:lnTo>
                      <a:pt x="694" y="1835"/>
                    </a:lnTo>
                    <a:lnTo>
                      <a:pt x="693" y="1841"/>
                    </a:lnTo>
                    <a:lnTo>
                      <a:pt x="691" y="1846"/>
                    </a:lnTo>
                    <a:lnTo>
                      <a:pt x="759" y="1846"/>
                    </a:lnTo>
                    <a:lnTo>
                      <a:pt x="763" y="1838"/>
                    </a:lnTo>
                    <a:lnTo>
                      <a:pt x="766" y="1831"/>
                    </a:lnTo>
                    <a:lnTo>
                      <a:pt x="770" y="1824"/>
                    </a:lnTo>
                    <a:lnTo>
                      <a:pt x="774" y="1817"/>
                    </a:lnTo>
                    <a:lnTo>
                      <a:pt x="778" y="1812"/>
                    </a:lnTo>
                    <a:lnTo>
                      <a:pt x="781" y="1808"/>
                    </a:lnTo>
                    <a:lnTo>
                      <a:pt x="785" y="1805"/>
                    </a:lnTo>
                    <a:lnTo>
                      <a:pt x="788" y="1804"/>
                    </a:lnTo>
                    <a:lnTo>
                      <a:pt x="792" y="1805"/>
                    </a:lnTo>
                    <a:lnTo>
                      <a:pt x="796" y="1807"/>
                    </a:lnTo>
                    <a:lnTo>
                      <a:pt x="802" y="1811"/>
                    </a:lnTo>
                    <a:lnTo>
                      <a:pt x="808" y="1816"/>
                    </a:lnTo>
                    <a:lnTo>
                      <a:pt x="824" y="1827"/>
                    </a:lnTo>
                    <a:lnTo>
                      <a:pt x="840" y="1841"/>
                    </a:lnTo>
                    <a:lnTo>
                      <a:pt x="857" y="1857"/>
                    </a:lnTo>
                    <a:lnTo>
                      <a:pt x="872" y="1872"/>
                    </a:lnTo>
                    <a:lnTo>
                      <a:pt x="884" y="1885"/>
                    </a:lnTo>
                    <a:lnTo>
                      <a:pt x="892" y="1895"/>
                    </a:lnTo>
                    <a:lnTo>
                      <a:pt x="941" y="1895"/>
                    </a:lnTo>
                    <a:lnTo>
                      <a:pt x="934" y="1888"/>
                    </a:lnTo>
                    <a:lnTo>
                      <a:pt x="934" y="1839"/>
                    </a:lnTo>
                    <a:lnTo>
                      <a:pt x="953" y="1839"/>
                    </a:lnTo>
                    <a:lnTo>
                      <a:pt x="970" y="1838"/>
                    </a:lnTo>
                    <a:lnTo>
                      <a:pt x="986" y="1836"/>
                    </a:lnTo>
                    <a:lnTo>
                      <a:pt x="1000" y="1834"/>
                    </a:lnTo>
                    <a:lnTo>
                      <a:pt x="1013" y="1831"/>
                    </a:lnTo>
                    <a:lnTo>
                      <a:pt x="1024" y="1827"/>
                    </a:lnTo>
                    <a:lnTo>
                      <a:pt x="1035" y="1823"/>
                    </a:lnTo>
                    <a:lnTo>
                      <a:pt x="1045" y="1818"/>
                    </a:lnTo>
                    <a:lnTo>
                      <a:pt x="1045" y="1888"/>
                    </a:lnTo>
                    <a:lnTo>
                      <a:pt x="1036" y="1903"/>
                    </a:lnTo>
                    <a:lnTo>
                      <a:pt x="1029" y="1917"/>
                    </a:lnTo>
                    <a:lnTo>
                      <a:pt x="1024" y="1930"/>
                    </a:lnTo>
                    <a:lnTo>
                      <a:pt x="1021" y="1943"/>
                    </a:lnTo>
                    <a:lnTo>
                      <a:pt x="1019" y="1957"/>
                    </a:lnTo>
                    <a:lnTo>
                      <a:pt x="1017" y="1969"/>
                    </a:lnTo>
                    <a:lnTo>
                      <a:pt x="1017" y="1984"/>
                    </a:lnTo>
                    <a:lnTo>
                      <a:pt x="1017" y="1999"/>
                    </a:lnTo>
                    <a:lnTo>
                      <a:pt x="1017" y="2007"/>
                    </a:lnTo>
                    <a:lnTo>
                      <a:pt x="1019" y="2015"/>
                    </a:lnTo>
                    <a:lnTo>
                      <a:pt x="1021" y="2023"/>
                    </a:lnTo>
                    <a:lnTo>
                      <a:pt x="1023" y="2031"/>
                    </a:lnTo>
                    <a:lnTo>
                      <a:pt x="1028" y="2038"/>
                    </a:lnTo>
                    <a:lnTo>
                      <a:pt x="1032" y="2043"/>
                    </a:lnTo>
                    <a:lnTo>
                      <a:pt x="1035" y="2045"/>
                    </a:lnTo>
                    <a:lnTo>
                      <a:pt x="1038" y="2046"/>
                    </a:lnTo>
                    <a:lnTo>
                      <a:pt x="1042" y="2047"/>
                    </a:lnTo>
                    <a:lnTo>
                      <a:pt x="1045" y="2047"/>
                    </a:lnTo>
                    <a:lnTo>
                      <a:pt x="1052" y="2047"/>
                    </a:lnTo>
                    <a:lnTo>
                      <a:pt x="1058" y="2045"/>
                    </a:lnTo>
                    <a:lnTo>
                      <a:pt x="1064" y="2043"/>
                    </a:lnTo>
                    <a:lnTo>
                      <a:pt x="1070" y="2039"/>
                    </a:lnTo>
                    <a:lnTo>
                      <a:pt x="1082" y="2030"/>
                    </a:lnTo>
                    <a:lnTo>
                      <a:pt x="1092" y="2019"/>
                    </a:lnTo>
                    <a:lnTo>
                      <a:pt x="1101" y="2008"/>
                    </a:lnTo>
                    <a:lnTo>
                      <a:pt x="1109" y="1998"/>
                    </a:lnTo>
                    <a:lnTo>
                      <a:pt x="1116" y="1990"/>
                    </a:lnTo>
                    <a:lnTo>
                      <a:pt x="1122" y="1986"/>
                    </a:lnTo>
                    <a:lnTo>
                      <a:pt x="1124" y="1992"/>
                    </a:lnTo>
                    <a:lnTo>
                      <a:pt x="1126" y="1999"/>
                    </a:lnTo>
                    <a:lnTo>
                      <a:pt x="1128" y="2006"/>
                    </a:lnTo>
                    <a:lnTo>
                      <a:pt x="1129" y="2013"/>
                    </a:lnTo>
                    <a:lnTo>
                      <a:pt x="1129" y="2020"/>
                    </a:lnTo>
                    <a:lnTo>
                      <a:pt x="1129" y="2027"/>
                    </a:lnTo>
                    <a:lnTo>
                      <a:pt x="1129" y="2034"/>
                    </a:lnTo>
                    <a:lnTo>
                      <a:pt x="1129" y="2041"/>
                    </a:lnTo>
                    <a:lnTo>
                      <a:pt x="1140" y="2035"/>
                    </a:lnTo>
                    <a:lnTo>
                      <a:pt x="1150" y="2027"/>
                    </a:lnTo>
                    <a:lnTo>
                      <a:pt x="1162" y="2019"/>
                    </a:lnTo>
                    <a:lnTo>
                      <a:pt x="1172" y="2008"/>
                    </a:lnTo>
                    <a:lnTo>
                      <a:pt x="1183" y="1999"/>
                    </a:lnTo>
                    <a:lnTo>
                      <a:pt x="1192" y="1989"/>
                    </a:lnTo>
                    <a:lnTo>
                      <a:pt x="1200" y="1980"/>
                    </a:lnTo>
                    <a:lnTo>
                      <a:pt x="1205" y="1972"/>
                    </a:lnTo>
                    <a:lnTo>
                      <a:pt x="1269" y="1979"/>
                    </a:lnTo>
                    <a:lnTo>
                      <a:pt x="1269" y="1998"/>
                    </a:lnTo>
                    <a:lnTo>
                      <a:pt x="1269" y="2014"/>
                    </a:lnTo>
                    <a:lnTo>
                      <a:pt x="1267" y="2029"/>
                    </a:lnTo>
                    <a:lnTo>
                      <a:pt x="1267" y="2044"/>
                    </a:lnTo>
                    <a:lnTo>
                      <a:pt x="1266" y="2058"/>
                    </a:lnTo>
                    <a:lnTo>
                      <a:pt x="1265" y="2072"/>
                    </a:lnTo>
                    <a:lnTo>
                      <a:pt x="1264" y="2086"/>
                    </a:lnTo>
                    <a:lnTo>
                      <a:pt x="1262" y="2104"/>
                    </a:lnTo>
                    <a:lnTo>
                      <a:pt x="1262" y="2111"/>
                    </a:lnTo>
                    <a:lnTo>
                      <a:pt x="1263" y="2117"/>
                    </a:lnTo>
                    <a:lnTo>
                      <a:pt x="1264" y="2123"/>
                    </a:lnTo>
                    <a:lnTo>
                      <a:pt x="1266" y="2129"/>
                    </a:lnTo>
                    <a:lnTo>
                      <a:pt x="1272" y="2139"/>
                    </a:lnTo>
                    <a:lnTo>
                      <a:pt x="1280" y="2150"/>
                    </a:lnTo>
                    <a:lnTo>
                      <a:pt x="1288" y="2158"/>
                    </a:lnTo>
                    <a:lnTo>
                      <a:pt x="1298" y="2166"/>
                    </a:lnTo>
                    <a:lnTo>
                      <a:pt x="1309" y="2172"/>
                    </a:lnTo>
                    <a:lnTo>
                      <a:pt x="1320" y="2181"/>
                    </a:lnTo>
                    <a:lnTo>
                      <a:pt x="1330" y="2187"/>
                    </a:lnTo>
                    <a:lnTo>
                      <a:pt x="1341" y="2195"/>
                    </a:lnTo>
                    <a:lnTo>
                      <a:pt x="1350" y="2202"/>
                    </a:lnTo>
                    <a:lnTo>
                      <a:pt x="1358" y="2211"/>
                    </a:lnTo>
                    <a:lnTo>
                      <a:pt x="1365" y="2221"/>
                    </a:lnTo>
                    <a:lnTo>
                      <a:pt x="1369" y="2231"/>
                    </a:lnTo>
                    <a:lnTo>
                      <a:pt x="1372" y="2237"/>
                    </a:lnTo>
                    <a:lnTo>
                      <a:pt x="1373" y="2244"/>
                    </a:lnTo>
                    <a:lnTo>
                      <a:pt x="1373" y="2249"/>
                    </a:lnTo>
                    <a:lnTo>
                      <a:pt x="1373" y="2257"/>
                    </a:lnTo>
                    <a:lnTo>
                      <a:pt x="1369" y="2260"/>
                    </a:lnTo>
                    <a:lnTo>
                      <a:pt x="1361" y="2269"/>
                    </a:lnTo>
                    <a:lnTo>
                      <a:pt x="1351" y="2281"/>
                    </a:lnTo>
                    <a:lnTo>
                      <a:pt x="1337" y="2296"/>
                    </a:lnTo>
                    <a:lnTo>
                      <a:pt x="1325" y="2311"/>
                    </a:lnTo>
                    <a:lnTo>
                      <a:pt x="1314" y="2324"/>
                    </a:lnTo>
                    <a:lnTo>
                      <a:pt x="1306" y="2335"/>
                    </a:lnTo>
                    <a:lnTo>
                      <a:pt x="1303" y="2340"/>
                    </a:lnTo>
                    <a:lnTo>
                      <a:pt x="1303" y="2389"/>
                    </a:lnTo>
                    <a:lnTo>
                      <a:pt x="1318" y="2386"/>
                    </a:lnTo>
                    <a:lnTo>
                      <a:pt x="1329" y="2384"/>
                    </a:lnTo>
                    <a:lnTo>
                      <a:pt x="1340" y="2380"/>
                    </a:lnTo>
                    <a:lnTo>
                      <a:pt x="1348" y="2375"/>
                    </a:lnTo>
                    <a:lnTo>
                      <a:pt x="1361" y="2367"/>
                    </a:lnTo>
                    <a:lnTo>
                      <a:pt x="1371" y="2359"/>
                    </a:lnTo>
                    <a:lnTo>
                      <a:pt x="1380" y="2353"/>
                    </a:lnTo>
                    <a:lnTo>
                      <a:pt x="1391" y="2346"/>
                    </a:lnTo>
                    <a:lnTo>
                      <a:pt x="1398" y="2343"/>
                    </a:lnTo>
                    <a:lnTo>
                      <a:pt x="1406" y="2342"/>
                    </a:lnTo>
                    <a:lnTo>
                      <a:pt x="1416" y="2341"/>
                    </a:lnTo>
                    <a:lnTo>
                      <a:pt x="1428" y="2340"/>
                    </a:lnTo>
                    <a:lnTo>
                      <a:pt x="1432" y="2371"/>
                    </a:lnTo>
                    <a:lnTo>
                      <a:pt x="1435" y="2404"/>
                    </a:lnTo>
                    <a:lnTo>
                      <a:pt x="1437" y="2439"/>
                    </a:lnTo>
                    <a:lnTo>
                      <a:pt x="1441" y="2471"/>
                    </a:lnTo>
                    <a:lnTo>
                      <a:pt x="1444" y="2486"/>
                    </a:lnTo>
                    <a:lnTo>
                      <a:pt x="1447" y="2498"/>
                    </a:lnTo>
                    <a:lnTo>
                      <a:pt x="1453" y="2511"/>
                    </a:lnTo>
                    <a:lnTo>
                      <a:pt x="1460" y="2521"/>
                    </a:lnTo>
                    <a:lnTo>
                      <a:pt x="1463" y="2526"/>
                    </a:lnTo>
                    <a:lnTo>
                      <a:pt x="1468" y="2530"/>
                    </a:lnTo>
                    <a:lnTo>
                      <a:pt x="1473" y="2534"/>
                    </a:lnTo>
                    <a:lnTo>
                      <a:pt x="1478" y="2537"/>
                    </a:lnTo>
                    <a:lnTo>
                      <a:pt x="1484" y="2539"/>
                    </a:lnTo>
                    <a:lnTo>
                      <a:pt x="1491" y="2541"/>
                    </a:lnTo>
                    <a:lnTo>
                      <a:pt x="1498" y="2542"/>
                    </a:lnTo>
                    <a:lnTo>
                      <a:pt x="1505" y="2543"/>
                    </a:lnTo>
                    <a:lnTo>
                      <a:pt x="1515" y="2542"/>
                    </a:lnTo>
                    <a:lnTo>
                      <a:pt x="1524" y="2542"/>
                    </a:lnTo>
                    <a:lnTo>
                      <a:pt x="1533" y="2539"/>
                    </a:lnTo>
                    <a:lnTo>
                      <a:pt x="1543" y="2538"/>
                    </a:lnTo>
                    <a:lnTo>
                      <a:pt x="1557" y="2533"/>
                    </a:lnTo>
                    <a:lnTo>
                      <a:pt x="1571" y="2527"/>
                    </a:lnTo>
                    <a:lnTo>
                      <a:pt x="1583" y="2519"/>
                    </a:lnTo>
                    <a:lnTo>
                      <a:pt x="1593" y="2509"/>
                    </a:lnTo>
                    <a:lnTo>
                      <a:pt x="1603" y="2498"/>
                    </a:lnTo>
                    <a:lnTo>
                      <a:pt x="1611" y="2488"/>
                    </a:lnTo>
                    <a:lnTo>
                      <a:pt x="1625" y="2464"/>
                    </a:lnTo>
                    <a:lnTo>
                      <a:pt x="1638" y="2440"/>
                    </a:lnTo>
                    <a:lnTo>
                      <a:pt x="1645" y="2428"/>
                    </a:lnTo>
                    <a:lnTo>
                      <a:pt x="1650" y="2417"/>
                    </a:lnTo>
                    <a:lnTo>
                      <a:pt x="1657" y="2405"/>
                    </a:lnTo>
                    <a:lnTo>
                      <a:pt x="1665" y="2396"/>
                    </a:lnTo>
                    <a:lnTo>
                      <a:pt x="1677" y="2409"/>
                    </a:lnTo>
                    <a:lnTo>
                      <a:pt x="1686" y="2423"/>
                    </a:lnTo>
                    <a:lnTo>
                      <a:pt x="1692" y="2436"/>
                    </a:lnTo>
                    <a:lnTo>
                      <a:pt x="1696" y="2450"/>
                    </a:lnTo>
                    <a:lnTo>
                      <a:pt x="1700" y="2464"/>
                    </a:lnTo>
                    <a:lnTo>
                      <a:pt x="1701" y="2479"/>
                    </a:lnTo>
                    <a:lnTo>
                      <a:pt x="1702" y="2492"/>
                    </a:lnTo>
                    <a:lnTo>
                      <a:pt x="1702" y="2507"/>
                    </a:lnTo>
                    <a:lnTo>
                      <a:pt x="1702" y="2538"/>
                    </a:lnTo>
                    <a:lnTo>
                      <a:pt x="1704" y="2570"/>
                    </a:lnTo>
                    <a:lnTo>
                      <a:pt x="1708" y="2588"/>
                    </a:lnTo>
                    <a:lnTo>
                      <a:pt x="1712" y="2605"/>
                    </a:lnTo>
                    <a:lnTo>
                      <a:pt x="1719" y="2622"/>
                    </a:lnTo>
                    <a:lnTo>
                      <a:pt x="1728" y="2640"/>
                    </a:lnTo>
                    <a:lnTo>
                      <a:pt x="1739" y="2654"/>
                    </a:lnTo>
                    <a:lnTo>
                      <a:pt x="1749" y="2666"/>
                    </a:lnTo>
                    <a:lnTo>
                      <a:pt x="1759" y="2676"/>
                    </a:lnTo>
                    <a:lnTo>
                      <a:pt x="1768" y="2684"/>
                    </a:lnTo>
                    <a:lnTo>
                      <a:pt x="1776" y="2693"/>
                    </a:lnTo>
                    <a:lnTo>
                      <a:pt x="1782" y="2701"/>
                    </a:lnTo>
                    <a:lnTo>
                      <a:pt x="1783" y="2707"/>
                    </a:lnTo>
                    <a:lnTo>
                      <a:pt x="1784" y="2712"/>
                    </a:lnTo>
                    <a:lnTo>
                      <a:pt x="1784" y="2717"/>
                    </a:lnTo>
                    <a:lnTo>
                      <a:pt x="1783" y="2723"/>
                    </a:lnTo>
                    <a:lnTo>
                      <a:pt x="1782" y="2731"/>
                    </a:lnTo>
                    <a:lnTo>
                      <a:pt x="1780" y="2738"/>
                    </a:lnTo>
                    <a:lnTo>
                      <a:pt x="1776" y="2745"/>
                    </a:lnTo>
                    <a:lnTo>
                      <a:pt x="1772" y="2752"/>
                    </a:lnTo>
                    <a:lnTo>
                      <a:pt x="1759" y="2765"/>
                    </a:lnTo>
                    <a:lnTo>
                      <a:pt x="1745" y="2778"/>
                    </a:lnTo>
                    <a:lnTo>
                      <a:pt x="1737" y="2785"/>
                    </a:lnTo>
                    <a:lnTo>
                      <a:pt x="1731" y="2793"/>
                    </a:lnTo>
                    <a:lnTo>
                      <a:pt x="1725" y="2801"/>
                    </a:lnTo>
                    <a:lnTo>
                      <a:pt x="1719" y="2809"/>
                    </a:lnTo>
                    <a:lnTo>
                      <a:pt x="1713" y="2818"/>
                    </a:lnTo>
                    <a:lnTo>
                      <a:pt x="1710" y="2827"/>
                    </a:lnTo>
                    <a:lnTo>
                      <a:pt x="1708" y="2838"/>
                    </a:lnTo>
                    <a:lnTo>
                      <a:pt x="1707" y="2849"/>
                    </a:lnTo>
                    <a:lnTo>
                      <a:pt x="1708" y="2863"/>
                    </a:lnTo>
                    <a:lnTo>
                      <a:pt x="1710" y="2874"/>
                    </a:lnTo>
                    <a:lnTo>
                      <a:pt x="1713" y="2884"/>
                    </a:lnTo>
                    <a:lnTo>
                      <a:pt x="1719" y="2890"/>
                    </a:lnTo>
                    <a:lnTo>
                      <a:pt x="1725" y="2896"/>
                    </a:lnTo>
                    <a:lnTo>
                      <a:pt x="1731" y="2901"/>
                    </a:lnTo>
                    <a:lnTo>
                      <a:pt x="1737" y="2903"/>
                    </a:lnTo>
                    <a:lnTo>
                      <a:pt x="1745" y="2906"/>
                    </a:lnTo>
                    <a:lnTo>
                      <a:pt x="1752" y="2909"/>
                    </a:lnTo>
                    <a:lnTo>
                      <a:pt x="1759" y="2912"/>
                    </a:lnTo>
                    <a:lnTo>
                      <a:pt x="1766" y="2916"/>
                    </a:lnTo>
                    <a:lnTo>
                      <a:pt x="1772" y="2919"/>
                    </a:lnTo>
                    <a:lnTo>
                      <a:pt x="1776" y="2925"/>
                    </a:lnTo>
                    <a:lnTo>
                      <a:pt x="1780" y="2932"/>
                    </a:lnTo>
                    <a:lnTo>
                      <a:pt x="1782" y="2942"/>
                    </a:lnTo>
                    <a:lnTo>
                      <a:pt x="1783" y="2954"/>
                    </a:lnTo>
                    <a:lnTo>
                      <a:pt x="1783" y="2963"/>
                    </a:lnTo>
                    <a:lnTo>
                      <a:pt x="1781" y="2972"/>
                    </a:lnTo>
                    <a:lnTo>
                      <a:pt x="1778" y="2980"/>
                    </a:lnTo>
                    <a:lnTo>
                      <a:pt x="1774" y="2987"/>
                    </a:lnTo>
                    <a:lnTo>
                      <a:pt x="1768" y="2994"/>
                    </a:lnTo>
                    <a:lnTo>
                      <a:pt x="1764" y="2999"/>
                    </a:lnTo>
                    <a:lnTo>
                      <a:pt x="1758" y="3005"/>
                    </a:lnTo>
                    <a:lnTo>
                      <a:pt x="1752" y="3010"/>
                    </a:lnTo>
                    <a:lnTo>
                      <a:pt x="1741" y="3019"/>
                    </a:lnTo>
                    <a:lnTo>
                      <a:pt x="1731" y="3029"/>
                    </a:lnTo>
                    <a:lnTo>
                      <a:pt x="1726" y="3034"/>
                    </a:lnTo>
                    <a:lnTo>
                      <a:pt x="1724" y="3038"/>
                    </a:lnTo>
                    <a:lnTo>
                      <a:pt x="1721" y="3044"/>
                    </a:lnTo>
                    <a:lnTo>
                      <a:pt x="1720" y="3051"/>
                    </a:lnTo>
                    <a:lnTo>
                      <a:pt x="1721" y="3058"/>
                    </a:lnTo>
                    <a:lnTo>
                      <a:pt x="1723" y="3066"/>
                    </a:lnTo>
                    <a:lnTo>
                      <a:pt x="1724" y="3075"/>
                    </a:lnTo>
                    <a:lnTo>
                      <a:pt x="1726" y="3084"/>
                    </a:lnTo>
                    <a:lnTo>
                      <a:pt x="1733" y="3103"/>
                    </a:lnTo>
                    <a:lnTo>
                      <a:pt x="1742" y="3123"/>
                    </a:lnTo>
                    <a:lnTo>
                      <a:pt x="1754" y="3145"/>
                    </a:lnTo>
                    <a:lnTo>
                      <a:pt x="1766" y="3166"/>
                    </a:lnTo>
                    <a:lnTo>
                      <a:pt x="1781" y="3187"/>
                    </a:lnTo>
                    <a:lnTo>
                      <a:pt x="1797" y="3208"/>
                    </a:lnTo>
                    <a:lnTo>
                      <a:pt x="1814" y="3229"/>
                    </a:lnTo>
                    <a:lnTo>
                      <a:pt x="1831" y="3247"/>
                    </a:lnTo>
                    <a:lnTo>
                      <a:pt x="1851" y="3264"/>
                    </a:lnTo>
                    <a:lnTo>
                      <a:pt x="1870" y="3279"/>
                    </a:lnTo>
                    <a:lnTo>
                      <a:pt x="1881" y="3286"/>
                    </a:lnTo>
                    <a:lnTo>
                      <a:pt x="1891" y="3292"/>
                    </a:lnTo>
                    <a:lnTo>
                      <a:pt x="1900" y="3296"/>
                    </a:lnTo>
                    <a:lnTo>
                      <a:pt x="1911" y="3301"/>
                    </a:lnTo>
                    <a:lnTo>
                      <a:pt x="1921" y="3304"/>
                    </a:lnTo>
                    <a:lnTo>
                      <a:pt x="1931" y="3307"/>
                    </a:lnTo>
                    <a:lnTo>
                      <a:pt x="1940" y="3308"/>
                    </a:lnTo>
                    <a:lnTo>
                      <a:pt x="1951" y="3309"/>
                    </a:lnTo>
                    <a:lnTo>
                      <a:pt x="1948" y="3318"/>
                    </a:lnTo>
                    <a:lnTo>
                      <a:pt x="1946" y="3327"/>
                    </a:lnTo>
                    <a:lnTo>
                      <a:pt x="1945" y="3335"/>
                    </a:lnTo>
                    <a:lnTo>
                      <a:pt x="1945" y="3342"/>
                    </a:lnTo>
                    <a:lnTo>
                      <a:pt x="1944" y="3349"/>
                    </a:lnTo>
                    <a:lnTo>
                      <a:pt x="1944" y="3356"/>
                    </a:lnTo>
                    <a:lnTo>
                      <a:pt x="1944" y="3364"/>
                    </a:lnTo>
                    <a:lnTo>
                      <a:pt x="1944" y="3371"/>
                    </a:lnTo>
                    <a:lnTo>
                      <a:pt x="1943" y="3378"/>
                    </a:lnTo>
                    <a:lnTo>
                      <a:pt x="1942" y="3384"/>
                    </a:lnTo>
                    <a:lnTo>
                      <a:pt x="1940" y="3389"/>
                    </a:lnTo>
                    <a:lnTo>
                      <a:pt x="1938" y="3394"/>
                    </a:lnTo>
                    <a:lnTo>
                      <a:pt x="1932" y="3404"/>
                    </a:lnTo>
                    <a:lnTo>
                      <a:pt x="1927" y="3413"/>
                    </a:lnTo>
                    <a:lnTo>
                      <a:pt x="1920" y="3423"/>
                    </a:lnTo>
                    <a:lnTo>
                      <a:pt x="1914" y="3432"/>
                    </a:lnTo>
                    <a:lnTo>
                      <a:pt x="1912" y="3437"/>
                    </a:lnTo>
                    <a:lnTo>
                      <a:pt x="1911" y="3442"/>
                    </a:lnTo>
                    <a:lnTo>
                      <a:pt x="1909" y="3449"/>
                    </a:lnTo>
                    <a:lnTo>
                      <a:pt x="1908" y="3455"/>
                    </a:lnTo>
                    <a:lnTo>
                      <a:pt x="1908" y="3465"/>
                    </a:lnTo>
                    <a:lnTo>
                      <a:pt x="1909" y="3475"/>
                    </a:lnTo>
                    <a:lnTo>
                      <a:pt x="1909" y="3485"/>
                    </a:lnTo>
                    <a:lnTo>
                      <a:pt x="1912" y="3493"/>
                    </a:lnTo>
                    <a:lnTo>
                      <a:pt x="1914" y="3501"/>
                    </a:lnTo>
                    <a:lnTo>
                      <a:pt x="1917" y="3509"/>
                    </a:lnTo>
                    <a:lnTo>
                      <a:pt x="1921" y="3514"/>
                    </a:lnTo>
                    <a:lnTo>
                      <a:pt x="1924" y="3521"/>
                    </a:lnTo>
                    <a:lnTo>
                      <a:pt x="1929" y="3526"/>
                    </a:lnTo>
                    <a:lnTo>
                      <a:pt x="1934" y="3532"/>
                    </a:lnTo>
                    <a:lnTo>
                      <a:pt x="1939" y="3536"/>
                    </a:lnTo>
                    <a:lnTo>
                      <a:pt x="1945" y="3541"/>
                    </a:lnTo>
                    <a:lnTo>
                      <a:pt x="1958" y="3548"/>
                    </a:lnTo>
                    <a:lnTo>
                      <a:pt x="1971" y="3554"/>
                    </a:lnTo>
                    <a:lnTo>
                      <a:pt x="2002" y="3565"/>
                    </a:lnTo>
                    <a:lnTo>
                      <a:pt x="2034" y="3574"/>
                    </a:lnTo>
                    <a:lnTo>
                      <a:pt x="2050" y="3580"/>
                    </a:lnTo>
                    <a:lnTo>
                      <a:pt x="2067" y="3585"/>
                    </a:lnTo>
                    <a:lnTo>
                      <a:pt x="2081" y="3592"/>
                    </a:lnTo>
                    <a:lnTo>
                      <a:pt x="2096" y="3601"/>
                    </a:lnTo>
                    <a:lnTo>
                      <a:pt x="2106" y="3607"/>
                    </a:lnTo>
                    <a:lnTo>
                      <a:pt x="2115" y="3614"/>
                    </a:lnTo>
                    <a:lnTo>
                      <a:pt x="2123" y="3621"/>
                    </a:lnTo>
                    <a:lnTo>
                      <a:pt x="2130" y="3628"/>
                    </a:lnTo>
                    <a:lnTo>
                      <a:pt x="2143" y="3644"/>
                    </a:lnTo>
                    <a:lnTo>
                      <a:pt x="2156" y="3661"/>
                    </a:lnTo>
                    <a:lnTo>
                      <a:pt x="2167" y="3679"/>
                    </a:lnTo>
                    <a:lnTo>
                      <a:pt x="2177" y="3699"/>
                    </a:lnTo>
                    <a:lnTo>
                      <a:pt x="2185" y="3720"/>
                    </a:lnTo>
                    <a:lnTo>
                      <a:pt x="2191" y="3741"/>
                    </a:lnTo>
                    <a:lnTo>
                      <a:pt x="2197" y="3763"/>
                    </a:lnTo>
                    <a:lnTo>
                      <a:pt x="2202" y="3786"/>
                    </a:lnTo>
                    <a:lnTo>
                      <a:pt x="2205" y="3809"/>
                    </a:lnTo>
                    <a:lnTo>
                      <a:pt x="2208" y="3833"/>
                    </a:lnTo>
                    <a:lnTo>
                      <a:pt x="2209" y="3857"/>
                    </a:lnTo>
                    <a:lnTo>
                      <a:pt x="2210" y="3881"/>
                    </a:lnTo>
                    <a:lnTo>
                      <a:pt x="2209" y="3904"/>
                    </a:lnTo>
                    <a:lnTo>
                      <a:pt x="2209" y="3928"/>
                    </a:lnTo>
                    <a:lnTo>
                      <a:pt x="2209" y="3941"/>
                    </a:lnTo>
                    <a:lnTo>
                      <a:pt x="2210" y="3952"/>
                    </a:lnTo>
                    <a:lnTo>
                      <a:pt x="2212" y="3964"/>
                    </a:lnTo>
                    <a:lnTo>
                      <a:pt x="2216" y="3974"/>
                    </a:lnTo>
                    <a:lnTo>
                      <a:pt x="2224" y="3994"/>
                    </a:lnTo>
                    <a:lnTo>
                      <a:pt x="2233" y="4011"/>
                    </a:lnTo>
                    <a:lnTo>
                      <a:pt x="2242" y="4029"/>
                    </a:lnTo>
                    <a:lnTo>
                      <a:pt x="2249" y="4046"/>
                    </a:lnTo>
                    <a:lnTo>
                      <a:pt x="2252" y="4057"/>
                    </a:lnTo>
                    <a:lnTo>
                      <a:pt x="2255" y="4067"/>
                    </a:lnTo>
                    <a:lnTo>
                      <a:pt x="2257" y="4077"/>
                    </a:lnTo>
                    <a:lnTo>
                      <a:pt x="2257" y="4089"/>
                    </a:lnTo>
                    <a:lnTo>
                      <a:pt x="2257" y="4096"/>
                    </a:lnTo>
                    <a:lnTo>
                      <a:pt x="2255" y="4104"/>
                    </a:lnTo>
                    <a:lnTo>
                      <a:pt x="2252" y="4111"/>
                    </a:lnTo>
                    <a:lnTo>
                      <a:pt x="2248" y="4119"/>
                    </a:lnTo>
                    <a:lnTo>
                      <a:pt x="2238" y="4132"/>
                    </a:lnTo>
                    <a:lnTo>
                      <a:pt x="2228" y="4147"/>
                    </a:lnTo>
                    <a:lnTo>
                      <a:pt x="2217" y="4165"/>
                    </a:lnTo>
                    <a:lnTo>
                      <a:pt x="2208" y="4183"/>
                    </a:lnTo>
                    <a:lnTo>
                      <a:pt x="2203" y="4193"/>
                    </a:lnTo>
                    <a:lnTo>
                      <a:pt x="2198" y="4204"/>
                    </a:lnTo>
                    <a:lnTo>
                      <a:pt x="2196" y="4215"/>
                    </a:lnTo>
                    <a:lnTo>
                      <a:pt x="2194" y="4228"/>
                    </a:lnTo>
                    <a:lnTo>
                      <a:pt x="2195" y="4238"/>
                    </a:lnTo>
                    <a:lnTo>
                      <a:pt x="2196" y="4247"/>
                    </a:lnTo>
                    <a:lnTo>
                      <a:pt x="2197" y="4255"/>
                    </a:lnTo>
                    <a:lnTo>
                      <a:pt x="2201" y="4263"/>
                    </a:lnTo>
                    <a:lnTo>
                      <a:pt x="2204" y="4270"/>
                    </a:lnTo>
                    <a:lnTo>
                      <a:pt x="2208" y="4277"/>
                    </a:lnTo>
                    <a:lnTo>
                      <a:pt x="2212" y="4283"/>
                    </a:lnTo>
                    <a:lnTo>
                      <a:pt x="2217" y="4287"/>
                    </a:lnTo>
                    <a:lnTo>
                      <a:pt x="2222" y="4292"/>
                    </a:lnTo>
                    <a:lnTo>
                      <a:pt x="2228" y="4295"/>
                    </a:lnTo>
                    <a:lnTo>
                      <a:pt x="2235" y="4298"/>
                    </a:lnTo>
                    <a:lnTo>
                      <a:pt x="2241" y="4300"/>
                    </a:lnTo>
                    <a:lnTo>
                      <a:pt x="2256" y="4303"/>
                    </a:lnTo>
                    <a:lnTo>
                      <a:pt x="2271" y="4305"/>
                    </a:lnTo>
                    <a:lnTo>
                      <a:pt x="2273" y="4314"/>
                    </a:lnTo>
                    <a:lnTo>
                      <a:pt x="2274" y="4322"/>
                    </a:lnTo>
                    <a:lnTo>
                      <a:pt x="2274" y="4329"/>
                    </a:lnTo>
                    <a:lnTo>
                      <a:pt x="2274" y="4334"/>
                    </a:lnTo>
                    <a:lnTo>
                      <a:pt x="2273" y="4339"/>
                    </a:lnTo>
                    <a:lnTo>
                      <a:pt x="2272" y="4344"/>
                    </a:lnTo>
                    <a:lnTo>
                      <a:pt x="2271" y="4348"/>
                    </a:lnTo>
                    <a:lnTo>
                      <a:pt x="2271" y="4353"/>
                    </a:lnTo>
                    <a:lnTo>
                      <a:pt x="2269" y="4364"/>
                    </a:lnTo>
                    <a:lnTo>
                      <a:pt x="2267" y="4377"/>
                    </a:lnTo>
                    <a:lnTo>
                      <a:pt x="2263" y="4389"/>
                    </a:lnTo>
                    <a:lnTo>
                      <a:pt x="2257" y="4402"/>
                    </a:lnTo>
                    <a:lnTo>
                      <a:pt x="2250" y="4413"/>
                    </a:lnTo>
                    <a:lnTo>
                      <a:pt x="2242" y="4422"/>
                    </a:lnTo>
                    <a:lnTo>
                      <a:pt x="2237" y="4425"/>
                    </a:lnTo>
                    <a:lnTo>
                      <a:pt x="2233" y="4427"/>
                    </a:lnTo>
                    <a:lnTo>
                      <a:pt x="2227" y="4430"/>
                    </a:lnTo>
                    <a:lnTo>
                      <a:pt x="2222" y="4430"/>
                    </a:lnTo>
                    <a:lnTo>
                      <a:pt x="2216" y="4430"/>
                    </a:lnTo>
                    <a:lnTo>
                      <a:pt x="2211" y="4426"/>
                    </a:lnTo>
                    <a:lnTo>
                      <a:pt x="2206" y="4423"/>
                    </a:lnTo>
                    <a:lnTo>
                      <a:pt x="2202" y="4418"/>
                    </a:lnTo>
                    <a:lnTo>
                      <a:pt x="2198" y="4412"/>
                    </a:lnTo>
                    <a:lnTo>
                      <a:pt x="2196" y="4405"/>
                    </a:lnTo>
                    <a:lnTo>
                      <a:pt x="2194" y="4399"/>
                    </a:lnTo>
                    <a:lnTo>
                      <a:pt x="2191" y="4392"/>
                    </a:lnTo>
                    <a:lnTo>
                      <a:pt x="2189" y="4378"/>
                    </a:lnTo>
                    <a:lnTo>
                      <a:pt x="2188" y="4365"/>
                    </a:lnTo>
                    <a:lnTo>
                      <a:pt x="2187" y="4356"/>
                    </a:lnTo>
                    <a:lnTo>
                      <a:pt x="2187" y="4353"/>
                    </a:lnTo>
                    <a:lnTo>
                      <a:pt x="2175" y="4368"/>
                    </a:lnTo>
                    <a:lnTo>
                      <a:pt x="2165" y="4383"/>
                    </a:lnTo>
                    <a:lnTo>
                      <a:pt x="2156" y="4397"/>
                    </a:lnTo>
                    <a:lnTo>
                      <a:pt x="2147" y="4411"/>
                    </a:lnTo>
                    <a:lnTo>
                      <a:pt x="2142" y="4418"/>
                    </a:lnTo>
                    <a:lnTo>
                      <a:pt x="2138" y="4424"/>
                    </a:lnTo>
                    <a:lnTo>
                      <a:pt x="2132" y="4430"/>
                    </a:lnTo>
                    <a:lnTo>
                      <a:pt x="2126" y="4434"/>
                    </a:lnTo>
                    <a:lnTo>
                      <a:pt x="2120" y="4439"/>
                    </a:lnTo>
                    <a:lnTo>
                      <a:pt x="2114" y="4441"/>
                    </a:lnTo>
                    <a:lnTo>
                      <a:pt x="2106" y="4443"/>
                    </a:lnTo>
                    <a:lnTo>
                      <a:pt x="2096" y="4443"/>
                    </a:lnTo>
                    <a:lnTo>
                      <a:pt x="2092" y="4443"/>
                    </a:lnTo>
                    <a:lnTo>
                      <a:pt x="2087" y="4441"/>
                    </a:lnTo>
                    <a:lnTo>
                      <a:pt x="2083" y="4439"/>
                    </a:lnTo>
                    <a:lnTo>
                      <a:pt x="2078" y="4435"/>
                    </a:lnTo>
                    <a:lnTo>
                      <a:pt x="2069" y="4426"/>
                    </a:lnTo>
                    <a:lnTo>
                      <a:pt x="2061" y="4416"/>
                    </a:lnTo>
                    <a:lnTo>
                      <a:pt x="2050" y="4405"/>
                    </a:lnTo>
                    <a:lnTo>
                      <a:pt x="2040" y="4396"/>
                    </a:lnTo>
                    <a:lnTo>
                      <a:pt x="2034" y="4393"/>
                    </a:lnTo>
                    <a:lnTo>
                      <a:pt x="2028" y="4391"/>
                    </a:lnTo>
                    <a:lnTo>
                      <a:pt x="2021" y="4388"/>
                    </a:lnTo>
                    <a:lnTo>
                      <a:pt x="2014" y="4388"/>
                    </a:lnTo>
                    <a:lnTo>
                      <a:pt x="1999" y="4388"/>
                    </a:lnTo>
                    <a:lnTo>
                      <a:pt x="1986" y="4391"/>
                    </a:lnTo>
                    <a:lnTo>
                      <a:pt x="1975" y="4394"/>
                    </a:lnTo>
                    <a:lnTo>
                      <a:pt x="1966" y="4400"/>
                    </a:lnTo>
                    <a:lnTo>
                      <a:pt x="1961" y="4402"/>
                    </a:lnTo>
                    <a:lnTo>
                      <a:pt x="1958" y="4407"/>
                    </a:lnTo>
                    <a:lnTo>
                      <a:pt x="1954" y="4410"/>
                    </a:lnTo>
                    <a:lnTo>
                      <a:pt x="1952" y="4415"/>
                    </a:lnTo>
                    <a:lnTo>
                      <a:pt x="1947" y="4425"/>
                    </a:lnTo>
                    <a:lnTo>
                      <a:pt x="1944" y="4436"/>
                    </a:lnTo>
                    <a:lnTo>
                      <a:pt x="1945" y="4447"/>
                    </a:lnTo>
                    <a:lnTo>
                      <a:pt x="1947" y="4456"/>
                    </a:lnTo>
                    <a:lnTo>
                      <a:pt x="1952" y="4465"/>
                    </a:lnTo>
                    <a:lnTo>
                      <a:pt x="1956" y="4473"/>
                    </a:lnTo>
                    <a:lnTo>
                      <a:pt x="1970" y="4488"/>
                    </a:lnTo>
                    <a:lnTo>
                      <a:pt x="1985" y="4503"/>
                    </a:lnTo>
                    <a:lnTo>
                      <a:pt x="2001" y="4518"/>
                    </a:lnTo>
                    <a:lnTo>
                      <a:pt x="2014" y="4533"/>
                    </a:lnTo>
                    <a:lnTo>
                      <a:pt x="2020" y="4541"/>
                    </a:lnTo>
                    <a:lnTo>
                      <a:pt x="2024" y="4550"/>
                    </a:lnTo>
                    <a:lnTo>
                      <a:pt x="2026" y="4559"/>
                    </a:lnTo>
                    <a:lnTo>
                      <a:pt x="2028" y="4569"/>
                    </a:lnTo>
                    <a:lnTo>
                      <a:pt x="2026" y="4589"/>
                    </a:lnTo>
                    <a:lnTo>
                      <a:pt x="2025" y="4608"/>
                    </a:lnTo>
                    <a:lnTo>
                      <a:pt x="2023" y="4627"/>
                    </a:lnTo>
                    <a:lnTo>
                      <a:pt x="2020" y="4644"/>
                    </a:lnTo>
                    <a:lnTo>
                      <a:pt x="2016" y="4661"/>
                    </a:lnTo>
                    <a:lnTo>
                      <a:pt x="2011" y="4677"/>
                    </a:lnTo>
                    <a:lnTo>
                      <a:pt x="2006" y="4693"/>
                    </a:lnTo>
                    <a:lnTo>
                      <a:pt x="1999" y="4708"/>
                    </a:lnTo>
                    <a:lnTo>
                      <a:pt x="1992" y="4722"/>
                    </a:lnTo>
                    <a:lnTo>
                      <a:pt x="1985" y="4736"/>
                    </a:lnTo>
                    <a:lnTo>
                      <a:pt x="1977" y="4750"/>
                    </a:lnTo>
                    <a:lnTo>
                      <a:pt x="1968" y="4762"/>
                    </a:lnTo>
                    <a:lnTo>
                      <a:pt x="1960" y="4774"/>
                    </a:lnTo>
                    <a:lnTo>
                      <a:pt x="1950" y="4785"/>
                    </a:lnTo>
                    <a:lnTo>
                      <a:pt x="1940" y="4797"/>
                    </a:lnTo>
                    <a:lnTo>
                      <a:pt x="1930" y="4807"/>
                    </a:lnTo>
                    <a:lnTo>
                      <a:pt x="1908" y="4826"/>
                    </a:lnTo>
                    <a:lnTo>
                      <a:pt x="1885" y="4845"/>
                    </a:lnTo>
                    <a:lnTo>
                      <a:pt x="1862" y="4861"/>
                    </a:lnTo>
                    <a:lnTo>
                      <a:pt x="1840" y="4876"/>
                    </a:lnTo>
                    <a:lnTo>
                      <a:pt x="1792" y="4902"/>
                    </a:lnTo>
                    <a:lnTo>
                      <a:pt x="1749" y="4924"/>
                    </a:lnTo>
                    <a:lnTo>
                      <a:pt x="1744" y="4916"/>
                    </a:lnTo>
                    <a:lnTo>
                      <a:pt x="1740" y="4907"/>
                    </a:lnTo>
                    <a:lnTo>
                      <a:pt x="1737" y="4897"/>
                    </a:lnTo>
                    <a:lnTo>
                      <a:pt x="1734" y="4888"/>
                    </a:lnTo>
                    <a:lnTo>
                      <a:pt x="1731" y="4880"/>
                    </a:lnTo>
                    <a:lnTo>
                      <a:pt x="1726" y="4875"/>
                    </a:lnTo>
                    <a:lnTo>
                      <a:pt x="1724" y="4872"/>
                    </a:lnTo>
                    <a:lnTo>
                      <a:pt x="1720" y="4870"/>
                    </a:lnTo>
                    <a:lnTo>
                      <a:pt x="1718" y="4869"/>
                    </a:lnTo>
                    <a:lnTo>
                      <a:pt x="1713" y="4869"/>
                    </a:lnTo>
                    <a:lnTo>
                      <a:pt x="1705" y="4869"/>
                    </a:lnTo>
                    <a:lnTo>
                      <a:pt x="1697" y="4871"/>
                    </a:lnTo>
                    <a:lnTo>
                      <a:pt x="1689" y="4873"/>
                    </a:lnTo>
                    <a:lnTo>
                      <a:pt x="1681" y="4877"/>
                    </a:lnTo>
                    <a:lnTo>
                      <a:pt x="1672" y="4881"/>
                    </a:lnTo>
                    <a:lnTo>
                      <a:pt x="1663" y="4886"/>
                    </a:lnTo>
                    <a:lnTo>
                      <a:pt x="1655" y="4892"/>
                    </a:lnTo>
                    <a:lnTo>
                      <a:pt x="1646" y="4899"/>
                    </a:lnTo>
                    <a:lnTo>
                      <a:pt x="1629" y="4914"/>
                    </a:lnTo>
                    <a:lnTo>
                      <a:pt x="1611" y="4931"/>
                    </a:lnTo>
                    <a:lnTo>
                      <a:pt x="1594" y="4950"/>
                    </a:lnTo>
                    <a:lnTo>
                      <a:pt x="1578" y="4971"/>
                    </a:lnTo>
                    <a:lnTo>
                      <a:pt x="1563" y="4993"/>
                    </a:lnTo>
                    <a:lnTo>
                      <a:pt x="1549" y="5014"/>
                    </a:lnTo>
                    <a:lnTo>
                      <a:pt x="1537" y="5037"/>
                    </a:lnTo>
                    <a:lnTo>
                      <a:pt x="1525" y="5059"/>
                    </a:lnTo>
                    <a:lnTo>
                      <a:pt x="1517" y="5082"/>
                    </a:lnTo>
                    <a:lnTo>
                      <a:pt x="1510" y="5103"/>
                    </a:lnTo>
                    <a:lnTo>
                      <a:pt x="1508" y="5113"/>
                    </a:lnTo>
                    <a:lnTo>
                      <a:pt x="1506" y="5122"/>
                    </a:lnTo>
                    <a:lnTo>
                      <a:pt x="1506" y="5131"/>
                    </a:lnTo>
                    <a:lnTo>
                      <a:pt x="1505" y="5141"/>
                    </a:lnTo>
                    <a:lnTo>
                      <a:pt x="1506" y="5147"/>
                    </a:lnTo>
                    <a:lnTo>
                      <a:pt x="1509" y="5157"/>
                    </a:lnTo>
                    <a:lnTo>
                      <a:pt x="1514" y="5166"/>
                    </a:lnTo>
                    <a:lnTo>
                      <a:pt x="1520" y="5177"/>
                    </a:lnTo>
                    <a:lnTo>
                      <a:pt x="1535" y="5201"/>
                    </a:lnTo>
                    <a:lnTo>
                      <a:pt x="1552" y="5228"/>
                    </a:lnTo>
                    <a:lnTo>
                      <a:pt x="1570" y="5255"/>
                    </a:lnTo>
                    <a:lnTo>
                      <a:pt x="1587" y="5281"/>
                    </a:lnTo>
                    <a:lnTo>
                      <a:pt x="1594" y="5292"/>
                    </a:lnTo>
                    <a:lnTo>
                      <a:pt x="1601" y="5303"/>
                    </a:lnTo>
                    <a:lnTo>
                      <a:pt x="1606" y="5313"/>
                    </a:lnTo>
                    <a:lnTo>
                      <a:pt x="1609" y="5322"/>
                    </a:lnTo>
                    <a:lnTo>
                      <a:pt x="1626" y="5383"/>
                    </a:lnTo>
                    <a:lnTo>
                      <a:pt x="1645" y="5446"/>
                    </a:lnTo>
                    <a:lnTo>
                      <a:pt x="1663" y="5511"/>
                    </a:lnTo>
                    <a:lnTo>
                      <a:pt x="1681" y="5576"/>
                    </a:lnTo>
                    <a:lnTo>
                      <a:pt x="1689" y="5610"/>
                    </a:lnTo>
                    <a:lnTo>
                      <a:pt x="1696" y="5643"/>
                    </a:lnTo>
                    <a:lnTo>
                      <a:pt x="1703" y="5675"/>
                    </a:lnTo>
                    <a:lnTo>
                      <a:pt x="1709" y="5708"/>
                    </a:lnTo>
                    <a:lnTo>
                      <a:pt x="1715" y="5740"/>
                    </a:lnTo>
                    <a:lnTo>
                      <a:pt x="1718" y="5774"/>
                    </a:lnTo>
                    <a:lnTo>
                      <a:pt x="1720" y="5805"/>
                    </a:lnTo>
                    <a:lnTo>
                      <a:pt x="1720" y="5837"/>
                    </a:lnTo>
                    <a:lnTo>
                      <a:pt x="1720" y="5860"/>
                    </a:lnTo>
                    <a:lnTo>
                      <a:pt x="1718" y="5880"/>
                    </a:lnTo>
                    <a:lnTo>
                      <a:pt x="1713" y="5901"/>
                    </a:lnTo>
                    <a:lnTo>
                      <a:pt x="1709" y="5919"/>
                    </a:lnTo>
                    <a:lnTo>
                      <a:pt x="1703" y="5937"/>
                    </a:lnTo>
                    <a:lnTo>
                      <a:pt x="1696" y="5954"/>
                    </a:lnTo>
                    <a:lnTo>
                      <a:pt x="1689" y="5969"/>
                    </a:lnTo>
                    <a:lnTo>
                      <a:pt x="1681" y="5984"/>
                    </a:lnTo>
                    <a:lnTo>
                      <a:pt x="1666" y="6012"/>
                    </a:lnTo>
                    <a:lnTo>
                      <a:pt x="1654" y="6040"/>
                    </a:lnTo>
                    <a:lnTo>
                      <a:pt x="1648" y="6054"/>
                    </a:lnTo>
                    <a:lnTo>
                      <a:pt x="1642" y="6066"/>
                    </a:lnTo>
                    <a:lnTo>
                      <a:pt x="1639" y="6080"/>
                    </a:lnTo>
                    <a:lnTo>
                      <a:pt x="1638" y="6095"/>
                    </a:lnTo>
                    <a:lnTo>
                      <a:pt x="1638" y="6101"/>
                    </a:lnTo>
                    <a:lnTo>
                      <a:pt x="1639" y="6107"/>
                    </a:lnTo>
                    <a:lnTo>
                      <a:pt x="1641" y="6113"/>
                    </a:lnTo>
                    <a:lnTo>
                      <a:pt x="1645" y="6119"/>
                    </a:lnTo>
                    <a:lnTo>
                      <a:pt x="1653" y="6130"/>
                    </a:lnTo>
                    <a:lnTo>
                      <a:pt x="1662" y="6142"/>
                    </a:lnTo>
                    <a:lnTo>
                      <a:pt x="1671" y="6153"/>
                    </a:lnTo>
                    <a:lnTo>
                      <a:pt x="1678" y="6167"/>
                    </a:lnTo>
                    <a:lnTo>
                      <a:pt x="1681" y="6174"/>
                    </a:lnTo>
                    <a:lnTo>
                      <a:pt x="1684" y="6182"/>
                    </a:lnTo>
                    <a:lnTo>
                      <a:pt x="1686" y="6190"/>
                    </a:lnTo>
                    <a:lnTo>
                      <a:pt x="1686" y="6199"/>
                    </a:lnTo>
                    <a:lnTo>
                      <a:pt x="1686" y="6211"/>
                    </a:lnTo>
                    <a:lnTo>
                      <a:pt x="1685" y="6221"/>
                    </a:lnTo>
                    <a:lnTo>
                      <a:pt x="1684" y="6230"/>
                    </a:lnTo>
                    <a:lnTo>
                      <a:pt x="1681" y="6239"/>
                    </a:lnTo>
                    <a:lnTo>
                      <a:pt x="1677" y="6255"/>
                    </a:lnTo>
                    <a:lnTo>
                      <a:pt x="1672" y="6270"/>
                    </a:lnTo>
                    <a:lnTo>
                      <a:pt x="1666" y="6284"/>
                    </a:lnTo>
                    <a:lnTo>
                      <a:pt x="1663" y="6299"/>
                    </a:lnTo>
                    <a:lnTo>
                      <a:pt x="1659" y="6314"/>
                    </a:lnTo>
                    <a:lnTo>
                      <a:pt x="1658" y="6331"/>
                    </a:lnTo>
                    <a:lnTo>
                      <a:pt x="1657" y="6341"/>
                    </a:lnTo>
                    <a:lnTo>
                      <a:pt x="1658" y="6351"/>
                    </a:lnTo>
                    <a:lnTo>
                      <a:pt x="1659" y="6359"/>
                    </a:lnTo>
                    <a:lnTo>
                      <a:pt x="1662" y="6367"/>
                    </a:lnTo>
                    <a:lnTo>
                      <a:pt x="1669" y="6380"/>
                    </a:lnTo>
                    <a:lnTo>
                      <a:pt x="1677" y="6393"/>
                    </a:lnTo>
                    <a:lnTo>
                      <a:pt x="1685" y="6406"/>
                    </a:lnTo>
                    <a:lnTo>
                      <a:pt x="1693" y="6418"/>
                    </a:lnTo>
                    <a:lnTo>
                      <a:pt x="1695" y="6425"/>
                    </a:lnTo>
                    <a:lnTo>
                      <a:pt x="1697" y="6433"/>
                    </a:lnTo>
                    <a:lnTo>
                      <a:pt x="1700" y="6441"/>
                    </a:lnTo>
                    <a:lnTo>
                      <a:pt x="1700" y="6449"/>
                    </a:lnTo>
                    <a:lnTo>
                      <a:pt x="1700" y="6456"/>
                    </a:lnTo>
                    <a:lnTo>
                      <a:pt x="1698" y="6462"/>
                    </a:lnTo>
                    <a:lnTo>
                      <a:pt x="1696" y="6466"/>
                    </a:lnTo>
                    <a:lnTo>
                      <a:pt x="1694" y="6471"/>
                    </a:lnTo>
                    <a:lnTo>
                      <a:pt x="1690" y="6474"/>
                    </a:lnTo>
                    <a:lnTo>
                      <a:pt x="1687" y="6478"/>
                    </a:lnTo>
                    <a:lnTo>
                      <a:pt x="1682" y="6481"/>
                    </a:lnTo>
                    <a:lnTo>
                      <a:pt x="1678" y="6484"/>
                    </a:lnTo>
                    <a:lnTo>
                      <a:pt x="1668" y="6487"/>
                    </a:lnTo>
                    <a:lnTo>
                      <a:pt x="1656" y="6489"/>
                    </a:lnTo>
                    <a:lnTo>
                      <a:pt x="1643" y="6492"/>
                    </a:lnTo>
                    <a:lnTo>
                      <a:pt x="1631" y="6492"/>
                    </a:lnTo>
                    <a:lnTo>
                      <a:pt x="1631" y="6504"/>
                    </a:lnTo>
                    <a:lnTo>
                      <a:pt x="1631" y="6513"/>
                    </a:lnTo>
                    <a:lnTo>
                      <a:pt x="1631" y="6520"/>
                    </a:lnTo>
                    <a:lnTo>
                      <a:pt x="1631" y="6525"/>
                    </a:lnTo>
                    <a:lnTo>
                      <a:pt x="1631" y="6528"/>
                    </a:lnTo>
                    <a:lnTo>
                      <a:pt x="1631" y="6533"/>
                    </a:lnTo>
                    <a:lnTo>
                      <a:pt x="1631" y="6539"/>
                    </a:lnTo>
                    <a:lnTo>
                      <a:pt x="1631" y="6547"/>
                    </a:lnTo>
                    <a:lnTo>
                      <a:pt x="1631" y="6555"/>
                    </a:lnTo>
                    <a:lnTo>
                      <a:pt x="1633" y="6562"/>
                    </a:lnTo>
                    <a:lnTo>
                      <a:pt x="1637" y="6568"/>
                    </a:lnTo>
                    <a:lnTo>
                      <a:pt x="1641" y="6575"/>
                    </a:lnTo>
                    <a:lnTo>
                      <a:pt x="1653" y="6589"/>
                    </a:lnTo>
                    <a:lnTo>
                      <a:pt x="1665" y="6602"/>
                    </a:lnTo>
                    <a:lnTo>
                      <a:pt x="1672" y="6609"/>
                    </a:lnTo>
                    <a:lnTo>
                      <a:pt x="1678" y="6617"/>
                    </a:lnTo>
                    <a:lnTo>
                      <a:pt x="1684" y="6625"/>
                    </a:lnTo>
                    <a:lnTo>
                      <a:pt x="1689" y="6633"/>
                    </a:lnTo>
                    <a:lnTo>
                      <a:pt x="1694" y="6641"/>
                    </a:lnTo>
                    <a:lnTo>
                      <a:pt x="1697" y="6651"/>
                    </a:lnTo>
                    <a:lnTo>
                      <a:pt x="1700" y="6661"/>
                    </a:lnTo>
                    <a:lnTo>
                      <a:pt x="1700" y="6673"/>
                    </a:lnTo>
                    <a:lnTo>
                      <a:pt x="1698" y="6698"/>
                    </a:lnTo>
                    <a:lnTo>
                      <a:pt x="1696" y="6723"/>
                    </a:lnTo>
                    <a:lnTo>
                      <a:pt x="1694" y="6736"/>
                    </a:lnTo>
                    <a:lnTo>
                      <a:pt x="1690" y="6747"/>
                    </a:lnTo>
                    <a:lnTo>
                      <a:pt x="1687" y="6758"/>
                    </a:lnTo>
                    <a:lnTo>
                      <a:pt x="1682" y="6767"/>
                    </a:lnTo>
                    <a:lnTo>
                      <a:pt x="1678" y="6776"/>
                    </a:lnTo>
                    <a:lnTo>
                      <a:pt x="1672" y="6784"/>
                    </a:lnTo>
                    <a:lnTo>
                      <a:pt x="1665" y="6791"/>
                    </a:lnTo>
                    <a:lnTo>
                      <a:pt x="1658" y="6797"/>
                    </a:lnTo>
                    <a:lnTo>
                      <a:pt x="1651" y="6801"/>
                    </a:lnTo>
                    <a:lnTo>
                      <a:pt x="1642" y="6804"/>
                    </a:lnTo>
                    <a:lnTo>
                      <a:pt x="1633" y="6805"/>
                    </a:lnTo>
                    <a:lnTo>
                      <a:pt x="1623" y="6805"/>
                    </a:lnTo>
                    <a:lnTo>
                      <a:pt x="1618" y="6805"/>
                    </a:lnTo>
                    <a:lnTo>
                      <a:pt x="1614" y="6804"/>
                    </a:lnTo>
                    <a:lnTo>
                      <a:pt x="1609" y="6801"/>
                    </a:lnTo>
                    <a:lnTo>
                      <a:pt x="1606" y="6799"/>
                    </a:lnTo>
                    <a:lnTo>
                      <a:pt x="1599" y="6794"/>
                    </a:lnTo>
                    <a:lnTo>
                      <a:pt x="1592" y="6788"/>
                    </a:lnTo>
                    <a:lnTo>
                      <a:pt x="1585" y="6781"/>
                    </a:lnTo>
                    <a:lnTo>
                      <a:pt x="1578" y="6775"/>
                    </a:lnTo>
                    <a:lnTo>
                      <a:pt x="1575" y="6774"/>
                    </a:lnTo>
                    <a:lnTo>
                      <a:pt x="1570" y="6771"/>
                    </a:lnTo>
                    <a:lnTo>
                      <a:pt x="1565" y="6770"/>
                    </a:lnTo>
                    <a:lnTo>
                      <a:pt x="1561" y="6770"/>
                    </a:lnTo>
                    <a:lnTo>
                      <a:pt x="1552" y="6770"/>
                    </a:lnTo>
                    <a:lnTo>
                      <a:pt x="1543" y="6771"/>
                    </a:lnTo>
                    <a:lnTo>
                      <a:pt x="1532" y="6774"/>
                    </a:lnTo>
                    <a:lnTo>
                      <a:pt x="1523" y="6776"/>
                    </a:lnTo>
                    <a:lnTo>
                      <a:pt x="1502" y="6783"/>
                    </a:lnTo>
                    <a:lnTo>
                      <a:pt x="1482" y="6791"/>
                    </a:lnTo>
                    <a:lnTo>
                      <a:pt x="1461" y="6799"/>
                    </a:lnTo>
                    <a:lnTo>
                      <a:pt x="1439" y="6805"/>
                    </a:lnTo>
                    <a:lnTo>
                      <a:pt x="1428" y="6808"/>
                    </a:lnTo>
                    <a:lnTo>
                      <a:pt x="1416" y="6810"/>
                    </a:lnTo>
                    <a:lnTo>
                      <a:pt x="1405" y="6812"/>
                    </a:lnTo>
                    <a:lnTo>
                      <a:pt x="1394" y="6812"/>
                    </a:lnTo>
                    <a:lnTo>
                      <a:pt x="1383" y="6812"/>
                    </a:lnTo>
                    <a:lnTo>
                      <a:pt x="1375" y="6810"/>
                    </a:lnTo>
                    <a:lnTo>
                      <a:pt x="1367" y="6808"/>
                    </a:lnTo>
                    <a:lnTo>
                      <a:pt x="1360" y="6805"/>
                    </a:lnTo>
                    <a:lnTo>
                      <a:pt x="1349" y="6799"/>
                    </a:lnTo>
                    <a:lnTo>
                      <a:pt x="1338" y="6791"/>
                    </a:lnTo>
                    <a:lnTo>
                      <a:pt x="1329" y="6783"/>
                    </a:lnTo>
                    <a:lnTo>
                      <a:pt x="1318" y="6776"/>
                    </a:lnTo>
                    <a:lnTo>
                      <a:pt x="1312" y="6774"/>
                    </a:lnTo>
                    <a:lnTo>
                      <a:pt x="1305" y="6771"/>
                    </a:lnTo>
                    <a:lnTo>
                      <a:pt x="1297" y="6770"/>
                    </a:lnTo>
                    <a:lnTo>
                      <a:pt x="1289" y="6770"/>
                    </a:lnTo>
                    <a:lnTo>
                      <a:pt x="1280" y="6770"/>
                    </a:lnTo>
                    <a:lnTo>
                      <a:pt x="1271" y="6771"/>
                    </a:lnTo>
                    <a:lnTo>
                      <a:pt x="1262" y="6774"/>
                    </a:lnTo>
                    <a:lnTo>
                      <a:pt x="1254" y="6777"/>
                    </a:lnTo>
                    <a:lnTo>
                      <a:pt x="1246" y="6781"/>
                    </a:lnTo>
                    <a:lnTo>
                      <a:pt x="1239" y="6785"/>
                    </a:lnTo>
                    <a:lnTo>
                      <a:pt x="1232" y="6791"/>
                    </a:lnTo>
                    <a:lnTo>
                      <a:pt x="1225" y="6797"/>
                    </a:lnTo>
                    <a:lnTo>
                      <a:pt x="1211" y="6809"/>
                    </a:lnTo>
                    <a:lnTo>
                      <a:pt x="1200" y="6823"/>
                    </a:lnTo>
                    <a:lnTo>
                      <a:pt x="1187" y="6838"/>
                    </a:lnTo>
                    <a:lnTo>
                      <a:pt x="1176" y="6854"/>
                    </a:lnTo>
                    <a:lnTo>
                      <a:pt x="1164" y="6869"/>
                    </a:lnTo>
                    <a:lnTo>
                      <a:pt x="1152" y="6884"/>
                    </a:lnTo>
                    <a:lnTo>
                      <a:pt x="1139" y="6899"/>
                    </a:lnTo>
                    <a:lnTo>
                      <a:pt x="1124" y="6911"/>
                    </a:lnTo>
                    <a:lnTo>
                      <a:pt x="1117" y="6917"/>
                    </a:lnTo>
                    <a:lnTo>
                      <a:pt x="1109" y="6922"/>
                    </a:lnTo>
                    <a:lnTo>
                      <a:pt x="1101" y="6926"/>
                    </a:lnTo>
                    <a:lnTo>
                      <a:pt x="1092" y="6930"/>
                    </a:lnTo>
                    <a:lnTo>
                      <a:pt x="1083" y="6933"/>
                    </a:lnTo>
                    <a:lnTo>
                      <a:pt x="1074" y="6935"/>
                    </a:lnTo>
                    <a:lnTo>
                      <a:pt x="1063" y="6937"/>
                    </a:lnTo>
                    <a:lnTo>
                      <a:pt x="1052" y="6937"/>
                    </a:lnTo>
                    <a:lnTo>
                      <a:pt x="1036" y="6937"/>
                    </a:lnTo>
                    <a:lnTo>
                      <a:pt x="1023" y="6933"/>
                    </a:lnTo>
                    <a:lnTo>
                      <a:pt x="1014" y="6930"/>
                    </a:lnTo>
                    <a:lnTo>
                      <a:pt x="1005" y="6926"/>
                    </a:lnTo>
                    <a:lnTo>
                      <a:pt x="1001" y="6925"/>
                    </a:lnTo>
                    <a:lnTo>
                      <a:pt x="998" y="6925"/>
                    </a:lnTo>
                    <a:lnTo>
                      <a:pt x="993" y="6925"/>
                    </a:lnTo>
                    <a:lnTo>
                      <a:pt x="990" y="6925"/>
                    </a:lnTo>
                    <a:lnTo>
                      <a:pt x="985" y="6926"/>
                    </a:lnTo>
                    <a:lnTo>
                      <a:pt x="981" y="6930"/>
                    </a:lnTo>
                    <a:lnTo>
                      <a:pt x="975" y="6932"/>
                    </a:lnTo>
                    <a:lnTo>
                      <a:pt x="969" y="6937"/>
                    </a:lnTo>
                    <a:lnTo>
                      <a:pt x="962" y="6937"/>
                    </a:lnTo>
                    <a:lnTo>
                      <a:pt x="956" y="6937"/>
                    </a:lnTo>
                    <a:lnTo>
                      <a:pt x="950" y="6937"/>
                    </a:lnTo>
                    <a:lnTo>
                      <a:pt x="943" y="6938"/>
                    </a:lnTo>
                    <a:lnTo>
                      <a:pt x="931" y="6941"/>
                    </a:lnTo>
                    <a:lnTo>
                      <a:pt x="921" y="6945"/>
                    </a:lnTo>
                    <a:lnTo>
                      <a:pt x="912" y="6949"/>
                    </a:lnTo>
                    <a:lnTo>
                      <a:pt x="905" y="6954"/>
                    </a:lnTo>
                    <a:lnTo>
                      <a:pt x="900" y="6957"/>
                    </a:lnTo>
                    <a:lnTo>
                      <a:pt x="899" y="6958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16" name="Freeform 535"/>
              <p:cNvSpPr>
                <a:spLocks/>
              </p:cNvSpPr>
              <p:nvPr/>
            </p:nvSpPr>
            <p:spPr bwMode="auto">
              <a:xfrm>
                <a:off x="2108" y="2141"/>
                <a:ext cx="841" cy="644"/>
              </a:xfrm>
              <a:custGeom>
                <a:avLst/>
                <a:gdLst>
                  <a:gd name="T0" fmla="*/ 1 w 4561"/>
                  <a:gd name="T1" fmla="*/ 19 h 3488"/>
                  <a:gd name="T2" fmla="*/ 2 w 4561"/>
                  <a:gd name="T3" fmla="*/ 20 h 3488"/>
                  <a:gd name="T4" fmla="*/ 3 w 4561"/>
                  <a:gd name="T5" fmla="*/ 20 h 3488"/>
                  <a:gd name="T6" fmla="*/ 3 w 4561"/>
                  <a:gd name="T7" fmla="*/ 21 h 3488"/>
                  <a:gd name="T8" fmla="*/ 4 w 4561"/>
                  <a:gd name="T9" fmla="*/ 22 h 3488"/>
                  <a:gd name="T10" fmla="*/ 4 w 4561"/>
                  <a:gd name="T11" fmla="*/ 21 h 3488"/>
                  <a:gd name="T12" fmla="*/ 7 w 4561"/>
                  <a:gd name="T13" fmla="*/ 18 h 3488"/>
                  <a:gd name="T14" fmla="*/ 8 w 4561"/>
                  <a:gd name="T15" fmla="*/ 18 h 3488"/>
                  <a:gd name="T16" fmla="*/ 9 w 4561"/>
                  <a:gd name="T17" fmla="*/ 18 h 3488"/>
                  <a:gd name="T18" fmla="*/ 10 w 4561"/>
                  <a:gd name="T19" fmla="*/ 17 h 3488"/>
                  <a:gd name="T20" fmla="*/ 12 w 4561"/>
                  <a:gd name="T21" fmla="*/ 17 h 3488"/>
                  <a:gd name="T22" fmla="*/ 12 w 4561"/>
                  <a:gd name="T23" fmla="*/ 16 h 3488"/>
                  <a:gd name="T24" fmla="*/ 13 w 4561"/>
                  <a:gd name="T25" fmla="*/ 15 h 3488"/>
                  <a:gd name="T26" fmla="*/ 15 w 4561"/>
                  <a:gd name="T27" fmla="*/ 15 h 3488"/>
                  <a:gd name="T28" fmla="*/ 15 w 4561"/>
                  <a:gd name="T29" fmla="*/ 14 h 3488"/>
                  <a:gd name="T30" fmla="*/ 18 w 4561"/>
                  <a:gd name="T31" fmla="*/ 13 h 3488"/>
                  <a:gd name="T32" fmla="*/ 19 w 4561"/>
                  <a:gd name="T33" fmla="*/ 12 h 3488"/>
                  <a:gd name="T34" fmla="*/ 21 w 4561"/>
                  <a:gd name="T35" fmla="*/ 11 h 3488"/>
                  <a:gd name="T36" fmla="*/ 23 w 4561"/>
                  <a:gd name="T37" fmla="*/ 11 h 3488"/>
                  <a:gd name="T38" fmla="*/ 23 w 4561"/>
                  <a:gd name="T39" fmla="*/ 10 h 3488"/>
                  <a:gd name="T40" fmla="*/ 22 w 4561"/>
                  <a:gd name="T41" fmla="*/ 9 h 3488"/>
                  <a:gd name="T42" fmla="*/ 22 w 4561"/>
                  <a:gd name="T43" fmla="*/ 8 h 3488"/>
                  <a:gd name="T44" fmla="*/ 23 w 4561"/>
                  <a:gd name="T45" fmla="*/ 9 h 3488"/>
                  <a:gd name="T46" fmla="*/ 24 w 4561"/>
                  <a:gd name="T47" fmla="*/ 8 h 3488"/>
                  <a:gd name="T48" fmla="*/ 25 w 4561"/>
                  <a:gd name="T49" fmla="*/ 10 h 3488"/>
                  <a:gd name="T50" fmla="*/ 25 w 4561"/>
                  <a:gd name="T51" fmla="*/ 11 h 3488"/>
                  <a:gd name="T52" fmla="*/ 26 w 4561"/>
                  <a:gd name="T53" fmla="*/ 11 h 3488"/>
                  <a:gd name="T54" fmla="*/ 27 w 4561"/>
                  <a:gd name="T55" fmla="*/ 9 h 3488"/>
                  <a:gd name="T56" fmla="*/ 29 w 4561"/>
                  <a:gd name="T57" fmla="*/ 5 h 3488"/>
                  <a:gd name="T58" fmla="*/ 28 w 4561"/>
                  <a:gd name="T59" fmla="*/ 3 h 3488"/>
                  <a:gd name="T60" fmla="*/ 26 w 4561"/>
                  <a:gd name="T61" fmla="*/ 1 h 3488"/>
                  <a:gd name="T62" fmla="*/ 26 w 4561"/>
                  <a:gd name="T63" fmla="*/ 0 h 3488"/>
                  <a:gd name="T64" fmla="*/ 25 w 4561"/>
                  <a:gd name="T65" fmla="*/ 0 h 3488"/>
                  <a:gd name="T66" fmla="*/ 22 w 4561"/>
                  <a:gd name="T67" fmla="*/ 1 h 3488"/>
                  <a:gd name="T68" fmla="*/ 20 w 4561"/>
                  <a:gd name="T69" fmla="*/ 1 h 3488"/>
                  <a:gd name="T70" fmla="*/ 20 w 4561"/>
                  <a:gd name="T71" fmla="*/ 2 h 3488"/>
                  <a:gd name="T72" fmla="*/ 19 w 4561"/>
                  <a:gd name="T73" fmla="*/ 2 h 3488"/>
                  <a:gd name="T74" fmla="*/ 17 w 4561"/>
                  <a:gd name="T75" fmla="*/ 2 h 3488"/>
                  <a:gd name="T76" fmla="*/ 17 w 4561"/>
                  <a:gd name="T77" fmla="*/ 4 h 3488"/>
                  <a:gd name="T78" fmla="*/ 15 w 4561"/>
                  <a:gd name="T79" fmla="*/ 4 h 3488"/>
                  <a:gd name="T80" fmla="*/ 14 w 4561"/>
                  <a:gd name="T81" fmla="*/ 4 h 3488"/>
                  <a:gd name="T82" fmla="*/ 9 w 4561"/>
                  <a:gd name="T83" fmla="*/ 3 h 3488"/>
                  <a:gd name="T84" fmla="*/ 7 w 4561"/>
                  <a:gd name="T85" fmla="*/ 3 h 3488"/>
                  <a:gd name="T86" fmla="*/ 6 w 4561"/>
                  <a:gd name="T87" fmla="*/ 4 h 3488"/>
                  <a:gd name="T88" fmla="*/ 4 w 4561"/>
                  <a:gd name="T89" fmla="*/ 3 h 3488"/>
                  <a:gd name="T90" fmla="*/ 3 w 4561"/>
                  <a:gd name="T91" fmla="*/ 4 h 3488"/>
                  <a:gd name="T92" fmla="*/ 3 w 4561"/>
                  <a:gd name="T93" fmla="*/ 6 h 3488"/>
                  <a:gd name="T94" fmla="*/ 2 w 4561"/>
                  <a:gd name="T95" fmla="*/ 8 h 3488"/>
                  <a:gd name="T96" fmla="*/ 4 w 4561"/>
                  <a:gd name="T97" fmla="*/ 8 h 3488"/>
                  <a:gd name="T98" fmla="*/ 5 w 4561"/>
                  <a:gd name="T99" fmla="*/ 9 h 3488"/>
                  <a:gd name="T100" fmla="*/ 6 w 4561"/>
                  <a:gd name="T101" fmla="*/ 10 h 3488"/>
                  <a:gd name="T102" fmla="*/ 6 w 4561"/>
                  <a:gd name="T103" fmla="*/ 11 h 3488"/>
                  <a:gd name="T104" fmla="*/ 6 w 4561"/>
                  <a:gd name="T105" fmla="*/ 11 h 3488"/>
                  <a:gd name="T106" fmla="*/ 4 w 4561"/>
                  <a:gd name="T107" fmla="*/ 13 h 3488"/>
                  <a:gd name="T108" fmla="*/ 4 w 4561"/>
                  <a:gd name="T109" fmla="*/ 14 h 3488"/>
                  <a:gd name="T110" fmla="*/ 3 w 4561"/>
                  <a:gd name="T111" fmla="*/ 15 h 3488"/>
                  <a:gd name="T112" fmla="*/ 2 w 4561"/>
                  <a:gd name="T113" fmla="*/ 16 h 3488"/>
                  <a:gd name="T114" fmla="*/ 1 w 4561"/>
                  <a:gd name="T115" fmla="*/ 16 h 3488"/>
                  <a:gd name="T116" fmla="*/ 1 w 4561"/>
                  <a:gd name="T117" fmla="*/ 15 h 3488"/>
                  <a:gd name="T118" fmla="*/ 0 w 4561"/>
                  <a:gd name="T119" fmla="*/ 17 h 348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561"/>
                  <a:gd name="T181" fmla="*/ 0 h 3488"/>
                  <a:gd name="T182" fmla="*/ 4561 w 4561"/>
                  <a:gd name="T183" fmla="*/ 3488 h 348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561" h="3488">
                    <a:moveTo>
                      <a:pt x="0" y="2917"/>
                    </a:moveTo>
                    <a:lnTo>
                      <a:pt x="18" y="2925"/>
                    </a:lnTo>
                    <a:lnTo>
                      <a:pt x="36" y="2934"/>
                    </a:lnTo>
                    <a:lnTo>
                      <a:pt x="54" y="2944"/>
                    </a:lnTo>
                    <a:lnTo>
                      <a:pt x="70" y="2954"/>
                    </a:lnTo>
                    <a:lnTo>
                      <a:pt x="78" y="2960"/>
                    </a:lnTo>
                    <a:lnTo>
                      <a:pt x="83" y="2965"/>
                    </a:lnTo>
                    <a:lnTo>
                      <a:pt x="89" y="2972"/>
                    </a:lnTo>
                    <a:lnTo>
                      <a:pt x="95" y="2979"/>
                    </a:lnTo>
                    <a:lnTo>
                      <a:pt x="98" y="2987"/>
                    </a:lnTo>
                    <a:lnTo>
                      <a:pt x="102" y="2996"/>
                    </a:lnTo>
                    <a:lnTo>
                      <a:pt x="103" y="3005"/>
                    </a:lnTo>
                    <a:lnTo>
                      <a:pt x="104" y="3015"/>
                    </a:lnTo>
                    <a:lnTo>
                      <a:pt x="104" y="3028"/>
                    </a:lnTo>
                    <a:lnTo>
                      <a:pt x="104" y="3039"/>
                    </a:lnTo>
                    <a:lnTo>
                      <a:pt x="104" y="3046"/>
                    </a:lnTo>
                    <a:lnTo>
                      <a:pt x="104" y="3050"/>
                    </a:lnTo>
                    <a:lnTo>
                      <a:pt x="104" y="3054"/>
                    </a:lnTo>
                    <a:lnTo>
                      <a:pt x="104" y="3056"/>
                    </a:lnTo>
                    <a:lnTo>
                      <a:pt x="104" y="3059"/>
                    </a:lnTo>
                    <a:lnTo>
                      <a:pt x="104" y="3064"/>
                    </a:lnTo>
                    <a:lnTo>
                      <a:pt x="105" y="3071"/>
                    </a:lnTo>
                    <a:lnTo>
                      <a:pt x="107" y="3078"/>
                    </a:lnTo>
                    <a:lnTo>
                      <a:pt x="113" y="3085"/>
                    </a:lnTo>
                    <a:lnTo>
                      <a:pt x="119" y="3091"/>
                    </a:lnTo>
                    <a:lnTo>
                      <a:pt x="127" y="3098"/>
                    </a:lnTo>
                    <a:lnTo>
                      <a:pt x="136" y="3106"/>
                    </a:lnTo>
                    <a:lnTo>
                      <a:pt x="148" y="3113"/>
                    </a:lnTo>
                    <a:lnTo>
                      <a:pt x="159" y="3120"/>
                    </a:lnTo>
                    <a:lnTo>
                      <a:pt x="172" y="3126"/>
                    </a:lnTo>
                    <a:lnTo>
                      <a:pt x="184" y="3132"/>
                    </a:lnTo>
                    <a:lnTo>
                      <a:pt x="198" y="3137"/>
                    </a:lnTo>
                    <a:lnTo>
                      <a:pt x="213" y="3142"/>
                    </a:lnTo>
                    <a:lnTo>
                      <a:pt x="227" y="3147"/>
                    </a:lnTo>
                    <a:lnTo>
                      <a:pt x="242" y="3150"/>
                    </a:lnTo>
                    <a:lnTo>
                      <a:pt x="256" y="3152"/>
                    </a:lnTo>
                    <a:lnTo>
                      <a:pt x="271" y="3155"/>
                    </a:lnTo>
                    <a:lnTo>
                      <a:pt x="293" y="3153"/>
                    </a:lnTo>
                    <a:lnTo>
                      <a:pt x="314" y="3152"/>
                    </a:lnTo>
                    <a:lnTo>
                      <a:pt x="331" y="3150"/>
                    </a:lnTo>
                    <a:lnTo>
                      <a:pt x="348" y="3147"/>
                    </a:lnTo>
                    <a:lnTo>
                      <a:pt x="364" y="3143"/>
                    </a:lnTo>
                    <a:lnTo>
                      <a:pt x="379" y="3140"/>
                    </a:lnTo>
                    <a:lnTo>
                      <a:pt x="395" y="3136"/>
                    </a:lnTo>
                    <a:lnTo>
                      <a:pt x="410" y="3134"/>
                    </a:lnTo>
                    <a:lnTo>
                      <a:pt x="410" y="3143"/>
                    </a:lnTo>
                    <a:lnTo>
                      <a:pt x="409" y="3157"/>
                    </a:lnTo>
                    <a:lnTo>
                      <a:pt x="408" y="3173"/>
                    </a:lnTo>
                    <a:lnTo>
                      <a:pt x="408" y="3190"/>
                    </a:lnTo>
                    <a:lnTo>
                      <a:pt x="407" y="3207"/>
                    </a:lnTo>
                    <a:lnTo>
                      <a:pt x="408" y="3225"/>
                    </a:lnTo>
                    <a:lnTo>
                      <a:pt x="408" y="3239"/>
                    </a:lnTo>
                    <a:lnTo>
                      <a:pt x="410" y="3252"/>
                    </a:lnTo>
                    <a:lnTo>
                      <a:pt x="416" y="3254"/>
                    </a:lnTo>
                    <a:lnTo>
                      <a:pt x="427" y="3258"/>
                    </a:lnTo>
                    <a:lnTo>
                      <a:pt x="442" y="3261"/>
                    </a:lnTo>
                    <a:lnTo>
                      <a:pt x="458" y="3265"/>
                    </a:lnTo>
                    <a:lnTo>
                      <a:pt x="474" y="3268"/>
                    </a:lnTo>
                    <a:lnTo>
                      <a:pt x="488" y="3270"/>
                    </a:lnTo>
                    <a:lnTo>
                      <a:pt x="497" y="3273"/>
                    </a:lnTo>
                    <a:lnTo>
                      <a:pt x="501" y="3273"/>
                    </a:lnTo>
                    <a:lnTo>
                      <a:pt x="506" y="3280"/>
                    </a:lnTo>
                    <a:lnTo>
                      <a:pt x="511" y="3286"/>
                    </a:lnTo>
                    <a:lnTo>
                      <a:pt x="514" y="3293"/>
                    </a:lnTo>
                    <a:lnTo>
                      <a:pt x="517" y="3301"/>
                    </a:lnTo>
                    <a:lnTo>
                      <a:pt x="521" y="3315"/>
                    </a:lnTo>
                    <a:lnTo>
                      <a:pt x="524" y="3330"/>
                    </a:lnTo>
                    <a:lnTo>
                      <a:pt x="525" y="3337"/>
                    </a:lnTo>
                    <a:lnTo>
                      <a:pt x="527" y="3344"/>
                    </a:lnTo>
                    <a:lnTo>
                      <a:pt x="529" y="3351"/>
                    </a:lnTo>
                    <a:lnTo>
                      <a:pt x="532" y="3358"/>
                    </a:lnTo>
                    <a:lnTo>
                      <a:pt x="536" y="3363"/>
                    </a:lnTo>
                    <a:lnTo>
                      <a:pt x="542" y="3368"/>
                    </a:lnTo>
                    <a:lnTo>
                      <a:pt x="548" y="3374"/>
                    </a:lnTo>
                    <a:lnTo>
                      <a:pt x="557" y="3377"/>
                    </a:lnTo>
                    <a:lnTo>
                      <a:pt x="555" y="3391"/>
                    </a:lnTo>
                    <a:lnTo>
                      <a:pt x="553" y="3400"/>
                    </a:lnTo>
                    <a:lnTo>
                      <a:pt x="553" y="3406"/>
                    </a:lnTo>
                    <a:lnTo>
                      <a:pt x="553" y="3409"/>
                    </a:lnTo>
                    <a:lnTo>
                      <a:pt x="555" y="3413"/>
                    </a:lnTo>
                    <a:lnTo>
                      <a:pt x="556" y="3416"/>
                    </a:lnTo>
                    <a:lnTo>
                      <a:pt x="556" y="3419"/>
                    </a:lnTo>
                    <a:lnTo>
                      <a:pt x="557" y="3426"/>
                    </a:lnTo>
                    <a:lnTo>
                      <a:pt x="557" y="3431"/>
                    </a:lnTo>
                    <a:lnTo>
                      <a:pt x="558" y="3437"/>
                    </a:lnTo>
                    <a:lnTo>
                      <a:pt x="559" y="3441"/>
                    </a:lnTo>
                    <a:lnTo>
                      <a:pt x="561" y="3447"/>
                    </a:lnTo>
                    <a:lnTo>
                      <a:pt x="565" y="3452"/>
                    </a:lnTo>
                    <a:lnTo>
                      <a:pt x="568" y="3456"/>
                    </a:lnTo>
                    <a:lnTo>
                      <a:pt x="572" y="3461"/>
                    </a:lnTo>
                    <a:lnTo>
                      <a:pt x="576" y="3465"/>
                    </a:lnTo>
                    <a:lnTo>
                      <a:pt x="588" y="3473"/>
                    </a:lnTo>
                    <a:lnTo>
                      <a:pt x="600" y="3480"/>
                    </a:lnTo>
                    <a:lnTo>
                      <a:pt x="615" y="3485"/>
                    </a:lnTo>
                    <a:lnTo>
                      <a:pt x="633" y="3488"/>
                    </a:lnTo>
                    <a:lnTo>
                      <a:pt x="633" y="3467"/>
                    </a:lnTo>
                    <a:lnTo>
                      <a:pt x="633" y="3444"/>
                    </a:lnTo>
                    <a:lnTo>
                      <a:pt x="633" y="3419"/>
                    </a:lnTo>
                    <a:lnTo>
                      <a:pt x="633" y="3397"/>
                    </a:lnTo>
                    <a:lnTo>
                      <a:pt x="633" y="3376"/>
                    </a:lnTo>
                    <a:lnTo>
                      <a:pt x="633" y="3358"/>
                    </a:lnTo>
                    <a:lnTo>
                      <a:pt x="633" y="3344"/>
                    </a:lnTo>
                    <a:lnTo>
                      <a:pt x="633" y="3336"/>
                    </a:lnTo>
                    <a:lnTo>
                      <a:pt x="634" y="3322"/>
                    </a:lnTo>
                    <a:lnTo>
                      <a:pt x="636" y="3308"/>
                    </a:lnTo>
                    <a:lnTo>
                      <a:pt x="639" y="3296"/>
                    </a:lnTo>
                    <a:lnTo>
                      <a:pt x="644" y="3284"/>
                    </a:lnTo>
                    <a:lnTo>
                      <a:pt x="650" y="3273"/>
                    </a:lnTo>
                    <a:lnTo>
                      <a:pt x="655" y="3262"/>
                    </a:lnTo>
                    <a:lnTo>
                      <a:pt x="663" y="3251"/>
                    </a:lnTo>
                    <a:lnTo>
                      <a:pt x="672" y="3242"/>
                    </a:lnTo>
                    <a:lnTo>
                      <a:pt x="690" y="3222"/>
                    </a:lnTo>
                    <a:lnTo>
                      <a:pt x="709" y="3204"/>
                    </a:lnTo>
                    <a:lnTo>
                      <a:pt x="730" y="3187"/>
                    </a:lnTo>
                    <a:lnTo>
                      <a:pt x="752" y="3168"/>
                    </a:lnTo>
                    <a:lnTo>
                      <a:pt x="762" y="3157"/>
                    </a:lnTo>
                    <a:lnTo>
                      <a:pt x="772" y="3145"/>
                    </a:lnTo>
                    <a:lnTo>
                      <a:pt x="782" y="3134"/>
                    </a:lnTo>
                    <a:lnTo>
                      <a:pt x="790" y="3124"/>
                    </a:lnTo>
                    <a:lnTo>
                      <a:pt x="802" y="3102"/>
                    </a:lnTo>
                    <a:lnTo>
                      <a:pt x="814" y="3080"/>
                    </a:lnTo>
                    <a:lnTo>
                      <a:pt x="824" y="3057"/>
                    </a:lnTo>
                    <a:lnTo>
                      <a:pt x="833" y="3033"/>
                    </a:lnTo>
                    <a:lnTo>
                      <a:pt x="843" y="3008"/>
                    </a:lnTo>
                    <a:lnTo>
                      <a:pt x="856" y="2980"/>
                    </a:lnTo>
                    <a:lnTo>
                      <a:pt x="1106" y="2910"/>
                    </a:lnTo>
                    <a:lnTo>
                      <a:pt x="1114" y="2911"/>
                    </a:lnTo>
                    <a:lnTo>
                      <a:pt x="1123" y="2915"/>
                    </a:lnTo>
                    <a:lnTo>
                      <a:pt x="1131" y="2919"/>
                    </a:lnTo>
                    <a:lnTo>
                      <a:pt x="1140" y="2924"/>
                    </a:lnTo>
                    <a:lnTo>
                      <a:pt x="1148" y="2930"/>
                    </a:lnTo>
                    <a:lnTo>
                      <a:pt x="1156" y="2934"/>
                    </a:lnTo>
                    <a:lnTo>
                      <a:pt x="1163" y="2938"/>
                    </a:lnTo>
                    <a:lnTo>
                      <a:pt x="1169" y="2939"/>
                    </a:lnTo>
                    <a:lnTo>
                      <a:pt x="1176" y="2938"/>
                    </a:lnTo>
                    <a:lnTo>
                      <a:pt x="1182" y="2937"/>
                    </a:lnTo>
                    <a:lnTo>
                      <a:pt x="1187" y="2936"/>
                    </a:lnTo>
                    <a:lnTo>
                      <a:pt x="1194" y="2933"/>
                    </a:lnTo>
                    <a:lnTo>
                      <a:pt x="1205" y="2926"/>
                    </a:lnTo>
                    <a:lnTo>
                      <a:pt x="1216" y="2918"/>
                    </a:lnTo>
                    <a:lnTo>
                      <a:pt x="1238" y="2897"/>
                    </a:lnTo>
                    <a:lnTo>
                      <a:pt x="1259" y="2872"/>
                    </a:lnTo>
                    <a:lnTo>
                      <a:pt x="1270" y="2860"/>
                    </a:lnTo>
                    <a:lnTo>
                      <a:pt x="1281" y="2848"/>
                    </a:lnTo>
                    <a:lnTo>
                      <a:pt x="1293" y="2837"/>
                    </a:lnTo>
                    <a:lnTo>
                      <a:pt x="1306" y="2827"/>
                    </a:lnTo>
                    <a:lnTo>
                      <a:pt x="1318" y="2819"/>
                    </a:lnTo>
                    <a:lnTo>
                      <a:pt x="1333" y="2812"/>
                    </a:lnTo>
                    <a:lnTo>
                      <a:pt x="1340" y="2809"/>
                    </a:lnTo>
                    <a:lnTo>
                      <a:pt x="1348" y="2808"/>
                    </a:lnTo>
                    <a:lnTo>
                      <a:pt x="1356" y="2807"/>
                    </a:lnTo>
                    <a:lnTo>
                      <a:pt x="1364" y="2806"/>
                    </a:lnTo>
                    <a:lnTo>
                      <a:pt x="1375" y="2808"/>
                    </a:lnTo>
                    <a:lnTo>
                      <a:pt x="1387" y="2812"/>
                    </a:lnTo>
                    <a:lnTo>
                      <a:pt x="1397" y="2816"/>
                    </a:lnTo>
                    <a:lnTo>
                      <a:pt x="1406" y="2822"/>
                    </a:lnTo>
                    <a:lnTo>
                      <a:pt x="1426" y="2836"/>
                    </a:lnTo>
                    <a:lnTo>
                      <a:pt x="1444" y="2851"/>
                    </a:lnTo>
                    <a:lnTo>
                      <a:pt x="1463" y="2866"/>
                    </a:lnTo>
                    <a:lnTo>
                      <a:pt x="1482" y="2878"/>
                    </a:lnTo>
                    <a:lnTo>
                      <a:pt x="1491" y="2883"/>
                    </a:lnTo>
                    <a:lnTo>
                      <a:pt x="1502" y="2886"/>
                    </a:lnTo>
                    <a:lnTo>
                      <a:pt x="1513" y="2888"/>
                    </a:lnTo>
                    <a:lnTo>
                      <a:pt x="1525" y="2890"/>
                    </a:lnTo>
                    <a:lnTo>
                      <a:pt x="1538" y="2890"/>
                    </a:lnTo>
                    <a:lnTo>
                      <a:pt x="1551" y="2887"/>
                    </a:lnTo>
                    <a:lnTo>
                      <a:pt x="1562" y="2884"/>
                    </a:lnTo>
                    <a:lnTo>
                      <a:pt x="1573" y="2880"/>
                    </a:lnTo>
                    <a:lnTo>
                      <a:pt x="1582" y="2875"/>
                    </a:lnTo>
                    <a:lnTo>
                      <a:pt x="1590" y="2869"/>
                    </a:lnTo>
                    <a:lnTo>
                      <a:pt x="1598" y="2862"/>
                    </a:lnTo>
                    <a:lnTo>
                      <a:pt x="1604" y="2855"/>
                    </a:lnTo>
                    <a:lnTo>
                      <a:pt x="1609" y="2847"/>
                    </a:lnTo>
                    <a:lnTo>
                      <a:pt x="1614" y="2838"/>
                    </a:lnTo>
                    <a:lnTo>
                      <a:pt x="1619" y="2829"/>
                    </a:lnTo>
                    <a:lnTo>
                      <a:pt x="1622" y="2820"/>
                    </a:lnTo>
                    <a:lnTo>
                      <a:pt x="1628" y="2800"/>
                    </a:lnTo>
                    <a:lnTo>
                      <a:pt x="1633" y="2780"/>
                    </a:lnTo>
                    <a:lnTo>
                      <a:pt x="1638" y="2759"/>
                    </a:lnTo>
                    <a:lnTo>
                      <a:pt x="1644" y="2739"/>
                    </a:lnTo>
                    <a:lnTo>
                      <a:pt x="1646" y="2730"/>
                    </a:lnTo>
                    <a:lnTo>
                      <a:pt x="1649" y="2721"/>
                    </a:lnTo>
                    <a:lnTo>
                      <a:pt x="1654" y="2713"/>
                    </a:lnTo>
                    <a:lnTo>
                      <a:pt x="1659" y="2705"/>
                    </a:lnTo>
                    <a:lnTo>
                      <a:pt x="1663" y="2698"/>
                    </a:lnTo>
                    <a:lnTo>
                      <a:pt x="1669" y="2691"/>
                    </a:lnTo>
                    <a:lnTo>
                      <a:pt x="1676" y="2685"/>
                    </a:lnTo>
                    <a:lnTo>
                      <a:pt x="1684" y="2681"/>
                    </a:lnTo>
                    <a:lnTo>
                      <a:pt x="1693" y="2677"/>
                    </a:lnTo>
                    <a:lnTo>
                      <a:pt x="1702" y="2675"/>
                    </a:lnTo>
                    <a:lnTo>
                      <a:pt x="1714" y="2674"/>
                    </a:lnTo>
                    <a:lnTo>
                      <a:pt x="1726" y="2674"/>
                    </a:lnTo>
                    <a:lnTo>
                      <a:pt x="1765" y="2673"/>
                    </a:lnTo>
                    <a:lnTo>
                      <a:pt x="1800" y="2671"/>
                    </a:lnTo>
                    <a:lnTo>
                      <a:pt x="1813" y="2669"/>
                    </a:lnTo>
                    <a:lnTo>
                      <a:pt x="1827" y="2667"/>
                    </a:lnTo>
                    <a:lnTo>
                      <a:pt x="1839" y="2665"/>
                    </a:lnTo>
                    <a:lnTo>
                      <a:pt x="1849" y="2661"/>
                    </a:lnTo>
                    <a:lnTo>
                      <a:pt x="1859" y="2659"/>
                    </a:lnTo>
                    <a:lnTo>
                      <a:pt x="1867" y="2655"/>
                    </a:lnTo>
                    <a:lnTo>
                      <a:pt x="1875" y="2651"/>
                    </a:lnTo>
                    <a:lnTo>
                      <a:pt x="1882" y="2646"/>
                    </a:lnTo>
                    <a:lnTo>
                      <a:pt x="1888" y="2642"/>
                    </a:lnTo>
                    <a:lnTo>
                      <a:pt x="1893" y="2636"/>
                    </a:lnTo>
                    <a:lnTo>
                      <a:pt x="1898" y="2630"/>
                    </a:lnTo>
                    <a:lnTo>
                      <a:pt x="1902" y="2625"/>
                    </a:lnTo>
                    <a:lnTo>
                      <a:pt x="1909" y="2611"/>
                    </a:lnTo>
                    <a:lnTo>
                      <a:pt x="1914" y="2595"/>
                    </a:lnTo>
                    <a:lnTo>
                      <a:pt x="1920" y="2578"/>
                    </a:lnTo>
                    <a:lnTo>
                      <a:pt x="1926" y="2559"/>
                    </a:lnTo>
                    <a:lnTo>
                      <a:pt x="1933" y="2539"/>
                    </a:lnTo>
                    <a:lnTo>
                      <a:pt x="1940" y="2516"/>
                    </a:lnTo>
                    <a:lnTo>
                      <a:pt x="1950" y="2492"/>
                    </a:lnTo>
                    <a:lnTo>
                      <a:pt x="1962" y="2465"/>
                    </a:lnTo>
                    <a:lnTo>
                      <a:pt x="1975" y="2469"/>
                    </a:lnTo>
                    <a:lnTo>
                      <a:pt x="1987" y="2471"/>
                    </a:lnTo>
                    <a:lnTo>
                      <a:pt x="1997" y="2471"/>
                    </a:lnTo>
                    <a:lnTo>
                      <a:pt x="2006" y="2470"/>
                    </a:lnTo>
                    <a:lnTo>
                      <a:pt x="2015" y="2469"/>
                    </a:lnTo>
                    <a:lnTo>
                      <a:pt x="2023" y="2466"/>
                    </a:lnTo>
                    <a:lnTo>
                      <a:pt x="2031" y="2465"/>
                    </a:lnTo>
                    <a:lnTo>
                      <a:pt x="2039" y="2465"/>
                    </a:lnTo>
                    <a:lnTo>
                      <a:pt x="2050" y="2464"/>
                    </a:lnTo>
                    <a:lnTo>
                      <a:pt x="2059" y="2462"/>
                    </a:lnTo>
                    <a:lnTo>
                      <a:pt x="2067" y="2458"/>
                    </a:lnTo>
                    <a:lnTo>
                      <a:pt x="2075" y="2454"/>
                    </a:lnTo>
                    <a:lnTo>
                      <a:pt x="2082" y="2447"/>
                    </a:lnTo>
                    <a:lnTo>
                      <a:pt x="2089" y="2440"/>
                    </a:lnTo>
                    <a:lnTo>
                      <a:pt x="2095" y="2432"/>
                    </a:lnTo>
                    <a:lnTo>
                      <a:pt x="2101" y="2424"/>
                    </a:lnTo>
                    <a:lnTo>
                      <a:pt x="2114" y="2406"/>
                    </a:lnTo>
                    <a:lnTo>
                      <a:pt x="2126" y="2386"/>
                    </a:lnTo>
                    <a:lnTo>
                      <a:pt x="2133" y="2376"/>
                    </a:lnTo>
                    <a:lnTo>
                      <a:pt x="2141" y="2366"/>
                    </a:lnTo>
                    <a:lnTo>
                      <a:pt x="2149" y="2356"/>
                    </a:lnTo>
                    <a:lnTo>
                      <a:pt x="2157" y="2346"/>
                    </a:lnTo>
                    <a:lnTo>
                      <a:pt x="2170" y="2360"/>
                    </a:lnTo>
                    <a:lnTo>
                      <a:pt x="2181" y="2374"/>
                    </a:lnTo>
                    <a:lnTo>
                      <a:pt x="2193" y="2386"/>
                    </a:lnTo>
                    <a:lnTo>
                      <a:pt x="2204" y="2398"/>
                    </a:lnTo>
                    <a:lnTo>
                      <a:pt x="2211" y="2403"/>
                    </a:lnTo>
                    <a:lnTo>
                      <a:pt x="2217" y="2408"/>
                    </a:lnTo>
                    <a:lnTo>
                      <a:pt x="2224" y="2413"/>
                    </a:lnTo>
                    <a:lnTo>
                      <a:pt x="2231" y="2416"/>
                    </a:lnTo>
                    <a:lnTo>
                      <a:pt x="2238" y="2419"/>
                    </a:lnTo>
                    <a:lnTo>
                      <a:pt x="2246" y="2422"/>
                    </a:lnTo>
                    <a:lnTo>
                      <a:pt x="2254" y="2423"/>
                    </a:lnTo>
                    <a:lnTo>
                      <a:pt x="2262" y="2423"/>
                    </a:lnTo>
                    <a:lnTo>
                      <a:pt x="2276" y="2423"/>
                    </a:lnTo>
                    <a:lnTo>
                      <a:pt x="2287" y="2423"/>
                    </a:lnTo>
                    <a:lnTo>
                      <a:pt x="2298" y="2421"/>
                    </a:lnTo>
                    <a:lnTo>
                      <a:pt x="2309" y="2417"/>
                    </a:lnTo>
                    <a:lnTo>
                      <a:pt x="2319" y="2414"/>
                    </a:lnTo>
                    <a:lnTo>
                      <a:pt x="2328" y="2409"/>
                    </a:lnTo>
                    <a:lnTo>
                      <a:pt x="2337" y="2403"/>
                    </a:lnTo>
                    <a:lnTo>
                      <a:pt x="2347" y="2398"/>
                    </a:lnTo>
                    <a:lnTo>
                      <a:pt x="2353" y="2391"/>
                    </a:lnTo>
                    <a:lnTo>
                      <a:pt x="2361" y="2383"/>
                    </a:lnTo>
                    <a:lnTo>
                      <a:pt x="2368" y="2375"/>
                    </a:lnTo>
                    <a:lnTo>
                      <a:pt x="2374" y="2366"/>
                    </a:lnTo>
                    <a:lnTo>
                      <a:pt x="2380" y="2356"/>
                    </a:lnTo>
                    <a:lnTo>
                      <a:pt x="2386" y="2347"/>
                    </a:lnTo>
                    <a:lnTo>
                      <a:pt x="2390" y="2337"/>
                    </a:lnTo>
                    <a:lnTo>
                      <a:pt x="2395" y="2327"/>
                    </a:lnTo>
                    <a:lnTo>
                      <a:pt x="2403" y="2305"/>
                    </a:lnTo>
                    <a:lnTo>
                      <a:pt x="2408" y="2282"/>
                    </a:lnTo>
                    <a:lnTo>
                      <a:pt x="2413" y="2259"/>
                    </a:lnTo>
                    <a:lnTo>
                      <a:pt x="2417" y="2236"/>
                    </a:lnTo>
                    <a:lnTo>
                      <a:pt x="2420" y="2213"/>
                    </a:lnTo>
                    <a:lnTo>
                      <a:pt x="2421" y="2191"/>
                    </a:lnTo>
                    <a:lnTo>
                      <a:pt x="2422" y="2171"/>
                    </a:lnTo>
                    <a:lnTo>
                      <a:pt x="2422" y="2151"/>
                    </a:lnTo>
                    <a:lnTo>
                      <a:pt x="2435" y="2150"/>
                    </a:lnTo>
                    <a:lnTo>
                      <a:pt x="2447" y="2149"/>
                    </a:lnTo>
                    <a:lnTo>
                      <a:pt x="2459" y="2149"/>
                    </a:lnTo>
                    <a:lnTo>
                      <a:pt x="2469" y="2149"/>
                    </a:lnTo>
                    <a:lnTo>
                      <a:pt x="2480" y="2150"/>
                    </a:lnTo>
                    <a:lnTo>
                      <a:pt x="2489" y="2151"/>
                    </a:lnTo>
                    <a:lnTo>
                      <a:pt x="2498" y="2151"/>
                    </a:lnTo>
                    <a:lnTo>
                      <a:pt x="2506" y="2151"/>
                    </a:lnTo>
                    <a:lnTo>
                      <a:pt x="2530" y="2151"/>
                    </a:lnTo>
                    <a:lnTo>
                      <a:pt x="2571" y="2148"/>
                    </a:lnTo>
                    <a:lnTo>
                      <a:pt x="2625" y="2144"/>
                    </a:lnTo>
                    <a:lnTo>
                      <a:pt x="2686" y="2138"/>
                    </a:lnTo>
                    <a:lnTo>
                      <a:pt x="2748" y="2133"/>
                    </a:lnTo>
                    <a:lnTo>
                      <a:pt x="2804" y="2125"/>
                    </a:lnTo>
                    <a:lnTo>
                      <a:pt x="2829" y="2121"/>
                    </a:lnTo>
                    <a:lnTo>
                      <a:pt x="2851" y="2118"/>
                    </a:lnTo>
                    <a:lnTo>
                      <a:pt x="2869" y="2113"/>
                    </a:lnTo>
                    <a:lnTo>
                      <a:pt x="2882" y="2110"/>
                    </a:lnTo>
                    <a:lnTo>
                      <a:pt x="2889" y="2106"/>
                    </a:lnTo>
                    <a:lnTo>
                      <a:pt x="2895" y="2103"/>
                    </a:lnTo>
                    <a:lnTo>
                      <a:pt x="2899" y="2097"/>
                    </a:lnTo>
                    <a:lnTo>
                      <a:pt x="2903" y="2091"/>
                    </a:lnTo>
                    <a:lnTo>
                      <a:pt x="2906" y="2085"/>
                    </a:lnTo>
                    <a:lnTo>
                      <a:pt x="2907" y="2077"/>
                    </a:lnTo>
                    <a:lnTo>
                      <a:pt x="2908" y="2068"/>
                    </a:lnTo>
                    <a:lnTo>
                      <a:pt x="2910" y="2060"/>
                    </a:lnTo>
                    <a:lnTo>
                      <a:pt x="2910" y="2042"/>
                    </a:lnTo>
                    <a:lnTo>
                      <a:pt x="2908" y="2023"/>
                    </a:lnTo>
                    <a:lnTo>
                      <a:pt x="2908" y="2003"/>
                    </a:lnTo>
                    <a:lnTo>
                      <a:pt x="2910" y="1985"/>
                    </a:lnTo>
                    <a:lnTo>
                      <a:pt x="3063" y="1894"/>
                    </a:lnTo>
                    <a:lnTo>
                      <a:pt x="3075" y="1894"/>
                    </a:lnTo>
                    <a:lnTo>
                      <a:pt x="3083" y="1894"/>
                    </a:lnTo>
                    <a:lnTo>
                      <a:pt x="3088" y="1894"/>
                    </a:lnTo>
                    <a:lnTo>
                      <a:pt x="3093" y="1894"/>
                    </a:lnTo>
                    <a:lnTo>
                      <a:pt x="3098" y="1894"/>
                    </a:lnTo>
                    <a:lnTo>
                      <a:pt x="3103" y="1894"/>
                    </a:lnTo>
                    <a:lnTo>
                      <a:pt x="3110" y="1894"/>
                    </a:lnTo>
                    <a:lnTo>
                      <a:pt x="3118" y="1894"/>
                    </a:lnTo>
                    <a:lnTo>
                      <a:pt x="3140" y="1894"/>
                    </a:lnTo>
                    <a:lnTo>
                      <a:pt x="3164" y="1892"/>
                    </a:lnTo>
                    <a:lnTo>
                      <a:pt x="3188" y="1888"/>
                    </a:lnTo>
                    <a:lnTo>
                      <a:pt x="3212" y="1883"/>
                    </a:lnTo>
                    <a:lnTo>
                      <a:pt x="3237" y="1876"/>
                    </a:lnTo>
                    <a:lnTo>
                      <a:pt x="3263" y="1865"/>
                    </a:lnTo>
                    <a:lnTo>
                      <a:pt x="3287" y="1855"/>
                    </a:lnTo>
                    <a:lnTo>
                      <a:pt x="3310" y="1843"/>
                    </a:lnTo>
                    <a:lnTo>
                      <a:pt x="3333" y="1829"/>
                    </a:lnTo>
                    <a:lnTo>
                      <a:pt x="3353" y="1813"/>
                    </a:lnTo>
                    <a:lnTo>
                      <a:pt x="3362" y="1805"/>
                    </a:lnTo>
                    <a:lnTo>
                      <a:pt x="3372" y="1796"/>
                    </a:lnTo>
                    <a:lnTo>
                      <a:pt x="3380" y="1786"/>
                    </a:lnTo>
                    <a:lnTo>
                      <a:pt x="3386" y="1777"/>
                    </a:lnTo>
                    <a:lnTo>
                      <a:pt x="3393" y="1768"/>
                    </a:lnTo>
                    <a:lnTo>
                      <a:pt x="3400" y="1758"/>
                    </a:lnTo>
                    <a:lnTo>
                      <a:pt x="3405" y="1747"/>
                    </a:lnTo>
                    <a:lnTo>
                      <a:pt x="3409" y="1737"/>
                    </a:lnTo>
                    <a:lnTo>
                      <a:pt x="3413" y="1726"/>
                    </a:lnTo>
                    <a:lnTo>
                      <a:pt x="3416" y="1715"/>
                    </a:lnTo>
                    <a:lnTo>
                      <a:pt x="3417" y="1704"/>
                    </a:lnTo>
                    <a:lnTo>
                      <a:pt x="3419" y="1692"/>
                    </a:lnTo>
                    <a:lnTo>
                      <a:pt x="3463" y="1691"/>
                    </a:lnTo>
                    <a:lnTo>
                      <a:pt x="3499" y="1689"/>
                    </a:lnTo>
                    <a:lnTo>
                      <a:pt x="3528" y="1687"/>
                    </a:lnTo>
                    <a:lnTo>
                      <a:pt x="3552" y="1685"/>
                    </a:lnTo>
                    <a:lnTo>
                      <a:pt x="3573" y="1684"/>
                    </a:lnTo>
                    <a:lnTo>
                      <a:pt x="3593" y="1685"/>
                    </a:lnTo>
                    <a:lnTo>
                      <a:pt x="3602" y="1688"/>
                    </a:lnTo>
                    <a:lnTo>
                      <a:pt x="3612" y="1690"/>
                    </a:lnTo>
                    <a:lnTo>
                      <a:pt x="3623" y="1695"/>
                    </a:lnTo>
                    <a:lnTo>
                      <a:pt x="3634" y="1699"/>
                    </a:lnTo>
                    <a:lnTo>
                      <a:pt x="3643" y="1693"/>
                    </a:lnTo>
                    <a:lnTo>
                      <a:pt x="3652" y="1689"/>
                    </a:lnTo>
                    <a:lnTo>
                      <a:pt x="3659" y="1683"/>
                    </a:lnTo>
                    <a:lnTo>
                      <a:pt x="3665" y="1677"/>
                    </a:lnTo>
                    <a:lnTo>
                      <a:pt x="3671" y="1672"/>
                    </a:lnTo>
                    <a:lnTo>
                      <a:pt x="3674" y="1666"/>
                    </a:lnTo>
                    <a:lnTo>
                      <a:pt x="3678" y="1660"/>
                    </a:lnTo>
                    <a:lnTo>
                      <a:pt x="3681" y="1654"/>
                    </a:lnTo>
                    <a:lnTo>
                      <a:pt x="3686" y="1642"/>
                    </a:lnTo>
                    <a:lnTo>
                      <a:pt x="3689" y="1627"/>
                    </a:lnTo>
                    <a:lnTo>
                      <a:pt x="3693" y="1612"/>
                    </a:lnTo>
                    <a:lnTo>
                      <a:pt x="3697" y="1595"/>
                    </a:lnTo>
                    <a:lnTo>
                      <a:pt x="3681" y="1591"/>
                    </a:lnTo>
                    <a:lnTo>
                      <a:pt x="3666" y="1588"/>
                    </a:lnTo>
                    <a:lnTo>
                      <a:pt x="3651" y="1584"/>
                    </a:lnTo>
                    <a:lnTo>
                      <a:pt x="3636" y="1580"/>
                    </a:lnTo>
                    <a:lnTo>
                      <a:pt x="3623" y="1574"/>
                    </a:lnTo>
                    <a:lnTo>
                      <a:pt x="3609" y="1568"/>
                    </a:lnTo>
                    <a:lnTo>
                      <a:pt x="3596" y="1563"/>
                    </a:lnTo>
                    <a:lnTo>
                      <a:pt x="3585" y="1555"/>
                    </a:lnTo>
                    <a:lnTo>
                      <a:pt x="3575" y="1548"/>
                    </a:lnTo>
                    <a:lnTo>
                      <a:pt x="3565" y="1539"/>
                    </a:lnTo>
                    <a:lnTo>
                      <a:pt x="3557" y="1529"/>
                    </a:lnTo>
                    <a:lnTo>
                      <a:pt x="3549" y="1519"/>
                    </a:lnTo>
                    <a:lnTo>
                      <a:pt x="3544" y="1508"/>
                    </a:lnTo>
                    <a:lnTo>
                      <a:pt x="3540" y="1496"/>
                    </a:lnTo>
                    <a:lnTo>
                      <a:pt x="3538" y="1482"/>
                    </a:lnTo>
                    <a:lnTo>
                      <a:pt x="3537" y="1469"/>
                    </a:lnTo>
                    <a:lnTo>
                      <a:pt x="3522" y="1466"/>
                    </a:lnTo>
                    <a:lnTo>
                      <a:pt x="3509" y="1466"/>
                    </a:lnTo>
                    <a:lnTo>
                      <a:pt x="3498" y="1465"/>
                    </a:lnTo>
                    <a:lnTo>
                      <a:pt x="3487" y="1465"/>
                    </a:lnTo>
                    <a:lnTo>
                      <a:pt x="3477" y="1465"/>
                    </a:lnTo>
                    <a:lnTo>
                      <a:pt x="3469" y="1465"/>
                    </a:lnTo>
                    <a:lnTo>
                      <a:pt x="3461" y="1464"/>
                    </a:lnTo>
                    <a:lnTo>
                      <a:pt x="3453" y="1462"/>
                    </a:lnTo>
                    <a:lnTo>
                      <a:pt x="3453" y="1450"/>
                    </a:lnTo>
                    <a:lnTo>
                      <a:pt x="3454" y="1440"/>
                    </a:lnTo>
                    <a:lnTo>
                      <a:pt x="3456" y="1430"/>
                    </a:lnTo>
                    <a:lnTo>
                      <a:pt x="3459" y="1419"/>
                    </a:lnTo>
                    <a:lnTo>
                      <a:pt x="3464" y="1401"/>
                    </a:lnTo>
                    <a:lnTo>
                      <a:pt x="3469" y="1383"/>
                    </a:lnTo>
                    <a:lnTo>
                      <a:pt x="3470" y="1373"/>
                    </a:lnTo>
                    <a:lnTo>
                      <a:pt x="3471" y="1365"/>
                    </a:lnTo>
                    <a:lnTo>
                      <a:pt x="3471" y="1356"/>
                    </a:lnTo>
                    <a:lnTo>
                      <a:pt x="3470" y="1347"/>
                    </a:lnTo>
                    <a:lnTo>
                      <a:pt x="3468" y="1338"/>
                    </a:lnTo>
                    <a:lnTo>
                      <a:pt x="3464" y="1329"/>
                    </a:lnTo>
                    <a:lnTo>
                      <a:pt x="3460" y="1318"/>
                    </a:lnTo>
                    <a:lnTo>
                      <a:pt x="3453" y="1309"/>
                    </a:lnTo>
                    <a:lnTo>
                      <a:pt x="3476" y="1313"/>
                    </a:lnTo>
                    <a:lnTo>
                      <a:pt x="3499" y="1317"/>
                    </a:lnTo>
                    <a:lnTo>
                      <a:pt x="3521" y="1322"/>
                    </a:lnTo>
                    <a:lnTo>
                      <a:pt x="3541" y="1325"/>
                    </a:lnTo>
                    <a:lnTo>
                      <a:pt x="3552" y="1326"/>
                    </a:lnTo>
                    <a:lnTo>
                      <a:pt x="3562" y="1328"/>
                    </a:lnTo>
                    <a:lnTo>
                      <a:pt x="3572" y="1328"/>
                    </a:lnTo>
                    <a:lnTo>
                      <a:pt x="3583" y="1328"/>
                    </a:lnTo>
                    <a:lnTo>
                      <a:pt x="3592" y="1326"/>
                    </a:lnTo>
                    <a:lnTo>
                      <a:pt x="3601" y="1324"/>
                    </a:lnTo>
                    <a:lnTo>
                      <a:pt x="3611" y="1321"/>
                    </a:lnTo>
                    <a:lnTo>
                      <a:pt x="3620" y="1316"/>
                    </a:lnTo>
                    <a:lnTo>
                      <a:pt x="3618" y="1331"/>
                    </a:lnTo>
                    <a:lnTo>
                      <a:pt x="3617" y="1345"/>
                    </a:lnTo>
                    <a:lnTo>
                      <a:pt x="3617" y="1359"/>
                    </a:lnTo>
                    <a:lnTo>
                      <a:pt x="3619" y="1370"/>
                    </a:lnTo>
                    <a:lnTo>
                      <a:pt x="3622" y="1375"/>
                    </a:lnTo>
                    <a:lnTo>
                      <a:pt x="3624" y="1379"/>
                    </a:lnTo>
                    <a:lnTo>
                      <a:pt x="3627" y="1383"/>
                    </a:lnTo>
                    <a:lnTo>
                      <a:pt x="3631" y="1386"/>
                    </a:lnTo>
                    <a:lnTo>
                      <a:pt x="3635" y="1388"/>
                    </a:lnTo>
                    <a:lnTo>
                      <a:pt x="3641" y="1391"/>
                    </a:lnTo>
                    <a:lnTo>
                      <a:pt x="3648" y="1392"/>
                    </a:lnTo>
                    <a:lnTo>
                      <a:pt x="3655" y="1392"/>
                    </a:lnTo>
                    <a:lnTo>
                      <a:pt x="3662" y="1392"/>
                    </a:lnTo>
                    <a:lnTo>
                      <a:pt x="3667" y="1390"/>
                    </a:lnTo>
                    <a:lnTo>
                      <a:pt x="3673" y="1387"/>
                    </a:lnTo>
                    <a:lnTo>
                      <a:pt x="3679" y="1384"/>
                    </a:lnTo>
                    <a:lnTo>
                      <a:pt x="3690" y="1375"/>
                    </a:lnTo>
                    <a:lnTo>
                      <a:pt x="3702" y="1364"/>
                    </a:lnTo>
                    <a:lnTo>
                      <a:pt x="3714" y="1354"/>
                    </a:lnTo>
                    <a:lnTo>
                      <a:pt x="3727" y="1345"/>
                    </a:lnTo>
                    <a:lnTo>
                      <a:pt x="3735" y="1341"/>
                    </a:lnTo>
                    <a:lnTo>
                      <a:pt x="3742" y="1339"/>
                    </a:lnTo>
                    <a:lnTo>
                      <a:pt x="3750" y="1337"/>
                    </a:lnTo>
                    <a:lnTo>
                      <a:pt x="3759" y="1337"/>
                    </a:lnTo>
                    <a:lnTo>
                      <a:pt x="3772" y="1338"/>
                    </a:lnTo>
                    <a:lnTo>
                      <a:pt x="3785" y="1341"/>
                    </a:lnTo>
                    <a:lnTo>
                      <a:pt x="3799" y="1347"/>
                    </a:lnTo>
                    <a:lnTo>
                      <a:pt x="3814" y="1354"/>
                    </a:lnTo>
                    <a:lnTo>
                      <a:pt x="3829" y="1362"/>
                    </a:lnTo>
                    <a:lnTo>
                      <a:pt x="3844" y="1372"/>
                    </a:lnTo>
                    <a:lnTo>
                      <a:pt x="3859" y="1383"/>
                    </a:lnTo>
                    <a:lnTo>
                      <a:pt x="3874" y="1394"/>
                    </a:lnTo>
                    <a:lnTo>
                      <a:pt x="3886" y="1406"/>
                    </a:lnTo>
                    <a:lnTo>
                      <a:pt x="3900" y="1418"/>
                    </a:lnTo>
                    <a:lnTo>
                      <a:pt x="3910" y="1431"/>
                    </a:lnTo>
                    <a:lnTo>
                      <a:pt x="3921" y="1442"/>
                    </a:lnTo>
                    <a:lnTo>
                      <a:pt x="3929" y="1454"/>
                    </a:lnTo>
                    <a:lnTo>
                      <a:pt x="3936" y="1464"/>
                    </a:lnTo>
                    <a:lnTo>
                      <a:pt x="3939" y="1474"/>
                    </a:lnTo>
                    <a:lnTo>
                      <a:pt x="3940" y="1482"/>
                    </a:lnTo>
                    <a:lnTo>
                      <a:pt x="3936" y="1493"/>
                    </a:lnTo>
                    <a:lnTo>
                      <a:pt x="3930" y="1505"/>
                    </a:lnTo>
                    <a:lnTo>
                      <a:pt x="3922" y="1520"/>
                    </a:lnTo>
                    <a:lnTo>
                      <a:pt x="3913" y="1536"/>
                    </a:lnTo>
                    <a:lnTo>
                      <a:pt x="3904" y="1552"/>
                    </a:lnTo>
                    <a:lnTo>
                      <a:pt x="3896" y="1568"/>
                    </a:lnTo>
                    <a:lnTo>
                      <a:pt x="3889" y="1582"/>
                    </a:lnTo>
                    <a:lnTo>
                      <a:pt x="3884" y="1595"/>
                    </a:lnTo>
                    <a:lnTo>
                      <a:pt x="3893" y="1598"/>
                    </a:lnTo>
                    <a:lnTo>
                      <a:pt x="3902" y="1601"/>
                    </a:lnTo>
                    <a:lnTo>
                      <a:pt x="3910" y="1602"/>
                    </a:lnTo>
                    <a:lnTo>
                      <a:pt x="3918" y="1603"/>
                    </a:lnTo>
                    <a:lnTo>
                      <a:pt x="3935" y="1604"/>
                    </a:lnTo>
                    <a:lnTo>
                      <a:pt x="3951" y="1602"/>
                    </a:lnTo>
                    <a:lnTo>
                      <a:pt x="3967" y="1599"/>
                    </a:lnTo>
                    <a:lnTo>
                      <a:pt x="3983" y="1597"/>
                    </a:lnTo>
                    <a:lnTo>
                      <a:pt x="3999" y="1595"/>
                    </a:lnTo>
                    <a:lnTo>
                      <a:pt x="4017" y="1595"/>
                    </a:lnTo>
                    <a:lnTo>
                      <a:pt x="4011" y="1612"/>
                    </a:lnTo>
                    <a:lnTo>
                      <a:pt x="4006" y="1628"/>
                    </a:lnTo>
                    <a:lnTo>
                      <a:pt x="4000" y="1643"/>
                    </a:lnTo>
                    <a:lnTo>
                      <a:pt x="3993" y="1657"/>
                    </a:lnTo>
                    <a:lnTo>
                      <a:pt x="3987" y="1672"/>
                    </a:lnTo>
                    <a:lnTo>
                      <a:pt x="3983" y="1687"/>
                    </a:lnTo>
                    <a:lnTo>
                      <a:pt x="3978" y="1703"/>
                    </a:lnTo>
                    <a:lnTo>
                      <a:pt x="3975" y="1720"/>
                    </a:lnTo>
                    <a:lnTo>
                      <a:pt x="3976" y="1727"/>
                    </a:lnTo>
                    <a:lnTo>
                      <a:pt x="3977" y="1734"/>
                    </a:lnTo>
                    <a:lnTo>
                      <a:pt x="3978" y="1739"/>
                    </a:lnTo>
                    <a:lnTo>
                      <a:pt x="3982" y="1745"/>
                    </a:lnTo>
                    <a:lnTo>
                      <a:pt x="3985" y="1750"/>
                    </a:lnTo>
                    <a:lnTo>
                      <a:pt x="3988" y="1754"/>
                    </a:lnTo>
                    <a:lnTo>
                      <a:pt x="3993" y="1759"/>
                    </a:lnTo>
                    <a:lnTo>
                      <a:pt x="3998" y="1763"/>
                    </a:lnTo>
                    <a:lnTo>
                      <a:pt x="4009" y="1770"/>
                    </a:lnTo>
                    <a:lnTo>
                      <a:pt x="4022" y="1775"/>
                    </a:lnTo>
                    <a:lnTo>
                      <a:pt x="4037" y="1779"/>
                    </a:lnTo>
                    <a:lnTo>
                      <a:pt x="4051" y="1783"/>
                    </a:lnTo>
                    <a:lnTo>
                      <a:pt x="4068" y="1785"/>
                    </a:lnTo>
                    <a:lnTo>
                      <a:pt x="4084" y="1787"/>
                    </a:lnTo>
                    <a:lnTo>
                      <a:pt x="4100" y="1789"/>
                    </a:lnTo>
                    <a:lnTo>
                      <a:pt x="4116" y="1790"/>
                    </a:lnTo>
                    <a:lnTo>
                      <a:pt x="4145" y="1790"/>
                    </a:lnTo>
                    <a:lnTo>
                      <a:pt x="4170" y="1790"/>
                    </a:lnTo>
                    <a:lnTo>
                      <a:pt x="4186" y="1790"/>
                    </a:lnTo>
                    <a:lnTo>
                      <a:pt x="4199" y="1790"/>
                    </a:lnTo>
                    <a:lnTo>
                      <a:pt x="4212" y="1787"/>
                    </a:lnTo>
                    <a:lnTo>
                      <a:pt x="4222" y="1785"/>
                    </a:lnTo>
                    <a:lnTo>
                      <a:pt x="4230" y="1782"/>
                    </a:lnTo>
                    <a:lnTo>
                      <a:pt x="4237" y="1777"/>
                    </a:lnTo>
                    <a:lnTo>
                      <a:pt x="4244" y="1771"/>
                    </a:lnTo>
                    <a:lnTo>
                      <a:pt x="4250" y="1765"/>
                    </a:lnTo>
                    <a:lnTo>
                      <a:pt x="4258" y="1751"/>
                    </a:lnTo>
                    <a:lnTo>
                      <a:pt x="4265" y="1735"/>
                    </a:lnTo>
                    <a:lnTo>
                      <a:pt x="4273" y="1718"/>
                    </a:lnTo>
                    <a:lnTo>
                      <a:pt x="4282" y="1699"/>
                    </a:lnTo>
                    <a:lnTo>
                      <a:pt x="4319" y="1617"/>
                    </a:lnTo>
                    <a:lnTo>
                      <a:pt x="4353" y="1544"/>
                    </a:lnTo>
                    <a:lnTo>
                      <a:pt x="4385" y="1477"/>
                    </a:lnTo>
                    <a:lnTo>
                      <a:pt x="4414" y="1411"/>
                    </a:lnTo>
                    <a:lnTo>
                      <a:pt x="4428" y="1378"/>
                    </a:lnTo>
                    <a:lnTo>
                      <a:pt x="4440" y="1343"/>
                    </a:lnTo>
                    <a:lnTo>
                      <a:pt x="4452" y="1306"/>
                    </a:lnTo>
                    <a:lnTo>
                      <a:pt x="4463" y="1266"/>
                    </a:lnTo>
                    <a:lnTo>
                      <a:pt x="4475" y="1223"/>
                    </a:lnTo>
                    <a:lnTo>
                      <a:pt x="4485" y="1177"/>
                    </a:lnTo>
                    <a:lnTo>
                      <a:pt x="4495" y="1127"/>
                    </a:lnTo>
                    <a:lnTo>
                      <a:pt x="4504" y="1072"/>
                    </a:lnTo>
                    <a:lnTo>
                      <a:pt x="4511" y="1033"/>
                    </a:lnTo>
                    <a:lnTo>
                      <a:pt x="4519" y="990"/>
                    </a:lnTo>
                    <a:lnTo>
                      <a:pt x="4528" y="946"/>
                    </a:lnTo>
                    <a:lnTo>
                      <a:pt x="4538" y="900"/>
                    </a:lnTo>
                    <a:lnTo>
                      <a:pt x="4546" y="854"/>
                    </a:lnTo>
                    <a:lnTo>
                      <a:pt x="4554" y="811"/>
                    </a:lnTo>
                    <a:lnTo>
                      <a:pt x="4556" y="791"/>
                    </a:lnTo>
                    <a:lnTo>
                      <a:pt x="4558" y="773"/>
                    </a:lnTo>
                    <a:lnTo>
                      <a:pt x="4559" y="754"/>
                    </a:lnTo>
                    <a:lnTo>
                      <a:pt x="4561" y="738"/>
                    </a:lnTo>
                    <a:lnTo>
                      <a:pt x="4559" y="730"/>
                    </a:lnTo>
                    <a:lnTo>
                      <a:pt x="4558" y="723"/>
                    </a:lnTo>
                    <a:lnTo>
                      <a:pt x="4555" y="717"/>
                    </a:lnTo>
                    <a:lnTo>
                      <a:pt x="4553" y="712"/>
                    </a:lnTo>
                    <a:lnTo>
                      <a:pt x="4543" y="703"/>
                    </a:lnTo>
                    <a:lnTo>
                      <a:pt x="4533" y="695"/>
                    </a:lnTo>
                    <a:lnTo>
                      <a:pt x="4522" y="686"/>
                    </a:lnTo>
                    <a:lnTo>
                      <a:pt x="4510" y="678"/>
                    </a:lnTo>
                    <a:lnTo>
                      <a:pt x="4500" y="670"/>
                    </a:lnTo>
                    <a:lnTo>
                      <a:pt x="4491" y="661"/>
                    </a:lnTo>
                    <a:lnTo>
                      <a:pt x="4480" y="647"/>
                    </a:lnTo>
                    <a:lnTo>
                      <a:pt x="4471" y="633"/>
                    </a:lnTo>
                    <a:lnTo>
                      <a:pt x="4463" y="614"/>
                    </a:lnTo>
                    <a:lnTo>
                      <a:pt x="4456" y="594"/>
                    </a:lnTo>
                    <a:lnTo>
                      <a:pt x="4449" y="572"/>
                    </a:lnTo>
                    <a:lnTo>
                      <a:pt x="4444" y="549"/>
                    </a:lnTo>
                    <a:lnTo>
                      <a:pt x="4439" y="524"/>
                    </a:lnTo>
                    <a:lnTo>
                      <a:pt x="4434" y="498"/>
                    </a:lnTo>
                    <a:lnTo>
                      <a:pt x="4428" y="446"/>
                    </a:lnTo>
                    <a:lnTo>
                      <a:pt x="4424" y="394"/>
                    </a:lnTo>
                    <a:lnTo>
                      <a:pt x="4422" y="344"/>
                    </a:lnTo>
                    <a:lnTo>
                      <a:pt x="4421" y="299"/>
                    </a:lnTo>
                    <a:lnTo>
                      <a:pt x="4402" y="295"/>
                    </a:lnTo>
                    <a:lnTo>
                      <a:pt x="4381" y="290"/>
                    </a:lnTo>
                    <a:lnTo>
                      <a:pt x="4354" y="284"/>
                    </a:lnTo>
                    <a:lnTo>
                      <a:pt x="4325" y="275"/>
                    </a:lnTo>
                    <a:lnTo>
                      <a:pt x="4295" y="266"/>
                    </a:lnTo>
                    <a:lnTo>
                      <a:pt x="4262" y="254"/>
                    </a:lnTo>
                    <a:lnTo>
                      <a:pt x="4230" y="242"/>
                    </a:lnTo>
                    <a:lnTo>
                      <a:pt x="4198" y="229"/>
                    </a:lnTo>
                    <a:lnTo>
                      <a:pt x="4166" y="214"/>
                    </a:lnTo>
                    <a:lnTo>
                      <a:pt x="4137" y="198"/>
                    </a:lnTo>
                    <a:lnTo>
                      <a:pt x="4123" y="190"/>
                    </a:lnTo>
                    <a:lnTo>
                      <a:pt x="4110" y="182"/>
                    </a:lnTo>
                    <a:lnTo>
                      <a:pt x="4097" y="174"/>
                    </a:lnTo>
                    <a:lnTo>
                      <a:pt x="4086" y="165"/>
                    </a:lnTo>
                    <a:lnTo>
                      <a:pt x="4076" y="155"/>
                    </a:lnTo>
                    <a:lnTo>
                      <a:pt x="4066" y="146"/>
                    </a:lnTo>
                    <a:lnTo>
                      <a:pt x="4057" y="137"/>
                    </a:lnTo>
                    <a:lnTo>
                      <a:pt x="4050" y="128"/>
                    </a:lnTo>
                    <a:lnTo>
                      <a:pt x="4046" y="119"/>
                    </a:lnTo>
                    <a:lnTo>
                      <a:pt x="4041" y="110"/>
                    </a:lnTo>
                    <a:lnTo>
                      <a:pt x="4039" y="99"/>
                    </a:lnTo>
                    <a:lnTo>
                      <a:pt x="4038" y="90"/>
                    </a:lnTo>
                    <a:lnTo>
                      <a:pt x="4039" y="82"/>
                    </a:lnTo>
                    <a:lnTo>
                      <a:pt x="4040" y="75"/>
                    </a:lnTo>
                    <a:lnTo>
                      <a:pt x="4042" y="68"/>
                    </a:lnTo>
                    <a:lnTo>
                      <a:pt x="4046" y="63"/>
                    </a:lnTo>
                    <a:lnTo>
                      <a:pt x="4054" y="50"/>
                    </a:lnTo>
                    <a:lnTo>
                      <a:pt x="4063" y="40"/>
                    </a:lnTo>
                    <a:lnTo>
                      <a:pt x="4073" y="29"/>
                    </a:lnTo>
                    <a:lnTo>
                      <a:pt x="4082" y="19"/>
                    </a:lnTo>
                    <a:lnTo>
                      <a:pt x="4086" y="14"/>
                    </a:lnTo>
                    <a:lnTo>
                      <a:pt x="4089" y="10"/>
                    </a:lnTo>
                    <a:lnTo>
                      <a:pt x="4092" y="4"/>
                    </a:lnTo>
                    <a:lnTo>
                      <a:pt x="4094" y="0"/>
                    </a:lnTo>
                    <a:lnTo>
                      <a:pt x="4073" y="0"/>
                    </a:lnTo>
                    <a:lnTo>
                      <a:pt x="4054" y="1"/>
                    </a:lnTo>
                    <a:lnTo>
                      <a:pt x="4037" y="1"/>
                    </a:lnTo>
                    <a:lnTo>
                      <a:pt x="4021" y="2"/>
                    </a:lnTo>
                    <a:lnTo>
                      <a:pt x="4006" y="3"/>
                    </a:lnTo>
                    <a:lnTo>
                      <a:pt x="3992" y="2"/>
                    </a:lnTo>
                    <a:lnTo>
                      <a:pt x="3979" y="2"/>
                    </a:lnTo>
                    <a:lnTo>
                      <a:pt x="3968" y="0"/>
                    </a:lnTo>
                    <a:lnTo>
                      <a:pt x="3968" y="8"/>
                    </a:lnTo>
                    <a:lnTo>
                      <a:pt x="3968" y="16"/>
                    </a:lnTo>
                    <a:lnTo>
                      <a:pt x="3968" y="25"/>
                    </a:lnTo>
                    <a:lnTo>
                      <a:pt x="3968" y="33"/>
                    </a:lnTo>
                    <a:lnTo>
                      <a:pt x="3968" y="40"/>
                    </a:lnTo>
                    <a:lnTo>
                      <a:pt x="3968" y="47"/>
                    </a:lnTo>
                    <a:lnTo>
                      <a:pt x="3968" y="51"/>
                    </a:lnTo>
                    <a:lnTo>
                      <a:pt x="3968" y="55"/>
                    </a:lnTo>
                    <a:lnTo>
                      <a:pt x="3947" y="55"/>
                    </a:lnTo>
                    <a:lnTo>
                      <a:pt x="3929" y="55"/>
                    </a:lnTo>
                    <a:lnTo>
                      <a:pt x="3915" y="53"/>
                    </a:lnTo>
                    <a:lnTo>
                      <a:pt x="3902" y="51"/>
                    </a:lnTo>
                    <a:lnTo>
                      <a:pt x="3891" y="50"/>
                    </a:lnTo>
                    <a:lnTo>
                      <a:pt x="3879" y="49"/>
                    </a:lnTo>
                    <a:lnTo>
                      <a:pt x="3869" y="49"/>
                    </a:lnTo>
                    <a:lnTo>
                      <a:pt x="3857" y="48"/>
                    </a:lnTo>
                    <a:lnTo>
                      <a:pt x="3836" y="49"/>
                    </a:lnTo>
                    <a:lnTo>
                      <a:pt x="3814" y="53"/>
                    </a:lnTo>
                    <a:lnTo>
                      <a:pt x="3790" y="58"/>
                    </a:lnTo>
                    <a:lnTo>
                      <a:pt x="3764" y="66"/>
                    </a:lnTo>
                    <a:lnTo>
                      <a:pt x="3710" y="83"/>
                    </a:lnTo>
                    <a:lnTo>
                      <a:pt x="3654" y="104"/>
                    </a:lnTo>
                    <a:lnTo>
                      <a:pt x="3597" y="125"/>
                    </a:lnTo>
                    <a:lnTo>
                      <a:pt x="3542" y="142"/>
                    </a:lnTo>
                    <a:lnTo>
                      <a:pt x="3516" y="150"/>
                    </a:lnTo>
                    <a:lnTo>
                      <a:pt x="3491" y="154"/>
                    </a:lnTo>
                    <a:lnTo>
                      <a:pt x="3468" y="158"/>
                    </a:lnTo>
                    <a:lnTo>
                      <a:pt x="3446" y="160"/>
                    </a:lnTo>
                    <a:lnTo>
                      <a:pt x="3431" y="159"/>
                    </a:lnTo>
                    <a:lnTo>
                      <a:pt x="3417" y="157"/>
                    </a:lnTo>
                    <a:lnTo>
                      <a:pt x="3406" y="154"/>
                    </a:lnTo>
                    <a:lnTo>
                      <a:pt x="3395" y="150"/>
                    </a:lnTo>
                    <a:lnTo>
                      <a:pt x="3384" y="145"/>
                    </a:lnTo>
                    <a:lnTo>
                      <a:pt x="3375" y="139"/>
                    </a:lnTo>
                    <a:lnTo>
                      <a:pt x="3366" y="134"/>
                    </a:lnTo>
                    <a:lnTo>
                      <a:pt x="3358" y="128"/>
                    </a:lnTo>
                    <a:lnTo>
                      <a:pt x="3342" y="116"/>
                    </a:lnTo>
                    <a:lnTo>
                      <a:pt x="3326" y="106"/>
                    </a:lnTo>
                    <a:lnTo>
                      <a:pt x="3317" y="103"/>
                    </a:lnTo>
                    <a:lnTo>
                      <a:pt x="3307" y="99"/>
                    </a:lnTo>
                    <a:lnTo>
                      <a:pt x="3297" y="98"/>
                    </a:lnTo>
                    <a:lnTo>
                      <a:pt x="3286" y="97"/>
                    </a:lnTo>
                    <a:lnTo>
                      <a:pt x="3274" y="98"/>
                    </a:lnTo>
                    <a:lnTo>
                      <a:pt x="3265" y="99"/>
                    </a:lnTo>
                    <a:lnTo>
                      <a:pt x="3256" y="103"/>
                    </a:lnTo>
                    <a:lnTo>
                      <a:pt x="3248" y="108"/>
                    </a:lnTo>
                    <a:lnTo>
                      <a:pt x="3241" y="114"/>
                    </a:lnTo>
                    <a:lnTo>
                      <a:pt x="3234" y="121"/>
                    </a:lnTo>
                    <a:lnTo>
                      <a:pt x="3229" y="128"/>
                    </a:lnTo>
                    <a:lnTo>
                      <a:pt x="3224" y="137"/>
                    </a:lnTo>
                    <a:lnTo>
                      <a:pt x="3220" y="146"/>
                    </a:lnTo>
                    <a:lnTo>
                      <a:pt x="3217" y="157"/>
                    </a:lnTo>
                    <a:lnTo>
                      <a:pt x="3215" y="167"/>
                    </a:lnTo>
                    <a:lnTo>
                      <a:pt x="3211" y="178"/>
                    </a:lnTo>
                    <a:lnTo>
                      <a:pt x="3208" y="201"/>
                    </a:lnTo>
                    <a:lnTo>
                      <a:pt x="3205" y="225"/>
                    </a:lnTo>
                    <a:lnTo>
                      <a:pt x="3202" y="274"/>
                    </a:lnTo>
                    <a:lnTo>
                      <a:pt x="3197" y="314"/>
                    </a:lnTo>
                    <a:lnTo>
                      <a:pt x="3196" y="323"/>
                    </a:lnTo>
                    <a:lnTo>
                      <a:pt x="3194" y="331"/>
                    </a:lnTo>
                    <a:lnTo>
                      <a:pt x="3190" y="338"/>
                    </a:lnTo>
                    <a:lnTo>
                      <a:pt x="3187" y="344"/>
                    </a:lnTo>
                    <a:lnTo>
                      <a:pt x="3184" y="348"/>
                    </a:lnTo>
                    <a:lnTo>
                      <a:pt x="3179" y="352"/>
                    </a:lnTo>
                    <a:lnTo>
                      <a:pt x="3173" y="354"/>
                    </a:lnTo>
                    <a:lnTo>
                      <a:pt x="3168" y="355"/>
                    </a:lnTo>
                    <a:lnTo>
                      <a:pt x="3155" y="354"/>
                    </a:lnTo>
                    <a:lnTo>
                      <a:pt x="3143" y="350"/>
                    </a:lnTo>
                    <a:lnTo>
                      <a:pt x="3132" y="346"/>
                    </a:lnTo>
                    <a:lnTo>
                      <a:pt x="3122" y="340"/>
                    </a:lnTo>
                    <a:lnTo>
                      <a:pt x="3102" y="326"/>
                    </a:lnTo>
                    <a:lnTo>
                      <a:pt x="3083" y="309"/>
                    </a:lnTo>
                    <a:lnTo>
                      <a:pt x="3073" y="301"/>
                    </a:lnTo>
                    <a:lnTo>
                      <a:pt x="3064" y="293"/>
                    </a:lnTo>
                    <a:lnTo>
                      <a:pt x="3054" y="285"/>
                    </a:lnTo>
                    <a:lnTo>
                      <a:pt x="3043" y="278"/>
                    </a:lnTo>
                    <a:lnTo>
                      <a:pt x="3032" y="272"/>
                    </a:lnTo>
                    <a:lnTo>
                      <a:pt x="3020" y="268"/>
                    </a:lnTo>
                    <a:lnTo>
                      <a:pt x="3007" y="266"/>
                    </a:lnTo>
                    <a:lnTo>
                      <a:pt x="2993" y="264"/>
                    </a:lnTo>
                    <a:lnTo>
                      <a:pt x="2973" y="264"/>
                    </a:lnTo>
                    <a:lnTo>
                      <a:pt x="2950" y="267"/>
                    </a:lnTo>
                    <a:lnTo>
                      <a:pt x="2926" y="269"/>
                    </a:lnTo>
                    <a:lnTo>
                      <a:pt x="2900" y="274"/>
                    </a:lnTo>
                    <a:lnTo>
                      <a:pt x="2874" y="279"/>
                    </a:lnTo>
                    <a:lnTo>
                      <a:pt x="2849" y="286"/>
                    </a:lnTo>
                    <a:lnTo>
                      <a:pt x="2822" y="294"/>
                    </a:lnTo>
                    <a:lnTo>
                      <a:pt x="2797" y="303"/>
                    </a:lnTo>
                    <a:lnTo>
                      <a:pt x="2774" y="314"/>
                    </a:lnTo>
                    <a:lnTo>
                      <a:pt x="2751" y="326"/>
                    </a:lnTo>
                    <a:lnTo>
                      <a:pt x="2741" y="333"/>
                    </a:lnTo>
                    <a:lnTo>
                      <a:pt x="2732" y="340"/>
                    </a:lnTo>
                    <a:lnTo>
                      <a:pt x="2723" y="347"/>
                    </a:lnTo>
                    <a:lnTo>
                      <a:pt x="2715" y="355"/>
                    </a:lnTo>
                    <a:lnTo>
                      <a:pt x="2707" y="363"/>
                    </a:lnTo>
                    <a:lnTo>
                      <a:pt x="2700" y="372"/>
                    </a:lnTo>
                    <a:lnTo>
                      <a:pt x="2694" y="380"/>
                    </a:lnTo>
                    <a:lnTo>
                      <a:pt x="2689" y="391"/>
                    </a:lnTo>
                    <a:lnTo>
                      <a:pt x="2685" y="400"/>
                    </a:lnTo>
                    <a:lnTo>
                      <a:pt x="2683" y="410"/>
                    </a:lnTo>
                    <a:lnTo>
                      <a:pt x="2680" y="420"/>
                    </a:lnTo>
                    <a:lnTo>
                      <a:pt x="2680" y="431"/>
                    </a:lnTo>
                    <a:lnTo>
                      <a:pt x="2680" y="443"/>
                    </a:lnTo>
                    <a:lnTo>
                      <a:pt x="2681" y="456"/>
                    </a:lnTo>
                    <a:lnTo>
                      <a:pt x="2684" y="466"/>
                    </a:lnTo>
                    <a:lnTo>
                      <a:pt x="2687" y="477"/>
                    </a:lnTo>
                    <a:lnTo>
                      <a:pt x="2693" y="496"/>
                    </a:lnTo>
                    <a:lnTo>
                      <a:pt x="2701" y="513"/>
                    </a:lnTo>
                    <a:lnTo>
                      <a:pt x="2709" y="529"/>
                    </a:lnTo>
                    <a:lnTo>
                      <a:pt x="2716" y="547"/>
                    </a:lnTo>
                    <a:lnTo>
                      <a:pt x="2718" y="556"/>
                    </a:lnTo>
                    <a:lnTo>
                      <a:pt x="2720" y="565"/>
                    </a:lnTo>
                    <a:lnTo>
                      <a:pt x="2722" y="574"/>
                    </a:lnTo>
                    <a:lnTo>
                      <a:pt x="2722" y="584"/>
                    </a:lnTo>
                    <a:lnTo>
                      <a:pt x="2722" y="600"/>
                    </a:lnTo>
                    <a:lnTo>
                      <a:pt x="2719" y="614"/>
                    </a:lnTo>
                    <a:lnTo>
                      <a:pt x="2716" y="627"/>
                    </a:lnTo>
                    <a:lnTo>
                      <a:pt x="2710" y="637"/>
                    </a:lnTo>
                    <a:lnTo>
                      <a:pt x="2704" y="645"/>
                    </a:lnTo>
                    <a:lnTo>
                      <a:pt x="2696" y="653"/>
                    </a:lnTo>
                    <a:lnTo>
                      <a:pt x="2688" y="659"/>
                    </a:lnTo>
                    <a:lnTo>
                      <a:pt x="2678" y="664"/>
                    </a:lnTo>
                    <a:lnTo>
                      <a:pt x="2668" y="667"/>
                    </a:lnTo>
                    <a:lnTo>
                      <a:pt x="2655" y="670"/>
                    </a:lnTo>
                    <a:lnTo>
                      <a:pt x="2642" y="673"/>
                    </a:lnTo>
                    <a:lnTo>
                      <a:pt x="2627" y="674"/>
                    </a:lnTo>
                    <a:lnTo>
                      <a:pt x="2597" y="675"/>
                    </a:lnTo>
                    <a:lnTo>
                      <a:pt x="2562" y="675"/>
                    </a:lnTo>
                    <a:lnTo>
                      <a:pt x="2545" y="675"/>
                    </a:lnTo>
                    <a:lnTo>
                      <a:pt x="2529" y="674"/>
                    </a:lnTo>
                    <a:lnTo>
                      <a:pt x="2514" y="672"/>
                    </a:lnTo>
                    <a:lnTo>
                      <a:pt x="2500" y="669"/>
                    </a:lnTo>
                    <a:lnTo>
                      <a:pt x="2486" y="667"/>
                    </a:lnTo>
                    <a:lnTo>
                      <a:pt x="2474" y="664"/>
                    </a:lnTo>
                    <a:lnTo>
                      <a:pt x="2461" y="660"/>
                    </a:lnTo>
                    <a:lnTo>
                      <a:pt x="2449" y="656"/>
                    </a:lnTo>
                    <a:lnTo>
                      <a:pt x="2427" y="646"/>
                    </a:lnTo>
                    <a:lnTo>
                      <a:pt x="2405" y="635"/>
                    </a:lnTo>
                    <a:lnTo>
                      <a:pt x="2386" y="625"/>
                    </a:lnTo>
                    <a:lnTo>
                      <a:pt x="2366" y="612"/>
                    </a:lnTo>
                    <a:lnTo>
                      <a:pt x="2347" y="600"/>
                    </a:lnTo>
                    <a:lnTo>
                      <a:pt x="2327" y="589"/>
                    </a:lnTo>
                    <a:lnTo>
                      <a:pt x="2308" y="579"/>
                    </a:lnTo>
                    <a:lnTo>
                      <a:pt x="2287" y="570"/>
                    </a:lnTo>
                    <a:lnTo>
                      <a:pt x="2264" y="561"/>
                    </a:lnTo>
                    <a:lnTo>
                      <a:pt x="2240" y="555"/>
                    </a:lnTo>
                    <a:lnTo>
                      <a:pt x="2227" y="552"/>
                    </a:lnTo>
                    <a:lnTo>
                      <a:pt x="2215" y="551"/>
                    </a:lnTo>
                    <a:lnTo>
                      <a:pt x="2200" y="550"/>
                    </a:lnTo>
                    <a:lnTo>
                      <a:pt x="2186" y="550"/>
                    </a:lnTo>
                    <a:lnTo>
                      <a:pt x="2170" y="549"/>
                    </a:lnTo>
                    <a:lnTo>
                      <a:pt x="2156" y="549"/>
                    </a:lnTo>
                    <a:lnTo>
                      <a:pt x="2141" y="549"/>
                    </a:lnTo>
                    <a:lnTo>
                      <a:pt x="2129" y="550"/>
                    </a:lnTo>
                    <a:lnTo>
                      <a:pt x="2102" y="553"/>
                    </a:lnTo>
                    <a:lnTo>
                      <a:pt x="2077" y="557"/>
                    </a:lnTo>
                    <a:lnTo>
                      <a:pt x="2051" y="563"/>
                    </a:lnTo>
                    <a:lnTo>
                      <a:pt x="2024" y="566"/>
                    </a:lnTo>
                    <a:lnTo>
                      <a:pt x="1995" y="570"/>
                    </a:lnTo>
                    <a:lnTo>
                      <a:pt x="1962" y="571"/>
                    </a:lnTo>
                    <a:lnTo>
                      <a:pt x="1932" y="570"/>
                    </a:lnTo>
                    <a:lnTo>
                      <a:pt x="1905" y="567"/>
                    </a:lnTo>
                    <a:lnTo>
                      <a:pt x="1883" y="563"/>
                    </a:lnTo>
                    <a:lnTo>
                      <a:pt x="1865" y="557"/>
                    </a:lnTo>
                    <a:lnTo>
                      <a:pt x="1848" y="550"/>
                    </a:lnTo>
                    <a:lnTo>
                      <a:pt x="1833" y="541"/>
                    </a:lnTo>
                    <a:lnTo>
                      <a:pt x="1818" y="532"/>
                    </a:lnTo>
                    <a:lnTo>
                      <a:pt x="1803" y="521"/>
                    </a:lnTo>
                    <a:lnTo>
                      <a:pt x="1468" y="514"/>
                    </a:lnTo>
                    <a:lnTo>
                      <a:pt x="1451" y="505"/>
                    </a:lnTo>
                    <a:lnTo>
                      <a:pt x="1435" y="495"/>
                    </a:lnTo>
                    <a:lnTo>
                      <a:pt x="1418" y="487"/>
                    </a:lnTo>
                    <a:lnTo>
                      <a:pt x="1402" y="479"/>
                    </a:lnTo>
                    <a:lnTo>
                      <a:pt x="1385" y="472"/>
                    </a:lnTo>
                    <a:lnTo>
                      <a:pt x="1367" y="465"/>
                    </a:lnTo>
                    <a:lnTo>
                      <a:pt x="1350" y="459"/>
                    </a:lnTo>
                    <a:lnTo>
                      <a:pt x="1333" y="455"/>
                    </a:lnTo>
                    <a:lnTo>
                      <a:pt x="1315" y="450"/>
                    </a:lnTo>
                    <a:lnTo>
                      <a:pt x="1296" y="446"/>
                    </a:lnTo>
                    <a:lnTo>
                      <a:pt x="1278" y="442"/>
                    </a:lnTo>
                    <a:lnTo>
                      <a:pt x="1259" y="440"/>
                    </a:lnTo>
                    <a:lnTo>
                      <a:pt x="1218" y="434"/>
                    </a:lnTo>
                    <a:lnTo>
                      <a:pt x="1176" y="431"/>
                    </a:lnTo>
                    <a:lnTo>
                      <a:pt x="1166" y="432"/>
                    </a:lnTo>
                    <a:lnTo>
                      <a:pt x="1155" y="433"/>
                    </a:lnTo>
                    <a:lnTo>
                      <a:pt x="1146" y="434"/>
                    </a:lnTo>
                    <a:lnTo>
                      <a:pt x="1138" y="436"/>
                    </a:lnTo>
                    <a:lnTo>
                      <a:pt x="1130" y="440"/>
                    </a:lnTo>
                    <a:lnTo>
                      <a:pt x="1122" y="442"/>
                    </a:lnTo>
                    <a:lnTo>
                      <a:pt x="1115" y="447"/>
                    </a:lnTo>
                    <a:lnTo>
                      <a:pt x="1109" y="450"/>
                    </a:lnTo>
                    <a:lnTo>
                      <a:pt x="1098" y="461"/>
                    </a:lnTo>
                    <a:lnTo>
                      <a:pt x="1088" y="471"/>
                    </a:lnTo>
                    <a:lnTo>
                      <a:pt x="1077" y="481"/>
                    </a:lnTo>
                    <a:lnTo>
                      <a:pt x="1069" y="493"/>
                    </a:lnTo>
                    <a:lnTo>
                      <a:pt x="1060" y="504"/>
                    </a:lnTo>
                    <a:lnTo>
                      <a:pt x="1051" y="516"/>
                    </a:lnTo>
                    <a:lnTo>
                      <a:pt x="1041" y="525"/>
                    </a:lnTo>
                    <a:lnTo>
                      <a:pt x="1030" y="534"/>
                    </a:lnTo>
                    <a:lnTo>
                      <a:pt x="1025" y="537"/>
                    </a:lnTo>
                    <a:lnTo>
                      <a:pt x="1018" y="541"/>
                    </a:lnTo>
                    <a:lnTo>
                      <a:pt x="1011" y="544"/>
                    </a:lnTo>
                    <a:lnTo>
                      <a:pt x="1003" y="547"/>
                    </a:lnTo>
                    <a:lnTo>
                      <a:pt x="995" y="549"/>
                    </a:lnTo>
                    <a:lnTo>
                      <a:pt x="987" y="549"/>
                    </a:lnTo>
                    <a:lnTo>
                      <a:pt x="978" y="550"/>
                    </a:lnTo>
                    <a:lnTo>
                      <a:pt x="967" y="550"/>
                    </a:lnTo>
                    <a:lnTo>
                      <a:pt x="958" y="549"/>
                    </a:lnTo>
                    <a:lnTo>
                      <a:pt x="950" y="548"/>
                    </a:lnTo>
                    <a:lnTo>
                      <a:pt x="942" y="547"/>
                    </a:lnTo>
                    <a:lnTo>
                      <a:pt x="935" y="544"/>
                    </a:lnTo>
                    <a:lnTo>
                      <a:pt x="921" y="539"/>
                    </a:lnTo>
                    <a:lnTo>
                      <a:pt x="909" y="532"/>
                    </a:lnTo>
                    <a:lnTo>
                      <a:pt x="896" y="526"/>
                    </a:lnTo>
                    <a:lnTo>
                      <a:pt x="884" y="520"/>
                    </a:lnTo>
                    <a:lnTo>
                      <a:pt x="878" y="518"/>
                    </a:lnTo>
                    <a:lnTo>
                      <a:pt x="871" y="517"/>
                    </a:lnTo>
                    <a:lnTo>
                      <a:pt x="863" y="516"/>
                    </a:lnTo>
                    <a:lnTo>
                      <a:pt x="856" y="514"/>
                    </a:lnTo>
                    <a:lnTo>
                      <a:pt x="819" y="514"/>
                    </a:lnTo>
                    <a:lnTo>
                      <a:pt x="782" y="517"/>
                    </a:lnTo>
                    <a:lnTo>
                      <a:pt x="744" y="520"/>
                    </a:lnTo>
                    <a:lnTo>
                      <a:pt x="707" y="527"/>
                    </a:lnTo>
                    <a:lnTo>
                      <a:pt x="689" y="531"/>
                    </a:lnTo>
                    <a:lnTo>
                      <a:pt x="670" y="535"/>
                    </a:lnTo>
                    <a:lnTo>
                      <a:pt x="653" y="541"/>
                    </a:lnTo>
                    <a:lnTo>
                      <a:pt x="636" y="545"/>
                    </a:lnTo>
                    <a:lnTo>
                      <a:pt x="619" y="552"/>
                    </a:lnTo>
                    <a:lnTo>
                      <a:pt x="602" y="559"/>
                    </a:lnTo>
                    <a:lnTo>
                      <a:pt x="586" y="566"/>
                    </a:lnTo>
                    <a:lnTo>
                      <a:pt x="571" y="574"/>
                    </a:lnTo>
                    <a:lnTo>
                      <a:pt x="556" y="582"/>
                    </a:lnTo>
                    <a:lnTo>
                      <a:pt x="541" y="591"/>
                    </a:lnTo>
                    <a:lnTo>
                      <a:pt x="527" y="602"/>
                    </a:lnTo>
                    <a:lnTo>
                      <a:pt x="514" y="611"/>
                    </a:lnTo>
                    <a:lnTo>
                      <a:pt x="502" y="622"/>
                    </a:lnTo>
                    <a:lnTo>
                      <a:pt x="490" y="634"/>
                    </a:lnTo>
                    <a:lnTo>
                      <a:pt x="480" y="645"/>
                    </a:lnTo>
                    <a:lnTo>
                      <a:pt x="470" y="658"/>
                    </a:lnTo>
                    <a:lnTo>
                      <a:pt x="462" y="670"/>
                    </a:lnTo>
                    <a:lnTo>
                      <a:pt x="454" y="684"/>
                    </a:lnTo>
                    <a:lnTo>
                      <a:pt x="447" y="699"/>
                    </a:lnTo>
                    <a:lnTo>
                      <a:pt x="441" y="714"/>
                    </a:lnTo>
                    <a:lnTo>
                      <a:pt x="436" y="729"/>
                    </a:lnTo>
                    <a:lnTo>
                      <a:pt x="434" y="745"/>
                    </a:lnTo>
                    <a:lnTo>
                      <a:pt x="432" y="762"/>
                    </a:lnTo>
                    <a:lnTo>
                      <a:pt x="431" y="779"/>
                    </a:lnTo>
                    <a:lnTo>
                      <a:pt x="432" y="795"/>
                    </a:lnTo>
                    <a:lnTo>
                      <a:pt x="433" y="810"/>
                    </a:lnTo>
                    <a:lnTo>
                      <a:pt x="435" y="824"/>
                    </a:lnTo>
                    <a:lnTo>
                      <a:pt x="438" y="837"/>
                    </a:lnTo>
                    <a:lnTo>
                      <a:pt x="444" y="860"/>
                    </a:lnTo>
                    <a:lnTo>
                      <a:pt x="453" y="880"/>
                    </a:lnTo>
                    <a:lnTo>
                      <a:pt x="459" y="902"/>
                    </a:lnTo>
                    <a:lnTo>
                      <a:pt x="466" y="924"/>
                    </a:lnTo>
                    <a:lnTo>
                      <a:pt x="469" y="937"/>
                    </a:lnTo>
                    <a:lnTo>
                      <a:pt x="471" y="950"/>
                    </a:lnTo>
                    <a:lnTo>
                      <a:pt x="472" y="965"/>
                    </a:lnTo>
                    <a:lnTo>
                      <a:pt x="473" y="981"/>
                    </a:lnTo>
                    <a:lnTo>
                      <a:pt x="472" y="992"/>
                    </a:lnTo>
                    <a:lnTo>
                      <a:pt x="472" y="1002"/>
                    </a:lnTo>
                    <a:lnTo>
                      <a:pt x="470" y="1011"/>
                    </a:lnTo>
                    <a:lnTo>
                      <a:pt x="469" y="1019"/>
                    </a:lnTo>
                    <a:lnTo>
                      <a:pt x="463" y="1036"/>
                    </a:lnTo>
                    <a:lnTo>
                      <a:pt x="456" y="1051"/>
                    </a:lnTo>
                    <a:lnTo>
                      <a:pt x="448" y="1065"/>
                    </a:lnTo>
                    <a:lnTo>
                      <a:pt x="440" y="1078"/>
                    </a:lnTo>
                    <a:lnTo>
                      <a:pt x="430" y="1091"/>
                    </a:lnTo>
                    <a:lnTo>
                      <a:pt x="419" y="1103"/>
                    </a:lnTo>
                    <a:lnTo>
                      <a:pt x="410" y="1115"/>
                    </a:lnTo>
                    <a:lnTo>
                      <a:pt x="400" y="1128"/>
                    </a:lnTo>
                    <a:lnTo>
                      <a:pt x="391" y="1142"/>
                    </a:lnTo>
                    <a:lnTo>
                      <a:pt x="381" y="1156"/>
                    </a:lnTo>
                    <a:lnTo>
                      <a:pt x="375" y="1170"/>
                    </a:lnTo>
                    <a:lnTo>
                      <a:pt x="368" y="1188"/>
                    </a:lnTo>
                    <a:lnTo>
                      <a:pt x="365" y="1196"/>
                    </a:lnTo>
                    <a:lnTo>
                      <a:pt x="364" y="1205"/>
                    </a:lnTo>
                    <a:lnTo>
                      <a:pt x="362" y="1215"/>
                    </a:lnTo>
                    <a:lnTo>
                      <a:pt x="362" y="1226"/>
                    </a:lnTo>
                    <a:lnTo>
                      <a:pt x="362" y="1236"/>
                    </a:lnTo>
                    <a:lnTo>
                      <a:pt x="365" y="1245"/>
                    </a:lnTo>
                    <a:lnTo>
                      <a:pt x="369" y="1255"/>
                    </a:lnTo>
                    <a:lnTo>
                      <a:pt x="375" y="1265"/>
                    </a:lnTo>
                    <a:lnTo>
                      <a:pt x="381" y="1273"/>
                    </a:lnTo>
                    <a:lnTo>
                      <a:pt x="389" y="1282"/>
                    </a:lnTo>
                    <a:lnTo>
                      <a:pt x="399" y="1290"/>
                    </a:lnTo>
                    <a:lnTo>
                      <a:pt x="408" y="1297"/>
                    </a:lnTo>
                    <a:lnTo>
                      <a:pt x="427" y="1310"/>
                    </a:lnTo>
                    <a:lnTo>
                      <a:pt x="447" y="1321"/>
                    </a:lnTo>
                    <a:lnTo>
                      <a:pt x="465" y="1330"/>
                    </a:lnTo>
                    <a:lnTo>
                      <a:pt x="480" y="1337"/>
                    </a:lnTo>
                    <a:lnTo>
                      <a:pt x="508" y="1337"/>
                    </a:lnTo>
                    <a:lnTo>
                      <a:pt x="530" y="1337"/>
                    </a:lnTo>
                    <a:lnTo>
                      <a:pt x="550" y="1337"/>
                    </a:lnTo>
                    <a:lnTo>
                      <a:pt x="565" y="1337"/>
                    </a:lnTo>
                    <a:lnTo>
                      <a:pt x="579" y="1337"/>
                    </a:lnTo>
                    <a:lnTo>
                      <a:pt x="591" y="1337"/>
                    </a:lnTo>
                    <a:lnTo>
                      <a:pt x="605" y="1337"/>
                    </a:lnTo>
                    <a:lnTo>
                      <a:pt x="619" y="1337"/>
                    </a:lnTo>
                    <a:lnTo>
                      <a:pt x="637" y="1338"/>
                    </a:lnTo>
                    <a:lnTo>
                      <a:pt x="665" y="1343"/>
                    </a:lnTo>
                    <a:lnTo>
                      <a:pt x="697" y="1349"/>
                    </a:lnTo>
                    <a:lnTo>
                      <a:pt x="732" y="1359"/>
                    </a:lnTo>
                    <a:lnTo>
                      <a:pt x="749" y="1363"/>
                    </a:lnTo>
                    <a:lnTo>
                      <a:pt x="767" y="1369"/>
                    </a:lnTo>
                    <a:lnTo>
                      <a:pt x="783" y="1375"/>
                    </a:lnTo>
                    <a:lnTo>
                      <a:pt x="798" y="1380"/>
                    </a:lnTo>
                    <a:lnTo>
                      <a:pt x="810" y="1387"/>
                    </a:lnTo>
                    <a:lnTo>
                      <a:pt x="821" y="1393"/>
                    </a:lnTo>
                    <a:lnTo>
                      <a:pt x="830" y="1400"/>
                    </a:lnTo>
                    <a:lnTo>
                      <a:pt x="835" y="1407"/>
                    </a:lnTo>
                    <a:lnTo>
                      <a:pt x="841" y="1415"/>
                    </a:lnTo>
                    <a:lnTo>
                      <a:pt x="846" y="1424"/>
                    </a:lnTo>
                    <a:lnTo>
                      <a:pt x="849" y="1434"/>
                    </a:lnTo>
                    <a:lnTo>
                      <a:pt x="852" y="1446"/>
                    </a:lnTo>
                    <a:lnTo>
                      <a:pt x="855" y="1469"/>
                    </a:lnTo>
                    <a:lnTo>
                      <a:pt x="858" y="1492"/>
                    </a:lnTo>
                    <a:lnTo>
                      <a:pt x="861" y="1502"/>
                    </a:lnTo>
                    <a:lnTo>
                      <a:pt x="863" y="1512"/>
                    </a:lnTo>
                    <a:lnTo>
                      <a:pt x="865" y="1521"/>
                    </a:lnTo>
                    <a:lnTo>
                      <a:pt x="869" y="1529"/>
                    </a:lnTo>
                    <a:lnTo>
                      <a:pt x="874" y="1536"/>
                    </a:lnTo>
                    <a:lnTo>
                      <a:pt x="880" y="1541"/>
                    </a:lnTo>
                    <a:lnTo>
                      <a:pt x="884" y="1543"/>
                    </a:lnTo>
                    <a:lnTo>
                      <a:pt x="888" y="1544"/>
                    </a:lnTo>
                    <a:lnTo>
                      <a:pt x="893" y="1545"/>
                    </a:lnTo>
                    <a:lnTo>
                      <a:pt x="897" y="1545"/>
                    </a:lnTo>
                    <a:lnTo>
                      <a:pt x="912" y="1545"/>
                    </a:lnTo>
                    <a:lnTo>
                      <a:pt x="923" y="1545"/>
                    </a:lnTo>
                    <a:lnTo>
                      <a:pt x="929" y="1545"/>
                    </a:lnTo>
                    <a:lnTo>
                      <a:pt x="933" y="1545"/>
                    </a:lnTo>
                    <a:lnTo>
                      <a:pt x="936" y="1545"/>
                    </a:lnTo>
                    <a:lnTo>
                      <a:pt x="940" y="1545"/>
                    </a:lnTo>
                    <a:lnTo>
                      <a:pt x="944" y="1545"/>
                    </a:lnTo>
                    <a:lnTo>
                      <a:pt x="954" y="1545"/>
                    </a:lnTo>
                    <a:lnTo>
                      <a:pt x="965" y="1547"/>
                    </a:lnTo>
                    <a:lnTo>
                      <a:pt x="975" y="1548"/>
                    </a:lnTo>
                    <a:lnTo>
                      <a:pt x="985" y="1551"/>
                    </a:lnTo>
                    <a:lnTo>
                      <a:pt x="994" y="1556"/>
                    </a:lnTo>
                    <a:lnTo>
                      <a:pt x="1002" y="1562"/>
                    </a:lnTo>
                    <a:lnTo>
                      <a:pt x="1009" y="1567"/>
                    </a:lnTo>
                    <a:lnTo>
                      <a:pt x="1017" y="1574"/>
                    </a:lnTo>
                    <a:lnTo>
                      <a:pt x="1022" y="1582"/>
                    </a:lnTo>
                    <a:lnTo>
                      <a:pt x="1035" y="1598"/>
                    </a:lnTo>
                    <a:lnTo>
                      <a:pt x="1048" y="1617"/>
                    </a:lnTo>
                    <a:lnTo>
                      <a:pt x="1059" y="1634"/>
                    </a:lnTo>
                    <a:lnTo>
                      <a:pt x="1072" y="1650"/>
                    </a:lnTo>
                    <a:lnTo>
                      <a:pt x="1065" y="1699"/>
                    </a:lnTo>
                    <a:lnTo>
                      <a:pt x="1022" y="1699"/>
                    </a:lnTo>
                    <a:lnTo>
                      <a:pt x="1018" y="1693"/>
                    </a:lnTo>
                    <a:lnTo>
                      <a:pt x="1012" y="1689"/>
                    </a:lnTo>
                    <a:lnTo>
                      <a:pt x="1006" y="1684"/>
                    </a:lnTo>
                    <a:lnTo>
                      <a:pt x="1002" y="1680"/>
                    </a:lnTo>
                    <a:lnTo>
                      <a:pt x="995" y="1676"/>
                    </a:lnTo>
                    <a:lnTo>
                      <a:pt x="989" y="1673"/>
                    </a:lnTo>
                    <a:lnTo>
                      <a:pt x="982" y="1672"/>
                    </a:lnTo>
                    <a:lnTo>
                      <a:pt x="974" y="1671"/>
                    </a:lnTo>
                    <a:lnTo>
                      <a:pt x="971" y="1672"/>
                    </a:lnTo>
                    <a:lnTo>
                      <a:pt x="966" y="1673"/>
                    </a:lnTo>
                    <a:lnTo>
                      <a:pt x="963" y="1676"/>
                    </a:lnTo>
                    <a:lnTo>
                      <a:pt x="959" y="1680"/>
                    </a:lnTo>
                    <a:lnTo>
                      <a:pt x="951" y="1690"/>
                    </a:lnTo>
                    <a:lnTo>
                      <a:pt x="944" y="1703"/>
                    </a:lnTo>
                    <a:lnTo>
                      <a:pt x="939" y="1716"/>
                    </a:lnTo>
                    <a:lnTo>
                      <a:pt x="933" y="1730"/>
                    </a:lnTo>
                    <a:lnTo>
                      <a:pt x="928" y="1743"/>
                    </a:lnTo>
                    <a:lnTo>
                      <a:pt x="925" y="1754"/>
                    </a:lnTo>
                    <a:lnTo>
                      <a:pt x="920" y="1763"/>
                    </a:lnTo>
                    <a:lnTo>
                      <a:pt x="913" y="1774"/>
                    </a:lnTo>
                    <a:lnTo>
                      <a:pt x="904" y="1783"/>
                    </a:lnTo>
                    <a:lnTo>
                      <a:pt x="893" y="1793"/>
                    </a:lnTo>
                    <a:lnTo>
                      <a:pt x="868" y="1813"/>
                    </a:lnTo>
                    <a:lnTo>
                      <a:pt x="839" y="1833"/>
                    </a:lnTo>
                    <a:lnTo>
                      <a:pt x="808" y="1852"/>
                    </a:lnTo>
                    <a:lnTo>
                      <a:pt x="778" y="1870"/>
                    </a:lnTo>
                    <a:lnTo>
                      <a:pt x="752" y="1886"/>
                    </a:lnTo>
                    <a:lnTo>
                      <a:pt x="730" y="1901"/>
                    </a:lnTo>
                    <a:lnTo>
                      <a:pt x="715" y="1912"/>
                    </a:lnTo>
                    <a:lnTo>
                      <a:pt x="700" y="1925"/>
                    </a:lnTo>
                    <a:lnTo>
                      <a:pt x="686" y="1938"/>
                    </a:lnTo>
                    <a:lnTo>
                      <a:pt x="673" y="1950"/>
                    </a:lnTo>
                    <a:lnTo>
                      <a:pt x="660" y="1964"/>
                    </a:lnTo>
                    <a:lnTo>
                      <a:pt x="647" y="1978"/>
                    </a:lnTo>
                    <a:lnTo>
                      <a:pt x="636" y="1993"/>
                    </a:lnTo>
                    <a:lnTo>
                      <a:pt x="626" y="2008"/>
                    </a:lnTo>
                    <a:lnTo>
                      <a:pt x="616" y="2024"/>
                    </a:lnTo>
                    <a:lnTo>
                      <a:pt x="608" y="2040"/>
                    </a:lnTo>
                    <a:lnTo>
                      <a:pt x="602" y="2057"/>
                    </a:lnTo>
                    <a:lnTo>
                      <a:pt x="596" y="2074"/>
                    </a:lnTo>
                    <a:lnTo>
                      <a:pt x="590" y="2093"/>
                    </a:lnTo>
                    <a:lnTo>
                      <a:pt x="587" y="2111"/>
                    </a:lnTo>
                    <a:lnTo>
                      <a:pt x="586" y="2132"/>
                    </a:lnTo>
                    <a:lnTo>
                      <a:pt x="584" y="2151"/>
                    </a:lnTo>
                    <a:lnTo>
                      <a:pt x="584" y="2158"/>
                    </a:lnTo>
                    <a:lnTo>
                      <a:pt x="587" y="2164"/>
                    </a:lnTo>
                    <a:lnTo>
                      <a:pt x="589" y="2169"/>
                    </a:lnTo>
                    <a:lnTo>
                      <a:pt x="592" y="2176"/>
                    </a:lnTo>
                    <a:lnTo>
                      <a:pt x="599" y="2188"/>
                    </a:lnTo>
                    <a:lnTo>
                      <a:pt x="608" y="2199"/>
                    </a:lnTo>
                    <a:lnTo>
                      <a:pt x="618" y="2212"/>
                    </a:lnTo>
                    <a:lnTo>
                      <a:pt x="626" y="2227"/>
                    </a:lnTo>
                    <a:lnTo>
                      <a:pt x="628" y="2235"/>
                    </a:lnTo>
                    <a:lnTo>
                      <a:pt x="631" y="2244"/>
                    </a:lnTo>
                    <a:lnTo>
                      <a:pt x="633" y="2253"/>
                    </a:lnTo>
                    <a:lnTo>
                      <a:pt x="633" y="2263"/>
                    </a:lnTo>
                    <a:lnTo>
                      <a:pt x="633" y="2270"/>
                    </a:lnTo>
                    <a:lnTo>
                      <a:pt x="631" y="2277"/>
                    </a:lnTo>
                    <a:lnTo>
                      <a:pt x="629" y="2284"/>
                    </a:lnTo>
                    <a:lnTo>
                      <a:pt x="626" y="2290"/>
                    </a:lnTo>
                    <a:lnTo>
                      <a:pt x="622" y="2294"/>
                    </a:lnTo>
                    <a:lnTo>
                      <a:pt x="618" y="2299"/>
                    </a:lnTo>
                    <a:lnTo>
                      <a:pt x="612" y="2304"/>
                    </a:lnTo>
                    <a:lnTo>
                      <a:pt x="606" y="2307"/>
                    </a:lnTo>
                    <a:lnTo>
                      <a:pt x="592" y="2314"/>
                    </a:lnTo>
                    <a:lnTo>
                      <a:pt x="577" y="2318"/>
                    </a:lnTo>
                    <a:lnTo>
                      <a:pt x="560" y="2323"/>
                    </a:lnTo>
                    <a:lnTo>
                      <a:pt x="542" y="2325"/>
                    </a:lnTo>
                    <a:lnTo>
                      <a:pt x="505" y="2330"/>
                    </a:lnTo>
                    <a:lnTo>
                      <a:pt x="469" y="2333"/>
                    </a:lnTo>
                    <a:lnTo>
                      <a:pt x="451" y="2336"/>
                    </a:lnTo>
                    <a:lnTo>
                      <a:pt x="435" y="2338"/>
                    </a:lnTo>
                    <a:lnTo>
                      <a:pt x="422" y="2341"/>
                    </a:lnTo>
                    <a:lnTo>
                      <a:pt x="410" y="2346"/>
                    </a:lnTo>
                    <a:lnTo>
                      <a:pt x="404" y="2349"/>
                    </a:lnTo>
                    <a:lnTo>
                      <a:pt x="399" y="2352"/>
                    </a:lnTo>
                    <a:lnTo>
                      <a:pt x="394" y="2356"/>
                    </a:lnTo>
                    <a:lnTo>
                      <a:pt x="389" y="2361"/>
                    </a:lnTo>
                    <a:lnTo>
                      <a:pt x="386" y="2367"/>
                    </a:lnTo>
                    <a:lnTo>
                      <a:pt x="383" y="2372"/>
                    </a:lnTo>
                    <a:lnTo>
                      <a:pt x="380" y="2379"/>
                    </a:lnTo>
                    <a:lnTo>
                      <a:pt x="378" y="2387"/>
                    </a:lnTo>
                    <a:lnTo>
                      <a:pt x="375" y="2402"/>
                    </a:lnTo>
                    <a:lnTo>
                      <a:pt x="372" y="2419"/>
                    </a:lnTo>
                    <a:lnTo>
                      <a:pt x="370" y="2437"/>
                    </a:lnTo>
                    <a:lnTo>
                      <a:pt x="369" y="2455"/>
                    </a:lnTo>
                    <a:lnTo>
                      <a:pt x="367" y="2472"/>
                    </a:lnTo>
                    <a:lnTo>
                      <a:pt x="363" y="2488"/>
                    </a:lnTo>
                    <a:lnTo>
                      <a:pt x="360" y="2503"/>
                    </a:lnTo>
                    <a:lnTo>
                      <a:pt x="354" y="2517"/>
                    </a:lnTo>
                    <a:lnTo>
                      <a:pt x="349" y="2523"/>
                    </a:lnTo>
                    <a:lnTo>
                      <a:pt x="346" y="2528"/>
                    </a:lnTo>
                    <a:lnTo>
                      <a:pt x="341" y="2532"/>
                    </a:lnTo>
                    <a:lnTo>
                      <a:pt x="336" y="2536"/>
                    </a:lnTo>
                    <a:lnTo>
                      <a:pt x="329" y="2539"/>
                    </a:lnTo>
                    <a:lnTo>
                      <a:pt x="322" y="2541"/>
                    </a:lnTo>
                    <a:lnTo>
                      <a:pt x="315" y="2542"/>
                    </a:lnTo>
                    <a:lnTo>
                      <a:pt x="306" y="2541"/>
                    </a:lnTo>
                    <a:lnTo>
                      <a:pt x="295" y="2541"/>
                    </a:lnTo>
                    <a:lnTo>
                      <a:pt x="286" y="2540"/>
                    </a:lnTo>
                    <a:lnTo>
                      <a:pt x="278" y="2539"/>
                    </a:lnTo>
                    <a:lnTo>
                      <a:pt x="270" y="2536"/>
                    </a:lnTo>
                    <a:lnTo>
                      <a:pt x="263" y="2533"/>
                    </a:lnTo>
                    <a:lnTo>
                      <a:pt x="256" y="2530"/>
                    </a:lnTo>
                    <a:lnTo>
                      <a:pt x="251" y="2526"/>
                    </a:lnTo>
                    <a:lnTo>
                      <a:pt x="245" y="2521"/>
                    </a:lnTo>
                    <a:lnTo>
                      <a:pt x="236" y="2512"/>
                    </a:lnTo>
                    <a:lnTo>
                      <a:pt x="228" y="2502"/>
                    </a:lnTo>
                    <a:lnTo>
                      <a:pt x="220" y="2491"/>
                    </a:lnTo>
                    <a:lnTo>
                      <a:pt x="214" y="2479"/>
                    </a:lnTo>
                    <a:lnTo>
                      <a:pt x="207" y="2468"/>
                    </a:lnTo>
                    <a:lnTo>
                      <a:pt x="200" y="2456"/>
                    </a:lnTo>
                    <a:lnTo>
                      <a:pt x="192" y="2446"/>
                    </a:lnTo>
                    <a:lnTo>
                      <a:pt x="184" y="2435"/>
                    </a:lnTo>
                    <a:lnTo>
                      <a:pt x="180" y="2432"/>
                    </a:lnTo>
                    <a:lnTo>
                      <a:pt x="174" y="2427"/>
                    </a:lnTo>
                    <a:lnTo>
                      <a:pt x="168" y="2424"/>
                    </a:lnTo>
                    <a:lnTo>
                      <a:pt x="162" y="2422"/>
                    </a:lnTo>
                    <a:lnTo>
                      <a:pt x="156" y="2419"/>
                    </a:lnTo>
                    <a:lnTo>
                      <a:pt x="149" y="2417"/>
                    </a:lnTo>
                    <a:lnTo>
                      <a:pt x="141" y="2416"/>
                    </a:lnTo>
                    <a:lnTo>
                      <a:pt x="131" y="2416"/>
                    </a:lnTo>
                    <a:lnTo>
                      <a:pt x="123" y="2417"/>
                    </a:lnTo>
                    <a:lnTo>
                      <a:pt x="114" y="2419"/>
                    </a:lnTo>
                    <a:lnTo>
                      <a:pt x="105" y="2424"/>
                    </a:lnTo>
                    <a:lnTo>
                      <a:pt x="95" y="2430"/>
                    </a:lnTo>
                    <a:lnTo>
                      <a:pt x="84" y="2437"/>
                    </a:lnTo>
                    <a:lnTo>
                      <a:pt x="74" y="2445"/>
                    </a:lnTo>
                    <a:lnTo>
                      <a:pt x="64" y="2454"/>
                    </a:lnTo>
                    <a:lnTo>
                      <a:pt x="54" y="2464"/>
                    </a:lnTo>
                    <a:lnTo>
                      <a:pt x="44" y="2474"/>
                    </a:lnTo>
                    <a:lnTo>
                      <a:pt x="35" y="2485"/>
                    </a:lnTo>
                    <a:lnTo>
                      <a:pt x="27" y="2496"/>
                    </a:lnTo>
                    <a:lnTo>
                      <a:pt x="20" y="2508"/>
                    </a:lnTo>
                    <a:lnTo>
                      <a:pt x="15" y="2518"/>
                    </a:lnTo>
                    <a:lnTo>
                      <a:pt x="10" y="2528"/>
                    </a:lnTo>
                    <a:lnTo>
                      <a:pt x="8" y="2539"/>
                    </a:lnTo>
                    <a:lnTo>
                      <a:pt x="7" y="2549"/>
                    </a:lnTo>
                    <a:lnTo>
                      <a:pt x="7" y="2563"/>
                    </a:lnTo>
                    <a:lnTo>
                      <a:pt x="9" y="2575"/>
                    </a:lnTo>
                    <a:lnTo>
                      <a:pt x="11" y="2588"/>
                    </a:lnTo>
                    <a:lnTo>
                      <a:pt x="13" y="2601"/>
                    </a:lnTo>
                    <a:lnTo>
                      <a:pt x="21" y="2625"/>
                    </a:lnTo>
                    <a:lnTo>
                      <a:pt x="31" y="2649"/>
                    </a:lnTo>
                    <a:lnTo>
                      <a:pt x="40" y="2673"/>
                    </a:lnTo>
                    <a:lnTo>
                      <a:pt x="48" y="2700"/>
                    </a:lnTo>
                    <a:lnTo>
                      <a:pt x="50" y="2715"/>
                    </a:lnTo>
                    <a:lnTo>
                      <a:pt x="54" y="2730"/>
                    </a:lnTo>
                    <a:lnTo>
                      <a:pt x="55" y="2746"/>
                    </a:lnTo>
                    <a:lnTo>
                      <a:pt x="55" y="2765"/>
                    </a:lnTo>
                    <a:lnTo>
                      <a:pt x="54" y="2777"/>
                    </a:lnTo>
                    <a:lnTo>
                      <a:pt x="51" y="2791"/>
                    </a:lnTo>
                    <a:lnTo>
                      <a:pt x="48" y="2805"/>
                    </a:lnTo>
                    <a:lnTo>
                      <a:pt x="43" y="2817"/>
                    </a:lnTo>
                    <a:lnTo>
                      <a:pt x="34" y="2844"/>
                    </a:lnTo>
                    <a:lnTo>
                      <a:pt x="25" y="2867"/>
                    </a:lnTo>
                    <a:lnTo>
                      <a:pt x="16" y="2887"/>
                    </a:lnTo>
                    <a:lnTo>
                      <a:pt x="7" y="2903"/>
                    </a:lnTo>
                    <a:lnTo>
                      <a:pt x="2" y="2914"/>
                    </a:lnTo>
                    <a:lnTo>
                      <a:pt x="0" y="291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17" name="Freeform 536"/>
              <p:cNvSpPr>
                <a:spLocks/>
              </p:cNvSpPr>
              <p:nvPr/>
            </p:nvSpPr>
            <p:spPr bwMode="auto">
              <a:xfrm>
                <a:off x="1739" y="1545"/>
                <a:ext cx="886" cy="894"/>
              </a:xfrm>
              <a:custGeom>
                <a:avLst/>
                <a:gdLst>
                  <a:gd name="T0" fmla="*/ 30 w 4804"/>
                  <a:gd name="T1" fmla="*/ 23 h 4847"/>
                  <a:gd name="T2" fmla="*/ 29 w 4804"/>
                  <a:gd name="T3" fmla="*/ 25 h 4847"/>
                  <a:gd name="T4" fmla="*/ 26 w 4804"/>
                  <a:gd name="T5" fmla="*/ 24 h 4847"/>
                  <a:gd name="T6" fmla="*/ 22 w 4804"/>
                  <a:gd name="T7" fmla="*/ 23 h 4847"/>
                  <a:gd name="T8" fmla="*/ 19 w 4804"/>
                  <a:gd name="T9" fmla="*/ 23 h 4847"/>
                  <a:gd name="T10" fmla="*/ 18 w 4804"/>
                  <a:gd name="T11" fmla="*/ 24 h 4847"/>
                  <a:gd name="T12" fmla="*/ 16 w 4804"/>
                  <a:gd name="T13" fmla="*/ 24 h 4847"/>
                  <a:gd name="T14" fmla="*/ 15 w 4804"/>
                  <a:gd name="T15" fmla="*/ 26 h 4847"/>
                  <a:gd name="T16" fmla="*/ 15 w 4804"/>
                  <a:gd name="T17" fmla="*/ 28 h 4847"/>
                  <a:gd name="T18" fmla="*/ 15 w 4804"/>
                  <a:gd name="T19" fmla="*/ 29 h 4847"/>
                  <a:gd name="T20" fmla="*/ 15 w 4804"/>
                  <a:gd name="T21" fmla="*/ 30 h 4847"/>
                  <a:gd name="T22" fmla="*/ 13 w 4804"/>
                  <a:gd name="T23" fmla="*/ 30 h 4847"/>
                  <a:gd name="T24" fmla="*/ 12 w 4804"/>
                  <a:gd name="T25" fmla="*/ 29 h 4847"/>
                  <a:gd name="T26" fmla="*/ 10 w 4804"/>
                  <a:gd name="T27" fmla="*/ 29 h 4847"/>
                  <a:gd name="T28" fmla="*/ 8 w 4804"/>
                  <a:gd name="T29" fmla="*/ 28 h 4847"/>
                  <a:gd name="T30" fmla="*/ 5 w 4804"/>
                  <a:gd name="T31" fmla="*/ 27 h 4847"/>
                  <a:gd name="T32" fmla="*/ 6 w 4804"/>
                  <a:gd name="T33" fmla="*/ 25 h 4847"/>
                  <a:gd name="T34" fmla="*/ 6 w 4804"/>
                  <a:gd name="T35" fmla="*/ 24 h 4847"/>
                  <a:gd name="T36" fmla="*/ 4 w 4804"/>
                  <a:gd name="T37" fmla="*/ 24 h 4847"/>
                  <a:gd name="T38" fmla="*/ 3 w 4804"/>
                  <a:gd name="T39" fmla="*/ 23 h 4847"/>
                  <a:gd name="T40" fmla="*/ 3 w 4804"/>
                  <a:gd name="T41" fmla="*/ 22 h 4847"/>
                  <a:gd name="T42" fmla="*/ 2 w 4804"/>
                  <a:gd name="T43" fmla="*/ 21 h 4847"/>
                  <a:gd name="T44" fmla="*/ 1 w 4804"/>
                  <a:gd name="T45" fmla="*/ 19 h 4847"/>
                  <a:gd name="T46" fmla="*/ 1 w 4804"/>
                  <a:gd name="T47" fmla="*/ 17 h 4847"/>
                  <a:gd name="T48" fmla="*/ 0 w 4804"/>
                  <a:gd name="T49" fmla="*/ 15 h 4847"/>
                  <a:gd name="T50" fmla="*/ 3 w 4804"/>
                  <a:gd name="T51" fmla="*/ 15 h 4847"/>
                  <a:gd name="T52" fmla="*/ 4 w 4804"/>
                  <a:gd name="T53" fmla="*/ 14 h 4847"/>
                  <a:gd name="T54" fmla="*/ 4 w 4804"/>
                  <a:gd name="T55" fmla="*/ 13 h 4847"/>
                  <a:gd name="T56" fmla="*/ 4 w 4804"/>
                  <a:gd name="T57" fmla="*/ 12 h 4847"/>
                  <a:gd name="T58" fmla="*/ 4 w 4804"/>
                  <a:gd name="T59" fmla="*/ 11 h 4847"/>
                  <a:gd name="T60" fmla="*/ 4 w 4804"/>
                  <a:gd name="T61" fmla="*/ 9 h 4847"/>
                  <a:gd name="T62" fmla="*/ 4 w 4804"/>
                  <a:gd name="T63" fmla="*/ 8 h 4847"/>
                  <a:gd name="T64" fmla="*/ 4 w 4804"/>
                  <a:gd name="T65" fmla="*/ 6 h 4847"/>
                  <a:gd name="T66" fmla="*/ 2 w 4804"/>
                  <a:gd name="T67" fmla="*/ 4 h 4847"/>
                  <a:gd name="T68" fmla="*/ 2 w 4804"/>
                  <a:gd name="T69" fmla="*/ 3 h 4847"/>
                  <a:gd name="T70" fmla="*/ 4 w 4804"/>
                  <a:gd name="T71" fmla="*/ 2 h 4847"/>
                  <a:gd name="T72" fmla="*/ 6 w 4804"/>
                  <a:gd name="T73" fmla="*/ 2 h 4847"/>
                  <a:gd name="T74" fmla="*/ 8 w 4804"/>
                  <a:gd name="T75" fmla="*/ 1 h 4847"/>
                  <a:gd name="T76" fmla="*/ 9 w 4804"/>
                  <a:gd name="T77" fmla="*/ 0 h 4847"/>
                  <a:gd name="T78" fmla="*/ 10 w 4804"/>
                  <a:gd name="T79" fmla="*/ 0 h 4847"/>
                  <a:gd name="T80" fmla="*/ 11 w 4804"/>
                  <a:gd name="T81" fmla="*/ 1 h 4847"/>
                  <a:gd name="T82" fmla="*/ 11 w 4804"/>
                  <a:gd name="T83" fmla="*/ 1 h 4847"/>
                  <a:gd name="T84" fmla="*/ 13 w 4804"/>
                  <a:gd name="T85" fmla="*/ 2 h 4847"/>
                  <a:gd name="T86" fmla="*/ 14 w 4804"/>
                  <a:gd name="T87" fmla="*/ 4 h 4847"/>
                  <a:gd name="T88" fmla="*/ 14 w 4804"/>
                  <a:gd name="T89" fmla="*/ 4 h 4847"/>
                  <a:gd name="T90" fmla="*/ 16 w 4804"/>
                  <a:gd name="T91" fmla="*/ 6 h 4847"/>
                  <a:gd name="T92" fmla="*/ 16 w 4804"/>
                  <a:gd name="T93" fmla="*/ 8 h 4847"/>
                  <a:gd name="T94" fmla="*/ 16 w 4804"/>
                  <a:gd name="T95" fmla="*/ 9 h 4847"/>
                  <a:gd name="T96" fmla="*/ 17 w 4804"/>
                  <a:gd name="T97" fmla="*/ 10 h 4847"/>
                  <a:gd name="T98" fmla="*/ 17 w 4804"/>
                  <a:gd name="T99" fmla="*/ 11 h 4847"/>
                  <a:gd name="T100" fmla="*/ 17 w 4804"/>
                  <a:gd name="T101" fmla="*/ 12 h 4847"/>
                  <a:gd name="T102" fmla="*/ 15 w 4804"/>
                  <a:gd name="T103" fmla="*/ 13 h 4847"/>
                  <a:gd name="T104" fmla="*/ 16 w 4804"/>
                  <a:gd name="T105" fmla="*/ 15 h 4847"/>
                  <a:gd name="T106" fmla="*/ 20 w 4804"/>
                  <a:gd name="T107" fmla="*/ 15 h 4847"/>
                  <a:gd name="T108" fmla="*/ 22 w 4804"/>
                  <a:gd name="T109" fmla="*/ 16 h 4847"/>
                  <a:gd name="T110" fmla="*/ 24 w 4804"/>
                  <a:gd name="T111" fmla="*/ 17 h 4847"/>
                  <a:gd name="T112" fmla="*/ 27 w 4804"/>
                  <a:gd name="T113" fmla="*/ 18 h 4847"/>
                  <a:gd name="T114" fmla="*/ 26 w 4804"/>
                  <a:gd name="T115" fmla="*/ 20 h 4847"/>
                  <a:gd name="T116" fmla="*/ 27 w 4804"/>
                  <a:gd name="T117" fmla="*/ 21 h 4847"/>
                  <a:gd name="T118" fmla="*/ 29 w 4804"/>
                  <a:gd name="T119" fmla="*/ 21 h 4847"/>
                  <a:gd name="T120" fmla="*/ 30 w 4804"/>
                  <a:gd name="T121" fmla="*/ 22 h 484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804"/>
                  <a:gd name="T184" fmla="*/ 0 h 4847"/>
                  <a:gd name="T185" fmla="*/ 4804 w 4804"/>
                  <a:gd name="T186" fmla="*/ 4847 h 484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804" h="4847">
                    <a:moveTo>
                      <a:pt x="4804" y="3531"/>
                    </a:moveTo>
                    <a:lnTo>
                      <a:pt x="4779" y="3542"/>
                    </a:lnTo>
                    <a:lnTo>
                      <a:pt x="4755" y="3555"/>
                    </a:lnTo>
                    <a:lnTo>
                      <a:pt x="4745" y="3562"/>
                    </a:lnTo>
                    <a:lnTo>
                      <a:pt x="4734" y="3569"/>
                    </a:lnTo>
                    <a:lnTo>
                      <a:pt x="4724" y="3576"/>
                    </a:lnTo>
                    <a:lnTo>
                      <a:pt x="4716" y="3584"/>
                    </a:lnTo>
                    <a:lnTo>
                      <a:pt x="4708" y="3593"/>
                    </a:lnTo>
                    <a:lnTo>
                      <a:pt x="4700" y="3601"/>
                    </a:lnTo>
                    <a:lnTo>
                      <a:pt x="4694" y="3610"/>
                    </a:lnTo>
                    <a:lnTo>
                      <a:pt x="4688" y="3620"/>
                    </a:lnTo>
                    <a:lnTo>
                      <a:pt x="4685" y="3631"/>
                    </a:lnTo>
                    <a:lnTo>
                      <a:pt x="4682" y="3641"/>
                    </a:lnTo>
                    <a:lnTo>
                      <a:pt x="4679" y="3651"/>
                    </a:lnTo>
                    <a:lnTo>
                      <a:pt x="4679" y="3663"/>
                    </a:lnTo>
                    <a:lnTo>
                      <a:pt x="4679" y="3675"/>
                    </a:lnTo>
                    <a:lnTo>
                      <a:pt x="4680" y="3688"/>
                    </a:lnTo>
                    <a:lnTo>
                      <a:pt x="4683" y="3698"/>
                    </a:lnTo>
                    <a:lnTo>
                      <a:pt x="4686" y="3709"/>
                    </a:lnTo>
                    <a:lnTo>
                      <a:pt x="4692" y="3728"/>
                    </a:lnTo>
                    <a:lnTo>
                      <a:pt x="4700" y="3745"/>
                    </a:lnTo>
                    <a:lnTo>
                      <a:pt x="4708" y="3761"/>
                    </a:lnTo>
                    <a:lnTo>
                      <a:pt x="4715" y="3779"/>
                    </a:lnTo>
                    <a:lnTo>
                      <a:pt x="4717" y="3788"/>
                    </a:lnTo>
                    <a:lnTo>
                      <a:pt x="4719" y="3797"/>
                    </a:lnTo>
                    <a:lnTo>
                      <a:pt x="4721" y="3806"/>
                    </a:lnTo>
                    <a:lnTo>
                      <a:pt x="4721" y="3816"/>
                    </a:lnTo>
                    <a:lnTo>
                      <a:pt x="4721" y="3832"/>
                    </a:lnTo>
                    <a:lnTo>
                      <a:pt x="4718" y="3846"/>
                    </a:lnTo>
                    <a:lnTo>
                      <a:pt x="4715" y="3859"/>
                    </a:lnTo>
                    <a:lnTo>
                      <a:pt x="4709" y="3869"/>
                    </a:lnTo>
                    <a:lnTo>
                      <a:pt x="4703" y="3877"/>
                    </a:lnTo>
                    <a:lnTo>
                      <a:pt x="4695" y="3885"/>
                    </a:lnTo>
                    <a:lnTo>
                      <a:pt x="4687" y="3891"/>
                    </a:lnTo>
                    <a:lnTo>
                      <a:pt x="4677" y="3896"/>
                    </a:lnTo>
                    <a:lnTo>
                      <a:pt x="4667" y="3899"/>
                    </a:lnTo>
                    <a:lnTo>
                      <a:pt x="4654" y="3902"/>
                    </a:lnTo>
                    <a:lnTo>
                      <a:pt x="4641" y="3905"/>
                    </a:lnTo>
                    <a:lnTo>
                      <a:pt x="4626" y="3906"/>
                    </a:lnTo>
                    <a:lnTo>
                      <a:pt x="4596" y="3907"/>
                    </a:lnTo>
                    <a:lnTo>
                      <a:pt x="4561" y="3907"/>
                    </a:lnTo>
                    <a:lnTo>
                      <a:pt x="4544" y="3907"/>
                    </a:lnTo>
                    <a:lnTo>
                      <a:pt x="4528" y="3906"/>
                    </a:lnTo>
                    <a:lnTo>
                      <a:pt x="4513" y="3904"/>
                    </a:lnTo>
                    <a:lnTo>
                      <a:pt x="4499" y="3901"/>
                    </a:lnTo>
                    <a:lnTo>
                      <a:pt x="4485" y="3899"/>
                    </a:lnTo>
                    <a:lnTo>
                      <a:pt x="4473" y="3896"/>
                    </a:lnTo>
                    <a:lnTo>
                      <a:pt x="4460" y="3892"/>
                    </a:lnTo>
                    <a:lnTo>
                      <a:pt x="4448" y="3888"/>
                    </a:lnTo>
                    <a:lnTo>
                      <a:pt x="4426" y="3878"/>
                    </a:lnTo>
                    <a:lnTo>
                      <a:pt x="4404" y="3867"/>
                    </a:lnTo>
                    <a:lnTo>
                      <a:pt x="4385" y="3857"/>
                    </a:lnTo>
                    <a:lnTo>
                      <a:pt x="4365" y="3844"/>
                    </a:lnTo>
                    <a:lnTo>
                      <a:pt x="4346" y="3832"/>
                    </a:lnTo>
                    <a:lnTo>
                      <a:pt x="4326" y="3821"/>
                    </a:lnTo>
                    <a:lnTo>
                      <a:pt x="4307" y="3811"/>
                    </a:lnTo>
                    <a:lnTo>
                      <a:pt x="4286" y="3802"/>
                    </a:lnTo>
                    <a:lnTo>
                      <a:pt x="4263" y="3793"/>
                    </a:lnTo>
                    <a:lnTo>
                      <a:pt x="4239" y="3787"/>
                    </a:lnTo>
                    <a:lnTo>
                      <a:pt x="4226" y="3784"/>
                    </a:lnTo>
                    <a:lnTo>
                      <a:pt x="4214" y="3783"/>
                    </a:lnTo>
                    <a:lnTo>
                      <a:pt x="4199" y="3782"/>
                    </a:lnTo>
                    <a:lnTo>
                      <a:pt x="4185" y="3782"/>
                    </a:lnTo>
                    <a:lnTo>
                      <a:pt x="4169" y="3781"/>
                    </a:lnTo>
                    <a:lnTo>
                      <a:pt x="4155" y="3781"/>
                    </a:lnTo>
                    <a:lnTo>
                      <a:pt x="4140" y="3781"/>
                    </a:lnTo>
                    <a:lnTo>
                      <a:pt x="4128" y="3782"/>
                    </a:lnTo>
                    <a:lnTo>
                      <a:pt x="4101" y="3785"/>
                    </a:lnTo>
                    <a:lnTo>
                      <a:pt x="4076" y="3789"/>
                    </a:lnTo>
                    <a:lnTo>
                      <a:pt x="4050" y="3795"/>
                    </a:lnTo>
                    <a:lnTo>
                      <a:pt x="4023" y="3798"/>
                    </a:lnTo>
                    <a:lnTo>
                      <a:pt x="3994" y="3802"/>
                    </a:lnTo>
                    <a:lnTo>
                      <a:pt x="3961" y="3803"/>
                    </a:lnTo>
                    <a:lnTo>
                      <a:pt x="3931" y="3802"/>
                    </a:lnTo>
                    <a:lnTo>
                      <a:pt x="3904" y="3799"/>
                    </a:lnTo>
                    <a:lnTo>
                      <a:pt x="3882" y="3795"/>
                    </a:lnTo>
                    <a:lnTo>
                      <a:pt x="3864" y="3789"/>
                    </a:lnTo>
                    <a:lnTo>
                      <a:pt x="3847" y="3782"/>
                    </a:lnTo>
                    <a:lnTo>
                      <a:pt x="3832" y="3773"/>
                    </a:lnTo>
                    <a:lnTo>
                      <a:pt x="3817" y="3764"/>
                    </a:lnTo>
                    <a:lnTo>
                      <a:pt x="3802" y="3753"/>
                    </a:lnTo>
                    <a:lnTo>
                      <a:pt x="3467" y="3746"/>
                    </a:lnTo>
                    <a:lnTo>
                      <a:pt x="3450" y="3737"/>
                    </a:lnTo>
                    <a:lnTo>
                      <a:pt x="3434" y="3727"/>
                    </a:lnTo>
                    <a:lnTo>
                      <a:pt x="3417" y="3719"/>
                    </a:lnTo>
                    <a:lnTo>
                      <a:pt x="3401" y="3711"/>
                    </a:lnTo>
                    <a:lnTo>
                      <a:pt x="3384" y="3704"/>
                    </a:lnTo>
                    <a:lnTo>
                      <a:pt x="3366" y="3697"/>
                    </a:lnTo>
                    <a:lnTo>
                      <a:pt x="3349" y="3691"/>
                    </a:lnTo>
                    <a:lnTo>
                      <a:pt x="3332" y="3687"/>
                    </a:lnTo>
                    <a:lnTo>
                      <a:pt x="3314" y="3682"/>
                    </a:lnTo>
                    <a:lnTo>
                      <a:pt x="3295" y="3678"/>
                    </a:lnTo>
                    <a:lnTo>
                      <a:pt x="3277" y="3674"/>
                    </a:lnTo>
                    <a:lnTo>
                      <a:pt x="3258" y="3672"/>
                    </a:lnTo>
                    <a:lnTo>
                      <a:pt x="3217" y="3666"/>
                    </a:lnTo>
                    <a:lnTo>
                      <a:pt x="3175" y="3663"/>
                    </a:lnTo>
                    <a:lnTo>
                      <a:pt x="3165" y="3664"/>
                    </a:lnTo>
                    <a:lnTo>
                      <a:pt x="3154" y="3665"/>
                    </a:lnTo>
                    <a:lnTo>
                      <a:pt x="3145" y="3666"/>
                    </a:lnTo>
                    <a:lnTo>
                      <a:pt x="3137" y="3668"/>
                    </a:lnTo>
                    <a:lnTo>
                      <a:pt x="3129" y="3672"/>
                    </a:lnTo>
                    <a:lnTo>
                      <a:pt x="3121" y="3674"/>
                    </a:lnTo>
                    <a:lnTo>
                      <a:pt x="3114" y="3679"/>
                    </a:lnTo>
                    <a:lnTo>
                      <a:pt x="3108" y="3682"/>
                    </a:lnTo>
                    <a:lnTo>
                      <a:pt x="3097" y="3693"/>
                    </a:lnTo>
                    <a:lnTo>
                      <a:pt x="3087" y="3703"/>
                    </a:lnTo>
                    <a:lnTo>
                      <a:pt x="3076" y="3713"/>
                    </a:lnTo>
                    <a:lnTo>
                      <a:pt x="3068" y="3725"/>
                    </a:lnTo>
                    <a:lnTo>
                      <a:pt x="3059" y="3736"/>
                    </a:lnTo>
                    <a:lnTo>
                      <a:pt x="3050" y="3748"/>
                    </a:lnTo>
                    <a:lnTo>
                      <a:pt x="3040" y="3757"/>
                    </a:lnTo>
                    <a:lnTo>
                      <a:pt x="3029" y="3766"/>
                    </a:lnTo>
                    <a:lnTo>
                      <a:pt x="3024" y="3769"/>
                    </a:lnTo>
                    <a:lnTo>
                      <a:pt x="3017" y="3773"/>
                    </a:lnTo>
                    <a:lnTo>
                      <a:pt x="3010" y="3776"/>
                    </a:lnTo>
                    <a:lnTo>
                      <a:pt x="3002" y="3779"/>
                    </a:lnTo>
                    <a:lnTo>
                      <a:pt x="2994" y="3781"/>
                    </a:lnTo>
                    <a:lnTo>
                      <a:pt x="2986" y="3781"/>
                    </a:lnTo>
                    <a:lnTo>
                      <a:pt x="2977" y="3782"/>
                    </a:lnTo>
                    <a:lnTo>
                      <a:pt x="2966" y="3782"/>
                    </a:lnTo>
                    <a:lnTo>
                      <a:pt x="2957" y="3781"/>
                    </a:lnTo>
                    <a:lnTo>
                      <a:pt x="2949" y="3780"/>
                    </a:lnTo>
                    <a:lnTo>
                      <a:pt x="2941" y="3779"/>
                    </a:lnTo>
                    <a:lnTo>
                      <a:pt x="2934" y="3776"/>
                    </a:lnTo>
                    <a:lnTo>
                      <a:pt x="2920" y="3771"/>
                    </a:lnTo>
                    <a:lnTo>
                      <a:pt x="2908" y="3764"/>
                    </a:lnTo>
                    <a:lnTo>
                      <a:pt x="2895" y="3758"/>
                    </a:lnTo>
                    <a:lnTo>
                      <a:pt x="2883" y="3752"/>
                    </a:lnTo>
                    <a:lnTo>
                      <a:pt x="2877" y="3750"/>
                    </a:lnTo>
                    <a:lnTo>
                      <a:pt x="2870" y="3749"/>
                    </a:lnTo>
                    <a:lnTo>
                      <a:pt x="2862" y="3748"/>
                    </a:lnTo>
                    <a:lnTo>
                      <a:pt x="2855" y="3746"/>
                    </a:lnTo>
                    <a:lnTo>
                      <a:pt x="2818" y="3746"/>
                    </a:lnTo>
                    <a:lnTo>
                      <a:pt x="2781" y="3749"/>
                    </a:lnTo>
                    <a:lnTo>
                      <a:pt x="2743" y="3752"/>
                    </a:lnTo>
                    <a:lnTo>
                      <a:pt x="2706" y="3759"/>
                    </a:lnTo>
                    <a:lnTo>
                      <a:pt x="2688" y="3763"/>
                    </a:lnTo>
                    <a:lnTo>
                      <a:pt x="2669" y="3767"/>
                    </a:lnTo>
                    <a:lnTo>
                      <a:pt x="2652" y="3773"/>
                    </a:lnTo>
                    <a:lnTo>
                      <a:pt x="2635" y="3777"/>
                    </a:lnTo>
                    <a:lnTo>
                      <a:pt x="2618" y="3784"/>
                    </a:lnTo>
                    <a:lnTo>
                      <a:pt x="2601" y="3791"/>
                    </a:lnTo>
                    <a:lnTo>
                      <a:pt x="2585" y="3798"/>
                    </a:lnTo>
                    <a:lnTo>
                      <a:pt x="2570" y="3806"/>
                    </a:lnTo>
                    <a:lnTo>
                      <a:pt x="2555" y="3814"/>
                    </a:lnTo>
                    <a:lnTo>
                      <a:pt x="2540" y="3823"/>
                    </a:lnTo>
                    <a:lnTo>
                      <a:pt x="2526" y="3834"/>
                    </a:lnTo>
                    <a:lnTo>
                      <a:pt x="2513" y="3843"/>
                    </a:lnTo>
                    <a:lnTo>
                      <a:pt x="2501" y="3854"/>
                    </a:lnTo>
                    <a:lnTo>
                      <a:pt x="2489" y="3866"/>
                    </a:lnTo>
                    <a:lnTo>
                      <a:pt x="2479" y="3877"/>
                    </a:lnTo>
                    <a:lnTo>
                      <a:pt x="2469" y="3890"/>
                    </a:lnTo>
                    <a:lnTo>
                      <a:pt x="2461" y="3902"/>
                    </a:lnTo>
                    <a:lnTo>
                      <a:pt x="2453" y="3916"/>
                    </a:lnTo>
                    <a:lnTo>
                      <a:pt x="2446" y="3931"/>
                    </a:lnTo>
                    <a:lnTo>
                      <a:pt x="2440" y="3946"/>
                    </a:lnTo>
                    <a:lnTo>
                      <a:pt x="2435" y="3961"/>
                    </a:lnTo>
                    <a:lnTo>
                      <a:pt x="2433" y="3977"/>
                    </a:lnTo>
                    <a:lnTo>
                      <a:pt x="2431" y="3994"/>
                    </a:lnTo>
                    <a:lnTo>
                      <a:pt x="2430" y="4011"/>
                    </a:lnTo>
                    <a:lnTo>
                      <a:pt x="2431" y="4027"/>
                    </a:lnTo>
                    <a:lnTo>
                      <a:pt x="2432" y="4042"/>
                    </a:lnTo>
                    <a:lnTo>
                      <a:pt x="2434" y="4056"/>
                    </a:lnTo>
                    <a:lnTo>
                      <a:pt x="2437" y="4069"/>
                    </a:lnTo>
                    <a:lnTo>
                      <a:pt x="2443" y="4092"/>
                    </a:lnTo>
                    <a:lnTo>
                      <a:pt x="2452" y="4112"/>
                    </a:lnTo>
                    <a:lnTo>
                      <a:pt x="2458" y="4134"/>
                    </a:lnTo>
                    <a:lnTo>
                      <a:pt x="2465" y="4156"/>
                    </a:lnTo>
                    <a:lnTo>
                      <a:pt x="2468" y="4169"/>
                    </a:lnTo>
                    <a:lnTo>
                      <a:pt x="2470" y="4182"/>
                    </a:lnTo>
                    <a:lnTo>
                      <a:pt x="2471" y="4197"/>
                    </a:lnTo>
                    <a:lnTo>
                      <a:pt x="2472" y="4213"/>
                    </a:lnTo>
                    <a:lnTo>
                      <a:pt x="2471" y="4224"/>
                    </a:lnTo>
                    <a:lnTo>
                      <a:pt x="2471" y="4234"/>
                    </a:lnTo>
                    <a:lnTo>
                      <a:pt x="2469" y="4243"/>
                    </a:lnTo>
                    <a:lnTo>
                      <a:pt x="2468" y="4251"/>
                    </a:lnTo>
                    <a:lnTo>
                      <a:pt x="2462" y="4268"/>
                    </a:lnTo>
                    <a:lnTo>
                      <a:pt x="2455" y="4283"/>
                    </a:lnTo>
                    <a:lnTo>
                      <a:pt x="2447" y="4297"/>
                    </a:lnTo>
                    <a:lnTo>
                      <a:pt x="2439" y="4310"/>
                    </a:lnTo>
                    <a:lnTo>
                      <a:pt x="2429" y="4323"/>
                    </a:lnTo>
                    <a:lnTo>
                      <a:pt x="2418" y="4335"/>
                    </a:lnTo>
                    <a:lnTo>
                      <a:pt x="2409" y="4347"/>
                    </a:lnTo>
                    <a:lnTo>
                      <a:pt x="2399" y="4360"/>
                    </a:lnTo>
                    <a:lnTo>
                      <a:pt x="2390" y="4374"/>
                    </a:lnTo>
                    <a:lnTo>
                      <a:pt x="2380" y="4388"/>
                    </a:lnTo>
                    <a:lnTo>
                      <a:pt x="2374" y="4402"/>
                    </a:lnTo>
                    <a:lnTo>
                      <a:pt x="2367" y="4420"/>
                    </a:lnTo>
                    <a:lnTo>
                      <a:pt x="2364" y="4428"/>
                    </a:lnTo>
                    <a:lnTo>
                      <a:pt x="2363" y="4437"/>
                    </a:lnTo>
                    <a:lnTo>
                      <a:pt x="2361" y="4447"/>
                    </a:lnTo>
                    <a:lnTo>
                      <a:pt x="2361" y="4458"/>
                    </a:lnTo>
                    <a:lnTo>
                      <a:pt x="2361" y="4468"/>
                    </a:lnTo>
                    <a:lnTo>
                      <a:pt x="2363" y="4478"/>
                    </a:lnTo>
                    <a:lnTo>
                      <a:pt x="2367" y="4487"/>
                    </a:lnTo>
                    <a:lnTo>
                      <a:pt x="2372" y="4498"/>
                    </a:lnTo>
                    <a:lnTo>
                      <a:pt x="2378" y="4507"/>
                    </a:lnTo>
                    <a:lnTo>
                      <a:pt x="2384" y="4516"/>
                    </a:lnTo>
                    <a:lnTo>
                      <a:pt x="2392" y="4524"/>
                    </a:lnTo>
                    <a:lnTo>
                      <a:pt x="2400" y="4532"/>
                    </a:lnTo>
                    <a:lnTo>
                      <a:pt x="2416" y="4547"/>
                    </a:lnTo>
                    <a:lnTo>
                      <a:pt x="2434" y="4560"/>
                    </a:lnTo>
                    <a:lnTo>
                      <a:pt x="2450" y="4569"/>
                    </a:lnTo>
                    <a:lnTo>
                      <a:pt x="2465" y="4576"/>
                    </a:lnTo>
                    <a:lnTo>
                      <a:pt x="2462" y="4585"/>
                    </a:lnTo>
                    <a:lnTo>
                      <a:pt x="2457" y="4593"/>
                    </a:lnTo>
                    <a:lnTo>
                      <a:pt x="2453" y="4599"/>
                    </a:lnTo>
                    <a:lnTo>
                      <a:pt x="2448" y="4605"/>
                    </a:lnTo>
                    <a:lnTo>
                      <a:pt x="2443" y="4612"/>
                    </a:lnTo>
                    <a:lnTo>
                      <a:pt x="2440" y="4620"/>
                    </a:lnTo>
                    <a:lnTo>
                      <a:pt x="2438" y="4632"/>
                    </a:lnTo>
                    <a:lnTo>
                      <a:pt x="2437" y="4646"/>
                    </a:lnTo>
                    <a:lnTo>
                      <a:pt x="2438" y="4654"/>
                    </a:lnTo>
                    <a:lnTo>
                      <a:pt x="2439" y="4661"/>
                    </a:lnTo>
                    <a:lnTo>
                      <a:pt x="2442" y="4667"/>
                    </a:lnTo>
                    <a:lnTo>
                      <a:pt x="2446" y="4672"/>
                    </a:lnTo>
                    <a:lnTo>
                      <a:pt x="2455" y="4681"/>
                    </a:lnTo>
                    <a:lnTo>
                      <a:pt x="2465" y="4689"/>
                    </a:lnTo>
                    <a:lnTo>
                      <a:pt x="2470" y="4694"/>
                    </a:lnTo>
                    <a:lnTo>
                      <a:pt x="2476" y="4698"/>
                    </a:lnTo>
                    <a:lnTo>
                      <a:pt x="2480" y="4704"/>
                    </a:lnTo>
                    <a:lnTo>
                      <a:pt x="2484" y="4711"/>
                    </a:lnTo>
                    <a:lnTo>
                      <a:pt x="2487" y="4718"/>
                    </a:lnTo>
                    <a:lnTo>
                      <a:pt x="2490" y="4727"/>
                    </a:lnTo>
                    <a:lnTo>
                      <a:pt x="2492" y="4737"/>
                    </a:lnTo>
                    <a:lnTo>
                      <a:pt x="2493" y="4750"/>
                    </a:lnTo>
                    <a:lnTo>
                      <a:pt x="2493" y="4761"/>
                    </a:lnTo>
                    <a:lnTo>
                      <a:pt x="2492" y="4772"/>
                    </a:lnTo>
                    <a:lnTo>
                      <a:pt x="2489" y="4782"/>
                    </a:lnTo>
                    <a:lnTo>
                      <a:pt x="2487" y="4791"/>
                    </a:lnTo>
                    <a:lnTo>
                      <a:pt x="2484" y="4800"/>
                    </a:lnTo>
                    <a:lnTo>
                      <a:pt x="2480" y="4808"/>
                    </a:lnTo>
                    <a:lnTo>
                      <a:pt x="2476" y="4815"/>
                    </a:lnTo>
                    <a:lnTo>
                      <a:pt x="2470" y="4822"/>
                    </a:lnTo>
                    <a:lnTo>
                      <a:pt x="2464" y="4828"/>
                    </a:lnTo>
                    <a:lnTo>
                      <a:pt x="2456" y="4833"/>
                    </a:lnTo>
                    <a:lnTo>
                      <a:pt x="2449" y="4837"/>
                    </a:lnTo>
                    <a:lnTo>
                      <a:pt x="2440" y="4841"/>
                    </a:lnTo>
                    <a:lnTo>
                      <a:pt x="2430" y="4844"/>
                    </a:lnTo>
                    <a:lnTo>
                      <a:pt x="2419" y="4845"/>
                    </a:lnTo>
                    <a:lnTo>
                      <a:pt x="2408" y="4846"/>
                    </a:lnTo>
                    <a:lnTo>
                      <a:pt x="2395" y="4847"/>
                    </a:lnTo>
                    <a:lnTo>
                      <a:pt x="2360" y="4845"/>
                    </a:lnTo>
                    <a:lnTo>
                      <a:pt x="2332" y="4843"/>
                    </a:lnTo>
                    <a:lnTo>
                      <a:pt x="2308" y="4842"/>
                    </a:lnTo>
                    <a:lnTo>
                      <a:pt x="2286" y="4841"/>
                    </a:lnTo>
                    <a:lnTo>
                      <a:pt x="2265" y="4841"/>
                    </a:lnTo>
                    <a:lnTo>
                      <a:pt x="2239" y="4841"/>
                    </a:lnTo>
                    <a:lnTo>
                      <a:pt x="2210" y="4841"/>
                    </a:lnTo>
                    <a:lnTo>
                      <a:pt x="2173" y="4841"/>
                    </a:lnTo>
                    <a:lnTo>
                      <a:pt x="2161" y="4839"/>
                    </a:lnTo>
                    <a:lnTo>
                      <a:pt x="2150" y="4838"/>
                    </a:lnTo>
                    <a:lnTo>
                      <a:pt x="2139" y="4837"/>
                    </a:lnTo>
                    <a:lnTo>
                      <a:pt x="2127" y="4834"/>
                    </a:lnTo>
                    <a:lnTo>
                      <a:pt x="2102" y="4827"/>
                    </a:lnTo>
                    <a:lnTo>
                      <a:pt x="2075" y="4816"/>
                    </a:lnTo>
                    <a:lnTo>
                      <a:pt x="2049" y="4804"/>
                    </a:lnTo>
                    <a:lnTo>
                      <a:pt x="2023" y="4789"/>
                    </a:lnTo>
                    <a:lnTo>
                      <a:pt x="1996" y="4772"/>
                    </a:lnTo>
                    <a:lnTo>
                      <a:pt x="1971" y="4752"/>
                    </a:lnTo>
                    <a:lnTo>
                      <a:pt x="1960" y="4742"/>
                    </a:lnTo>
                    <a:lnTo>
                      <a:pt x="1948" y="4732"/>
                    </a:lnTo>
                    <a:lnTo>
                      <a:pt x="1937" y="4720"/>
                    </a:lnTo>
                    <a:lnTo>
                      <a:pt x="1925" y="4710"/>
                    </a:lnTo>
                    <a:lnTo>
                      <a:pt x="1916" y="4697"/>
                    </a:lnTo>
                    <a:lnTo>
                      <a:pt x="1906" y="4686"/>
                    </a:lnTo>
                    <a:lnTo>
                      <a:pt x="1898" y="4673"/>
                    </a:lnTo>
                    <a:lnTo>
                      <a:pt x="1890" y="4661"/>
                    </a:lnTo>
                    <a:lnTo>
                      <a:pt x="1882" y="4648"/>
                    </a:lnTo>
                    <a:lnTo>
                      <a:pt x="1876" y="4635"/>
                    </a:lnTo>
                    <a:lnTo>
                      <a:pt x="1870" y="4623"/>
                    </a:lnTo>
                    <a:lnTo>
                      <a:pt x="1866" y="4609"/>
                    </a:lnTo>
                    <a:lnTo>
                      <a:pt x="1862" y="4595"/>
                    </a:lnTo>
                    <a:lnTo>
                      <a:pt x="1860" y="4583"/>
                    </a:lnTo>
                    <a:lnTo>
                      <a:pt x="1859" y="4569"/>
                    </a:lnTo>
                    <a:lnTo>
                      <a:pt x="1859" y="4555"/>
                    </a:lnTo>
                    <a:lnTo>
                      <a:pt x="1858" y="4555"/>
                    </a:lnTo>
                    <a:lnTo>
                      <a:pt x="1852" y="4555"/>
                    </a:lnTo>
                    <a:lnTo>
                      <a:pt x="1845" y="4555"/>
                    </a:lnTo>
                    <a:lnTo>
                      <a:pt x="1836" y="4555"/>
                    </a:lnTo>
                    <a:lnTo>
                      <a:pt x="1826" y="4555"/>
                    </a:lnTo>
                    <a:lnTo>
                      <a:pt x="1815" y="4555"/>
                    </a:lnTo>
                    <a:lnTo>
                      <a:pt x="1805" y="4555"/>
                    </a:lnTo>
                    <a:lnTo>
                      <a:pt x="1797" y="4555"/>
                    </a:lnTo>
                    <a:lnTo>
                      <a:pt x="1780" y="4560"/>
                    </a:lnTo>
                    <a:lnTo>
                      <a:pt x="1759" y="4565"/>
                    </a:lnTo>
                    <a:lnTo>
                      <a:pt x="1737" y="4570"/>
                    </a:lnTo>
                    <a:lnTo>
                      <a:pt x="1713" y="4573"/>
                    </a:lnTo>
                    <a:lnTo>
                      <a:pt x="1688" y="4578"/>
                    </a:lnTo>
                    <a:lnTo>
                      <a:pt x="1662" y="4580"/>
                    </a:lnTo>
                    <a:lnTo>
                      <a:pt x="1635" y="4581"/>
                    </a:lnTo>
                    <a:lnTo>
                      <a:pt x="1609" y="4583"/>
                    </a:lnTo>
                    <a:lnTo>
                      <a:pt x="1571" y="4578"/>
                    </a:lnTo>
                    <a:lnTo>
                      <a:pt x="1524" y="4571"/>
                    </a:lnTo>
                    <a:lnTo>
                      <a:pt x="1472" y="4562"/>
                    </a:lnTo>
                    <a:lnTo>
                      <a:pt x="1421" y="4550"/>
                    </a:lnTo>
                    <a:lnTo>
                      <a:pt x="1396" y="4544"/>
                    </a:lnTo>
                    <a:lnTo>
                      <a:pt x="1373" y="4537"/>
                    </a:lnTo>
                    <a:lnTo>
                      <a:pt x="1351" y="4530"/>
                    </a:lnTo>
                    <a:lnTo>
                      <a:pt x="1333" y="4523"/>
                    </a:lnTo>
                    <a:lnTo>
                      <a:pt x="1316" y="4515"/>
                    </a:lnTo>
                    <a:lnTo>
                      <a:pt x="1305" y="4508"/>
                    </a:lnTo>
                    <a:lnTo>
                      <a:pt x="1300" y="4503"/>
                    </a:lnTo>
                    <a:lnTo>
                      <a:pt x="1298" y="4500"/>
                    </a:lnTo>
                    <a:lnTo>
                      <a:pt x="1296" y="4495"/>
                    </a:lnTo>
                    <a:lnTo>
                      <a:pt x="1295" y="4492"/>
                    </a:lnTo>
                    <a:lnTo>
                      <a:pt x="1295" y="4487"/>
                    </a:lnTo>
                    <a:lnTo>
                      <a:pt x="1295" y="4484"/>
                    </a:lnTo>
                    <a:lnTo>
                      <a:pt x="1294" y="4482"/>
                    </a:lnTo>
                    <a:lnTo>
                      <a:pt x="1294" y="4478"/>
                    </a:lnTo>
                    <a:lnTo>
                      <a:pt x="1294" y="4474"/>
                    </a:lnTo>
                    <a:lnTo>
                      <a:pt x="1295" y="4467"/>
                    </a:lnTo>
                    <a:lnTo>
                      <a:pt x="1298" y="4456"/>
                    </a:lnTo>
                    <a:lnTo>
                      <a:pt x="1302" y="4444"/>
                    </a:lnTo>
                    <a:lnTo>
                      <a:pt x="1283" y="4436"/>
                    </a:lnTo>
                    <a:lnTo>
                      <a:pt x="1261" y="4429"/>
                    </a:lnTo>
                    <a:lnTo>
                      <a:pt x="1240" y="4423"/>
                    </a:lnTo>
                    <a:lnTo>
                      <a:pt x="1216" y="4419"/>
                    </a:lnTo>
                    <a:lnTo>
                      <a:pt x="1189" y="4414"/>
                    </a:lnTo>
                    <a:lnTo>
                      <a:pt x="1163" y="4410"/>
                    </a:lnTo>
                    <a:lnTo>
                      <a:pt x="1135" y="4409"/>
                    </a:lnTo>
                    <a:lnTo>
                      <a:pt x="1107" y="4408"/>
                    </a:lnTo>
                    <a:lnTo>
                      <a:pt x="1081" y="4409"/>
                    </a:lnTo>
                    <a:lnTo>
                      <a:pt x="1053" y="4410"/>
                    </a:lnTo>
                    <a:lnTo>
                      <a:pt x="1022" y="4413"/>
                    </a:lnTo>
                    <a:lnTo>
                      <a:pt x="990" y="4415"/>
                    </a:lnTo>
                    <a:lnTo>
                      <a:pt x="958" y="4417"/>
                    </a:lnTo>
                    <a:lnTo>
                      <a:pt x="928" y="4420"/>
                    </a:lnTo>
                    <a:lnTo>
                      <a:pt x="900" y="4422"/>
                    </a:lnTo>
                    <a:lnTo>
                      <a:pt x="877" y="4422"/>
                    </a:lnTo>
                    <a:lnTo>
                      <a:pt x="875" y="4422"/>
                    </a:lnTo>
                    <a:lnTo>
                      <a:pt x="873" y="4420"/>
                    </a:lnTo>
                    <a:lnTo>
                      <a:pt x="869" y="4416"/>
                    </a:lnTo>
                    <a:lnTo>
                      <a:pt x="866" y="4412"/>
                    </a:lnTo>
                    <a:lnTo>
                      <a:pt x="858" y="4399"/>
                    </a:lnTo>
                    <a:lnTo>
                      <a:pt x="849" y="4383"/>
                    </a:lnTo>
                    <a:lnTo>
                      <a:pt x="828" y="4342"/>
                    </a:lnTo>
                    <a:lnTo>
                      <a:pt x="807" y="4292"/>
                    </a:lnTo>
                    <a:lnTo>
                      <a:pt x="786" y="4242"/>
                    </a:lnTo>
                    <a:lnTo>
                      <a:pt x="768" y="4196"/>
                    </a:lnTo>
                    <a:lnTo>
                      <a:pt x="762" y="4177"/>
                    </a:lnTo>
                    <a:lnTo>
                      <a:pt x="757" y="4159"/>
                    </a:lnTo>
                    <a:lnTo>
                      <a:pt x="754" y="4146"/>
                    </a:lnTo>
                    <a:lnTo>
                      <a:pt x="752" y="4136"/>
                    </a:lnTo>
                    <a:lnTo>
                      <a:pt x="752" y="4130"/>
                    </a:lnTo>
                    <a:lnTo>
                      <a:pt x="755" y="4123"/>
                    </a:lnTo>
                    <a:lnTo>
                      <a:pt x="758" y="4116"/>
                    </a:lnTo>
                    <a:lnTo>
                      <a:pt x="763" y="4110"/>
                    </a:lnTo>
                    <a:lnTo>
                      <a:pt x="768" y="4104"/>
                    </a:lnTo>
                    <a:lnTo>
                      <a:pt x="775" y="4100"/>
                    </a:lnTo>
                    <a:lnTo>
                      <a:pt x="783" y="4095"/>
                    </a:lnTo>
                    <a:lnTo>
                      <a:pt x="792" y="4091"/>
                    </a:lnTo>
                    <a:lnTo>
                      <a:pt x="812" y="4082"/>
                    </a:lnTo>
                    <a:lnTo>
                      <a:pt x="834" y="4076"/>
                    </a:lnTo>
                    <a:lnTo>
                      <a:pt x="857" y="4068"/>
                    </a:lnTo>
                    <a:lnTo>
                      <a:pt x="881" y="4061"/>
                    </a:lnTo>
                    <a:lnTo>
                      <a:pt x="905" y="4052"/>
                    </a:lnTo>
                    <a:lnTo>
                      <a:pt x="928" y="4042"/>
                    </a:lnTo>
                    <a:lnTo>
                      <a:pt x="939" y="4038"/>
                    </a:lnTo>
                    <a:lnTo>
                      <a:pt x="950" y="4032"/>
                    </a:lnTo>
                    <a:lnTo>
                      <a:pt x="960" y="4026"/>
                    </a:lnTo>
                    <a:lnTo>
                      <a:pt x="969" y="4019"/>
                    </a:lnTo>
                    <a:lnTo>
                      <a:pt x="978" y="4013"/>
                    </a:lnTo>
                    <a:lnTo>
                      <a:pt x="986" y="4005"/>
                    </a:lnTo>
                    <a:lnTo>
                      <a:pt x="993" y="3996"/>
                    </a:lnTo>
                    <a:lnTo>
                      <a:pt x="999" y="3987"/>
                    </a:lnTo>
                    <a:lnTo>
                      <a:pt x="1003" y="3977"/>
                    </a:lnTo>
                    <a:lnTo>
                      <a:pt x="1007" y="3966"/>
                    </a:lnTo>
                    <a:lnTo>
                      <a:pt x="1009" y="3954"/>
                    </a:lnTo>
                    <a:lnTo>
                      <a:pt x="1009" y="3941"/>
                    </a:lnTo>
                    <a:lnTo>
                      <a:pt x="1009" y="3937"/>
                    </a:lnTo>
                    <a:lnTo>
                      <a:pt x="1007" y="3931"/>
                    </a:lnTo>
                    <a:lnTo>
                      <a:pt x="1003" y="3925"/>
                    </a:lnTo>
                    <a:lnTo>
                      <a:pt x="999" y="3920"/>
                    </a:lnTo>
                    <a:lnTo>
                      <a:pt x="987" y="3908"/>
                    </a:lnTo>
                    <a:lnTo>
                      <a:pt x="971" y="3897"/>
                    </a:lnTo>
                    <a:lnTo>
                      <a:pt x="953" y="3885"/>
                    </a:lnTo>
                    <a:lnTo>
                      <a:pt x="932" y="3874"/>
                    </a:lnTo>
                    <a:lnTo>
                      <a:pt x="908" y="3862"/>
                    </a:lnTo>
                    <a:lnTo>
                      <a:pt x="884" y="3851"/>
                    </a:lnTo>
                    <a:lnTo>
                      <a:pt x="859" y="3842"/>
                    </a:lnTo>
                    <a:lnTo>
                      <a:pt x="834" y="3831"/>
                    </a:lnTo>
                    <a:lnTo>
                      <a:pt x="810" y="3823"/>
                    </a:lnTo>
                    <a:lnTo>
                      <a:pt x="787" y="3816"/>
                    </a:lnTo>
                    <a:lnTo>
                      <a:pt x="765" y="3811"/>
                    </a:lnTo>
                    <a:lnTo>
                      <a:pt x="745" y="3806"/>
                    </a:lnTo>
                    <a:lnTo>
                      <a:pt x="729" y="3804"/>
                    </a:lnTo>
                    <a:lnTo>
                      <a:pt x="717" y="3803"/>
                    </a:lnTo>
                    <a:lnTo>
                      <a:pt x="705" y="3803"/>
                    </a:lnTo>
                    <a:lnTo>
                      <a:pt x="695" y="3804"/>
                    </a:lnTo>
                    <a:lnTo>
                      <a:pt x="685" y="3806"/>
                    </a:lnTo>
                    <a:lnTo>
                      <a:pt x="676" y="3808"/>
                    </a:lnTo>
                    <a:lnTo>
                      <a:pt x="657" y="3813"/>
                    </a:lnTo>
                    <a:lnTo>
                      <a:pt x="639" y="3820"/>
                    </a:lnTo>
                    <a:lnTo>
                      <a:pt x="621" y="3827"/>
                    </a:lnTo>
                    <a:lnTo>
                      <a:pt x="600" y="3831"/>
                    </a:lnTo>
                    <a:lnTo>
                      <a:pt x="588" y="3834"/>
                    </a:lnTo>
                    <a:lnTo>
                      <a:pt x="577" y="3836"/>
                    </a:lnTo>
                    <a:lnTo>
                      <a:pt x="564" y="3837"/>
                    </a:lnTo>
                    <a:lnTo>
                      <a:pt x="551" y="3837"/>
                    </a:lnTo>
                    <a:lnTo>
                      <a:pt x="531" y="3837"/>
                    </a:lnTo>
                    <a:lnTo>
                      <a:pt x="513" y="3835"/>
                    </a:lnTo>
                    <a:lnTo>
                      <a:pt x="494" y="3832"/>
                    </a:lnTo>
                    <a:lnTo>
                      <a:pt x="478" y="3829"/>
                    </a:lnTo>
                    <a:lnTo>
                      <a:pt x="462" y="3824"/>
                    </a:lnTo>
                    <a:lnTo>
                      <a:pt x="446" y="3819"/>
                    </a:lnTo>
                    <a:lnTo>
                      <a:pt x="431" y="3812"/>
                    </a:lnTo>
                    <a:lnTo>
                      <a:pt x="418" y="3804"/>
                    </a:lnTo>
                    <a:lnTo>
                      <a:pt x="405" y="3796"/>
                    </a:lnTo>
                    <a:lnTo>
                      <a:pt x="391" y="3787"/>
                    </a:lnTo>
                    <a:lnTo>
                      <a:pt x="380" y="3777"/>
                    </a:lnTo>
                    <a:lnTo>
                      <a:pt x="368" y="3767"/>
                    </a:lnTo>
                    <a:lnTo>
                      <a:pt x="357" y="3756"/>
                    </a:lnTo>
                    <a:lnTo>
                      <a:pt x="346" y="3744"/>
                    </a:lnTo>
                    <a:lnTo>
                      <a:pt x="336" y="3732"/>
                    </a:lnTo>
                    <a:lnTo>
                      <a:pt x="327" y="3719"/>
                    </a:lnTo>
                    <a:lnTo>
                      <a:pt x="327" y="3663"/>
                    </a:lnTo>
                    <a:lnTo>
                      <a:pt x="404" y="3663"/>
                    </a:lnTo>
                    <a:lnTo>
                      <a:pt x="421" y="3671"/>
                    </a:lnTo>
                    <a:lnTo>
                      <a:pt x="438" y="3678"/>
                    </a:lnTo>
                    <a:lnTo>
                      <a:pt x="458" y="3685"/>
                    </a:lnTo>
                    <a:lnTo>
                      <a:pt x="478" y="3691"/>
                    </a:lnTo>
                    <a:lnTo>
                      <a:pt x="500" y="3697"/>
                    </a:lnTo>
                    <a:lnTo>
                      <a:pt x="522" y="3704"/>
                    </a:lnTo>
                    <a:lnTo>
                      <a:pt x="543" y="3711"/>
                    </a:lnTo>
                    <a:lnTo>
                      <a:pt x="564" y="3719"/>
                    </a:lnTo>
                    <a:lnTo>
                      <a:pt x="563" y="3710"/>
                    </a:lnTo>
                    <a:lnTo>
                      <a:pt x="563" y="3702"/>
                    </a:lnTo>
                    <a:lnTo>
                      <a:pt x="561" y="3694"/>
                    </a:lnTo>
                    <a:lnTo>
                      <a:pt x="559" y="3686"/>
                    </a:lnTo>
                    <a:lnTo>
                      <a:pt x="553" y="3671"/>
                    </a:lnTo>
                    <a:lnTo>
                      <a:pt x="544" y="3658"/>
                    </a:lnTo>
                    <a:lnTo>
                      <a:pt x="535" y="3646"/>
                    </a:lnTo>
                    <a:lnTo>
                      <a:pt x="523" y="3633"/>
                    </a:lnTo>
                    <a:lnTo>
                      <a:pt x="512" y="3623"/>
                    </a:lnTo>
                    <a:lnTo>
                      <a:pt x="499" y="3611"/>
                    </a:lnTo>
                    <a:lnTo>
                      <a:pt x="486" y="3600"/>
                    </a:lnTo>
                    <a:lnTo>
                      <a:pt x="474" y="3588"/>
                    </a:lnTo>
                    <a:lnTo>
                      <a:pt x="461" y="3577"/>
                    </a:lnTo>
                    <a:lnTo>
                      <a:pt x="450" y="3564"/>
                    </a:lnTo>
                    <a:lnTo>
                      <a:pt x="439" y="3550"/>
                    </a:lnTo>
                    <a:lnTo>
                      <a:pt x="430" y="3537"/>
                    </a:lnTo>
                    <a:lnTo>
                      <a:pt x="427" y="3529"/>
                    </a:lnTo>
                    <a:lnTo>
                      <a:pt x="423" y="3521"/>
                    </a:lnTo>
                    <a:lnTo>
                      <a:pt x="420" y="3512"/>
                    </a:lnTo>
                    <a:lnTo>
                      <a:pt x="418" y="3503"/>
                    </a:lnTo>
                    <a:lnTo>
                      <a:pt x="416" y="3486"/>
                    </a:lnTo>
                    <a:lnTo>
                      <a:pt x="418" y="3465"/>
                    </a:lnTo>
                    <a:lnTo>
                      <a:pt x="420" y="3444"/>
                    </a:lnTo>
                    <a:lnTo>
                      <a:pt x="422" y="3421"/>
                    </a:lnTo>
                    <a:lnTo>
                      <a:pt x="423" y="3399"/>
                    </a:lnTo>
                    <a:lnTo>
                      <a:pt x="422" y="3379"/>
                    </a:lnTo>
                    <a:lnTo>
                      <a:pt x="421" y="3370"/>
                    </a:lnTo>
                    <a:lnTo>
                      <a:pt x="419" y="3362"/>
                    </a:lnTo>
                    <a:lnTo>
                      <a:pt x="415" y="3355"/>
                    </a:lnTo>
                    <a:lnTo>
                      <a:pt x="411" y="3350"/>
                    </a:lnTo>
                    <a:lnTo>
                      <a:pt x="396" y="3336"/>
                    </a:lnTo>
                    <a:lnTo>
                      <a:pt x="380" y="3323"/>
                    </a:lnTo>
                    <a:lnTo>
                      <a:pt x="366" y="3311"/>
                    </a:lnTo>
                    <a:lnTo>
                      <a:pt x="355" y="3298"/>
                    </a:lnTo>
                    <a:lnTo>
                      <a:pt x="349" y="3290"/>
                    </a:lnTo>
                    <a:lnTo>
                      <a:pt x="344" y="3282"/>
                    </a:lnTo>
                    <a:lnTo>
                      <a:pt x="341" y="3273"/>
                    </a:lnTo>
                    <a:lnTo>
                      <a:pt x="337" y="3261"/>
                    </a:lnTo>
                    <a:lnTo>
                      <a:pt x="335" y="3250"/>
                    </a:lnTo>
                    <a:lnTo>
                      <a:pt x="334" y="3236"/>
                    </a:lnTo>
                    <a:lnTo>
                      <a:pt x="334" y="3221"/>
                    </a:lnTo>
                    <a:lnTo>
                      <a:pt x="334" y="3204"/>
                    </a:lnTo>
                    <a:lnTo>
                      <a:pt x="317" y="3203"/>
                    </a:lnTo>
                    <a:lnTo>
                      <a:pt x="299" y="3202"/>
                    </a:lnTo>
                    <a:lnTo>
                      <a:pt x="285" y="3199"/>
                    </a:lnTo>
                    <a:lnTo>
                      <a:pt x="270" y="3196"/>
                    </a:lnTo>
                    <a:lnTo>
                      <a:pt x="255" y="3193"/>
                    </a:lnTo>
                    <a:lnTo>
                      <a:pt x="242" y="3188"/>
                    </a:lnTo>
                    <a:lnTo>
                      <a:pt x="230" y="3183"/>
                    </a:lnTo>
                    <a:lnTo>
                      <a:pt x="217" y="3178"/>
                    </a:lnTo>
                    <a:lnTo>
                      <a:pt x="193" y="3165"/>
                    </a:lnTo>
                    <a:lnTo>
                      <a:pt x="171" y="3150"/>
                    </a:lnTo>
                    <a:lnTo>
                      <a:pt x="148" y="3135"/>
                    </a:lnTo>
                    <a:lnTo>
                      <a:pt x="125" y="3120"/>
                    </a:lnTo>
                    <a:lnTo>
                      <a:pt x="110" y="3097"/>
                    </a:lnTo>
                    <a:lnTo>
                      <a:pt x="93" y="3069"/>
                    </a:lnTo>
                    <a:lnTo>
                      <a:pt x="75" y="3035"/>
                    </a:lnTo>
                    <a:lnTo>
                      <a:pt x="56" y="3000"/>
                    </a:lnTo>
                    <a:lnTo>
                      <a:pt x="48" y="2981"/>
                    </a:lnTo>
                    <a:lnTo>
                      <a:pt x="40" y="2963"/>
                    </a:lnTo>
                    <a:lnTo>
                      <a:pt x="32" y="2946"/>
                    </a:lnTo>
                    <a:lnTo>
                      <a:pt x="27" y="2928"/>
                    </a:lnTo>
                    <a:lnTo>
                      <a:pt x="21" y="2912"/>
                    </a:lnTo>
                    <a:lnTo>
                      <a:pt x="17" y="2895"/>
                    </a:lnTo>
                    <a:lnTo>
                      <a:pt x="15" y="2882"/>
                    </a:lnTo>
                    <a:lnTo>
                      <a:pt x="14" y="2869"/>
                    </a:lnTo>
                    <a:lnTo>
                      <a:pt x="15" y="2855"/>
                    </a:lnTo>
                    <a:lnTo>
                      <a:pt x="16" y="2843"/>
                    </a:lnTo>
                    <a:lnTo>
                      <a:pt x="19" y="2831"/>
                    </a:lnTo>
                    <a:lnTo>
                      <a:pt x="23" y="2820"/>
                    </a:lnTo>
                    <a:lnTo>
                      <a:pt x="32" y="2799"/>
                    </a:lnTo>
                    <a:lnTo>
                      <a:pt x="43" y="2781"/>
                    </a:lnTo>
                    <a:lnTo>
                      <a:pt x="54" y="2764"/>
                    </a:lnTo>
                    <a:lnTo>
                      <a:pt x="64" y="2746"/>
                    </a:lnTo>
                    <a:lnTo>
                      <a:pt x="68" y="2738"/>
                    </a:lnTo>
                    <a:lnTo>
                      <a:pt x="72" y="2729"/>
                    </a:lnTo>
                    <a:lnTo>
                      <a:pt x="75" y="2719"/>
                    </a:lnTo>
                    <a:lnTo>
                      <a:pt x="77" y="2709"/>
                    </a:lnTo>
                    <a:lnTo>
                      <a:pt x="77" y="2689"/>
                    </a:lnTo>
                    <a:lnTo>
                      <a:pt x="77" y="2671"/>
                    </a:lnTo>
                    <a:lnTo>
                      <a:pt x="77" y="2653"/>
                    </a:lnTo>
                    <a:lnTo>
                      <a:pt x="77" y="2636"/>
                    </a:lnTo>
                    <a:lnTo>
                      <a:pt x="77" y="2619"/>
                    </a:lnTo>
                    <a:lnTo>
                      <a:pt x="77" y="2601"/>
                    </a:lnTo>
                    <a:lnTo>
                      <a:pt x="77" y="2582"/>
                    </a:lnTo>
                    <a:lnTo>
                      <a:pt x="77" y="2563"/>
                    </a:lnTo>
                    <a:lnTo>
                      <a:pt x="76" y="2553"/>
                    </a:lnTo>
                    <a:lnTo>
                      <a:pt x="72" y="2543"/>
                    </a:lnTo>
                    <a:lnTo>
                      <a:pt x="67" y="2534"/>
                    </a:lnTo>
                    <a:lnTo>
                      <a:pt x="61" y="2526"/>
                    </a:lnTo>
                    <a:lnTo>
                      <a:pt x="45" y="2510"/>
                    </a:lnTo>
                    <a:lnTo>
                      <a:pt x="29" y="2495"/>
                    </a:lnTo>
                    <a:lnTo>
                      <a:pt x="21" y="2487"/>
                    </a:lnTo>
                    <a:lnTo>
                      <a:pt x="14" y="2479"/>
                    </a:lnTo>
                    <a:lnTo>
                      <a:pt x="8" y="2470"/>
                    </a:lnTo>
                    <a:lnTo>
                      <a:pt x="4" y="2461"/>
                    </a:lnTo>
                    <a:lnTo>
                      <a:pt x="1" y="2456"/>
                    </a:lnTo>
                    <a:lnTo>
                      <a:pt x="0" y="2452"/>
                    </a:lnTo>
                    <a:lnTo>
                      <a:pt x="0" y="2446"/>
                    </a:lnTo>
                    <a:lnTo>
                      <a:pt x="0" y="2440"/>
                    </a:lnTo>
                    <a:lnTo>
                      <a:pt x="0" y="2434"/>
                    </a:lnTo>
                    <a:lnTo>
                      <a:pt x="3" y="2429"/>
                    </a:lnTo>
                    <a:lnTo>
                      <a:pt x="4" y="2423"/>
                    </a:lnTo>
                    <a:lnTo>
                      <a:pt x="7" y="2416"/>
                    </a:lnTo>
                    <a:lnTo>
                      <a:pt x="21" y="2415"/>
                    </a:lnTo>
                    <a:lnTo>
                      <a:pt x="33" y="2413"/>
                    </a:lnTo>
                    <a:lnTo>
                      <a:pt x="45" y="2409"/>
                    </a:lnTo>
                    <a:lnTo>
                      <a:pt x="55" y="2406"/>
                    </a:lnTo>
                    <a:lnTo>
                      <a:pt x="66" y="2402"/>
                    </a:lnTo>
                    <a:lnTo>
                      <a:pt x="75" y="2398"/>
                    </a:lnTo>
                    <a:lnTo>
                      <a:pt x="83" y="2392"/>
                    </a:lnTo>
                    <a:lnTo>
                      <a:pt x="92" y="2387"/>
                    </a:lnTo>
                    <a:lnTo>
                      <a:pt x="107" y="2375"/>
                    </a:lnTo>
                    <a:lnTo>
                      <a:pt x="124" y="2360"/>
                    </a:lnTo>
                    <a:lnTo>
                      <a:pt x="141" y="2344"/>
                    </a:lnTo>
                    <a:lnTo>
                      <a:pt x="161" y="2325"/>
                    </a:lnTo>
                    <a:lnTo>
                      <a:pt x="467" y="2332"/>
                    </a:lnTo>
                    <a:lnTo>
                      <a:pt x="478" y="2330"/>
                    </a:lnTo>
                    <a:lnTo>
                      <a:pt x="493" y="2327"/>
                    </a:lnTo>
                    <a:lnTo>
                      <a:pt x="509" y="2323"/>
                    </a:lnTo>
                    <a:lnTo>
                      <a:pt x="525" y="2319"/>
                    </a:lnTo>
                    <a:lnTo>
                      <a:pt x="533" y="2315"/>
                    </a:lnTo>
                    <a:lnTo>
                      <a:pt x="540" y="2312"/>
                    </a:lnTo>
                    <a:lnTo>
                      <a:pt x="547" y="2307"/>
                    </a:lnTo>
                    <a:lnTo>
                      <a:pt x="553" y="2303"/>
                    </a:lnTo>
                    <a:lnTo>
                      <a:pt x="557" y="2297"/>
                    </a:lnTo>
                    <a:lnTo>
                      <a:pt x="561" y="2291"/>
                    </a:lnTo>
                    <a:lnTo>
                      <a:pt x="563" y="2284"/>
                    </a:lnTo>
                    <a:lnTo>
                      <a:pt x="564" y="2277"/>
                    </a:lnTo>
                    <a:lnTo>
                      <a:pt x="564" y="2267"/>
                    </a:lnTo>
                    <a:lnTo>
                      <a:pt x="565" y="2258"/>
                    </a:lnTo>
                    <a:lnTo>
                      <a:pt x="568" y="2249"/>
                    </a:lnTo>
                    <a:lnTo>
                      <a:pt x="570" y="2239"/>
                    </a:lnTo>
                    <a:lnTo>
                      <a:pt x="574" y="2231"/>
                    </a:lnTo>
                    <a:lnTo>
                      <a:pt x="577" y="2223"/>
                    </a:lnTo>
                    <a:lnTo>
                      <a:pt x="582" y="2217"/>
                    </a:lnTo>
                    <a:lnTo>
                      <a:pt x="587" y="2210"/>
                    </a:lnTo>
                    <a:lnTo>
                      <a:pt x="598" y="2197"/>
                    </a:lnTo>
                    <a:lnTo>
                      <a:pt x="610" y="2184"/>
                    </a:lnTo>
                    <a:lnTo>
                      <a:pt x="624" y="2174"/>
                    </a:lnTo>
                    <a:lnTo>
                      <a:pt x="638" y="2164"/>
                    </a:lnTo>
                    <a:lnTo>
                      <a:pt x="664" y="2145"/>
                    </a:lnTo>
                    <a:lnTo>
                      <a:pt x="687" y="2126"/>
                    </a:lnTo>
                    <a:lnTo>
                      <a:pt x="696" y="2117"/>
                    </a:lnTo>
                    <a:lnTo>
                      <a:pt x="704" y="2106"/>
                    </a:lnTo>
                    <a:lnTo>
                      <a:pt x="706" y="2101"/>
                    </a:lnTo>
                    <a:lnTo>
                      <a:pt x="709" y="2095"/>
                    </a:lnTo>
                    <a:lnTo>
                      <a:pt x="710" y="2088"/>
                    </a:lnTo>
                    <a:lnTo>
                      <a:pt x="710" y="2082"/>
                    </a:lnTo>
                    <a:lnTo>
                      <a:pt x="710" y="2074"/>
                    </a:lnTo>
                    <a:lnTo>
                      <a:pt x="708" y="2069"/>
                    </a:lnTo>
                    <a:lnTo>
                      <a:pt x="705" y="2063"/>
                    </a:lnTo>
                    <a:lnTo>
                      <a:pt x="703" y="2057"/>
                    </a:lnTo>
                    <a:lnTo>
                      <a:pt x="695" y="2048"/>
                    </a:lnTo>
                    <a:lnTo>
                      <a:pt x="686" y="2040"/>
                    </a:lnTo>
                    <a:lnTo>
                      <a:pt x="677" y="2031"/>
                    </a:lnTo>
                    <a:lnTo>
                      <a:pt x="669" y="2020"/>
                    </a:lnTo>
                    <a:lnTo>
                      <a:pt x="666" y="2015"/>
                    </a:lnTo>
                    <a:lnTo>
                      <a:pt x="664" y="2008"/>
                    </a:lnTo>
                    <a:lnTo>
                      <a:pt x="662" y="2000"/>
                    </a:lnTo>
                    <a:lnTo>
                      <a:pt x="662" y="1992"/>
                    </a:lnTo>
                    <a:lnTo>
                      <a:pt x="662" y="1986"/>
                    </a:lnTo>
                    <a:lnTo>
                      <a:pt x="664" y="1980"/>
                    </a:lnTo>
                    <a:lnTo>
                      <a:pt x="668" y="1976"/>
                    </a:lnTo>
                    <a:lnTo>
                      <a:pt x="672" y="1972"/>
                    </a:lnTo>
                    <a:lnTo>
                      <a:pt x="684" y="1965"/>
                    </a:lnTo>
                    <a:lnTo>
                      <a:pt x="696" y="1958"/>
                    </a:lnTo>
                    <a:lnTo>
                      <a:pt x="703" y="1955"/>
                    </a:lnTo>
                    <a:lnTo>
                      <a:pt x="709" y="1952"/>
                    </a:lnTo>
                    <a:lnTo>
                      <a:pt x="715" y="1947"/>
                    </a:lnTo>
                    <a:lnTo>
                      <a:pt x="720" y="1942"/>
                    </a:lnTo>
                    <a:lnTo>
                      <a:pt x="725" y="1937"/>
                    </a:lnTo>
                    <a:lnTo>
                      <a:pt x="728" y="1931"/>
                    </a:lnTo>
                    <a:lnTo>
                      <a:pt x="731" y="1924"/>
                    </a:lnTo>
                    <a:lnTo>
                      <a:pt x="732" y="1915"/>
                    </a:lnTo>
                    <a:lnTo>
                      <a:pt x="732" y="1903"/>
                    </a:lnTo>
                    <a:lnTo>
                      <a:pt x="729" y="1893"/>
                    </a:lnTo>
                    <a:lnTo>
                      <a:pt x="726" y="1884"/>
                    </a:lnTo>
                    <a:lnTo>
                      <a:pt x="721" y="1876"/>
                    </a:lnTo>
                    <a:lnTo>
                      <a:pt x="715" y="1868"/>
                    </a:lnTo>
                    <a:lnTo>
                      <a:pt x="708" y="1861"/>
                    </a:lnTo>
                    <a:lnTo>
                      <a:pt x="700" y="1854"/>
                    </a:lnTo>
                    <a:lnTo>
                      <a:pt x="692" y="1848"/>
                    </a:lnTo>
                    <a:lnTo>
                      <a:pt x="676" y="1836"/>
                    </a:lnTo>
                    <a:lnTo>
                      <a:pt x="662" y="1824"/>
                    </a:lnTo>
                    <a:lnTo>
                      <a:pt x="656" y="1817"/>
                    </a:lnTo>
                    <a:lnTo>
                      <a:pt x="651" y="1812"/>
                    </a:lnTo>
                    <a:lnTo>
                      <a:pt x="648" y="1804"/>
                    </a:lnTo>
                    <a:lnTo>
                      <a:pt x="648" y="1797"/>
                    </a:lnTo>
                    <a:lnTo>
                      <a:pt x="648" y="1791"/>
                    </a:lnTo>
                    <a:lnTo>
                      <a:pt x="649" y="1785"/>
                    </a:lnTo>
                    <a:lnTo>
                      <a:pt x="650" y="1781"/>
                    </a:lnTo>
                    <a:lnTo>
                      <a:pt x="653" y="1776"/>
                    </a:lnTo>
                    <a:lnTo>
                      <a:pt x="658" y="1768"/>
                    </a:lnTo>
                    <a:lnTo>
                      <a:pt x="665" y="1762"/>
                    </a:lnTo>
                    <a:lnTo>
                      <a:pt x="671" y="1755"/>
                    </a:lnTo>
                    <a:lnTo>
                      <a:pt x="677" y="1747"/>
                    </a:lnTo>
                    <a:lnTo>
                      <a:pt x="679" y="1743"/>
                    </a:lnTo>
                    <a:lnTo>
                      <a:pt x="681" y="1738"/>
                    </a:lnTo>
                    <a:lnTo>
                      <a:pt x="682" y="1734"/>
                    </a:lnTo>
                    <a:lnTo>
                      <a:pt x="682" y="1727"/>
                    </a:lnTo>
                    <a:lnTo>
                      <a:pt x="684" y="1707"/>
                    </a:lnTo>
                    <a:lnTo>
                      <a:pt x="687" y="1690"/>
                    </a:lnTo>
                    <a:lnTo>
                      <a:pt x="692" y="1673"/>
                    </a:lnTo>
                    <a:lnTo>
                      <a:pt x="696" y="1657"/>
                    </a:lnTo>
                    <a:lnTo>
                      <a:pt x="702" y="1642"/>
                    </a:lnTo>
                    <a:lnTo>
                      <a:pt x="705" y="1625"/>
                    </a:lnTo>
                    <a:lnTo>
                      <a:pt x="709" y="1608"/>
                    </a:lnTo>
                    <a:lnTo>
                      <a:pt x="710" y="1588"/>
                    </a:lnTo>
                    <a:lnTo>
                      <a:pt x="710" y="1580"/>
                    </a:lnTo>
                    <a:lnTo>
                      <a:pt x="709" y="1573"/>
                    </a:lnTo>
                    <a:lnTo>
                      <a:pt x="706" y="1565"/>
                    </a:lnTo>
                    <a:lnTo>
                      <a:pt x="704" y="1558"/>
                    </a:lnTo>
                    <a:lnTo>
                      <a:pt x="696" y="1546"/>
                    </a:lnTo>
                    <a:lnTo>
                      <a:pt x="686" y="1532"/>
                    </a:lnTo>
                    <a:lnTo>
                      <a:pt x="674" y="1520"/>
                    </a:lnTo>
                    <a:lnTo>
                      <a:pt x="662" y="1508"/>
                    </a:lnTo>
                    <a:lnTo>
                      <a:pt x="648" y="1496"/>
                    </a:lnTo>
                    <a:lnTo>
                      <a:pt x="634" y="1484"/>
                    </a:lnTo>
                    <a:lnTo>
                      <a:pt x="621" y="1472"/>
                    </a:lnTo>
                    <a:lnTo>
                      <a:pt x="607" y="1460"/>
                    </a:lnTo>
                    <a:lnTo>
                      <a:pt x="595" y="1446"/>
                    </a:lnTo>
                    <a:lnTo>
                      <a:pt x="584" y="1432"/>
                    </a:lnTo>
                    <a:lnTo>
                      <a:pt x="579" y="1425"/>
                    </a:lnTo>
                    <a:lnTo>
                      <a:pt x="575" y="1417"/>
                    </a:lnTo>
                    <a:lnTo>
                      <a:pt x="571" y="1409"/>
                    </a:lnTo>
                    <a:lnTo>
                      <a:pt x="568" y="1401"/>
                    </a:lnTo>
                    <a:lnTo>
                      <a:pt x="565" y="1392"/>
                    </a:lnTo>
                    <a:lnTo>
                      <a:pt x="564" y="1384"/>
                    </a:lnTo>
                    <a:lnTo>
                      <a:pt x="564" y="1375"/>
                    </a:lnTo>
                    <a:lnTo>
                      <a:pt x="564" y="1364"/>
                    </a:lnTo>
                    <a:lnTo>
                      <a:pt x="564" y="1355"/>
                    </a:lnTo>
                    <a:lnTo>
                      <a:pt x="567" y="1347"/>
                    </a:lnTo>
                    <a:lnTo>
                      <a:pt x="570" y="1340"/>
                    </a:lnTo>
                    <a:lnTo>
                      <a:pt x="574" y="1335"/>
                    </a:lnTo>
                    <a:lnTo>
                      <a:pt x="584" y="1325"/>
                    </a:lnTo>
                    <a:lnTo>
                      <a:pt x="596" y="1317"/>
                    </a:lnTo>
                    <a:lnTo>
                      <a:pt x="602" y="1314"/>
                    </a:lnTo>
                    <a:lnTo>
                      <a:pt x="609" y="1309"/>
                    </a:lnTo>
                    <a:lnTo>
                      <a:pt x="615" y="1305"/>
                    </a:lnTo>
                    <a:lnTo>
                      <a:pt x="619" y="1298"/>
                    </a:lnTo>
                    <a:lnTo>
                      <a:pt x="625" y="1291"/>
                    </a:lnTo>
                    <a:lnTo>
                      <a:pt x="629" y="1283"/>
                    </a:lnTo>
                    <a:lnTo>
                      <a:pt x="632" y="1273"/>
                    </a:lnTo>
                    <a:lnTo>
                      <a:pt x="633" y="1260"/>
                    </a:lnTo>
                    <a:lnTo>
                      <a:pt x="633" y="1249"/>
                    </a:lnTo>
                    <a:lnTo>
                      <a:pt x="631" y="1237"/>
                    </a:lnTo>
                    <a:lnTo>
                      <a:pt x="626" y="1228"/>
                    </a:lnTo>
                    <a:lnTo>
                      <a:pt x="622" y="1220"/>
                    </a:lnTo>
                    <a:lnTo>
                      <a:pt x="609" y="1205"/>
                    </a:lnTo>
                    <a:lnTo>
                      <a:pt x="595" y="1192"/>
                    </a:lnTo>
                    <a:lnTo>
                      <a:pt x="588" y="1185"/>
                    </a:lnTo>
                    <a:lnTo>
                      <a:pt x="582" y="1179"/>
                    </a:lnTo>
                    <a:lnTo>
                      <a:pt x="575" y="1171"/>
                    </a:lnTo>
                    <a:lnTo>
                      <a:pt x="569" y="1163"/>
                    </a:lnTo>
                    <a:lnTo>
                      <a:pt x="564" y="1152"/>
                    </a:lnTo>
                    <a:lnTo>
                      <a:pt x="561" y="1142"/>
                    </a:lnTo>
                    <a:lnTo>
                      <a:pt x="557" y="1129"/>
                    </a:lnTo>
                    <a:lnTo>
                      <a:pt x="557" y="1114"/>
                    </a:lnTo>
                    <a:lnTo>
                      <a:pt x="557" y="1104"/>
                    </a:lnTo>
                    <a:lnTo>
                      <a:pt x="560" y="1094"/>
                    </a:lnTo>
                    <a:lnTo>
                      <a:pt x="563" y="1083"/>
                    </a:lnTo>
                    <a:lnTo>
                      <a:pt x="568" y="1073"/>
                    </a:lnTo>
                    <a:lnTo>
                      <a:pt x="574" y="1064"/>
                    </a:lnTo>
                    <a:lnTo>
                      <a:pt x="580" y="1055"/>
                    </a:lnTo>
                    <a:lnTo>
                      <a:pt x="590" y="1046"/>
                    </a:lnTo>
                    <a:lnTo>
                      <a:pt x="599" y="1038"/>
                    </a:lnTo>
                    <a:lnTo>
                      <a:pt x="599" y="981"/>
                    </a:lnTo>
                    <a:lnTo>
                      <a:pt x="584" y="981"/>
                    </a:lnTo>
                    <a:lnTo>
                      <a:pt x="569" y="980"/>
                    </a:lnTo>
                    <a:lnTo>
                      <a:pt x="555" y="978"/>
                    </a:lnTo>
                    <a:lnTo>
                      <a:pt x="543" y="974"/>
                    </a:lnTo>
                    <a:lnTo>
                      <a:pt x="530" y="971"/>
                    </a:lnTo>
                    <a:lnTo>
                      <a:pt x="518" y="966"/>
                    </a:lnTo>
                    <a:lnTo>
                      <a:pt x="507" y="961"/>
                    </a:lnTo>
                    <a:lnTo>
                      <a:pt x="497" y="955"/>
                    </a:lnTo>
                    <a:lnTo>
                      <a:pt x="486" y="948"/>
                    </a:lnTo>
                    <a:lnTo>
                      <a:pt x="477" y="941"/>
                    </a:lnTo>
                    <a:lnTo>
                      <a:pt x="468" y="933"/>
                    </a:lnTo>
                    <a:lnTo>
                      <a:pt x="460" y="925"/>
                    </a:lnTo>
                    <a:lnTo>
                      <a:pt x="444" y="907"/>
                    </a:lnTo>
                    <a:lnTo>
                      <a:pt x="430" y="887"/>
                    </a:lnTo>
                    <a:lnTo>
                      <a:pt x="416" y="866"/>
                    </a:lnTo>
                    <a:lnTo>
                      <a:pt x="405" y="844"/>
                    </a:lnTo>
                    <a:lnTo>
                      <a:pt x="392" y="821"/>
                    </a:lnTo>
                    <a:lnTo>
                      <a:pt x="382" y="797"/>
                    </a:lnTo>
                    <a:lnTo>
                      <a:pt x="359" y="750"/>
                    </a:lnTo>
                    <a:lnTo>
                      <a:pt x="334" y="703"/>
                    </a:lnTo>
                    <a:lnTo>
                      <a:pt x="330" y="696"/>
                    </a:lnTo>
                    <a:lnTo>
                      <a:pt x="325" y="688"/>
                    </a:lnTo>
                    <a:lnTo>
                      <a:pt x="319" y="681"/>
                    </a:lnTo>
                    <a:lnTo>
                      <a:pt x="312" y="674"/>
                    </a:lnTo>
                    <a:lnTo>
                      <a:pt x="298" y="659"/>
                    </a:lnTo>
                    <a:lnTo>
                      <a:pt x="285" y="643"/>
                    </a:lnTo>
                    <a:lnTo>
                      <a:pt x="278" y="635"/>
                    </a:lnTo>
                    <a:lnTo>
                      <a:pt x="272" y="626"/>
                    </a:lnTo>
                    <a:lnTo>
                      <a:pt x="266" y="617"/>
                    </a:lnTo>
                    <a:lnTo>
                      <a:pt x="260" y="606"/>
                    </a:lnTo>
                    <a:lnTo>
                      <a:pt x="257" y="595"/>
                    </a:lnTo>
                    <a:lnTo>
                      <a:pt x="254" y="583"/>
                    </a:lnTo>
                    <a:lnTo>
                      <a:pt x="251" y="571"/>
                    </a:lnTo>
                    <a:lnTo>
                      <a:pt x="250" y="557"/>
                    </a:lnTo>
                    <a:lnTo>
                      <a:pt x="251" y="546"/>
                    </a:lnTo>
                    <a:lnTo>
                      <a:pt x="252" y="535"/>
                    </a:lnTo>
                    <a:lnTo>
                      <a:pt x="255" y="525"/>
                    </a:lnTo>
                    <a:lnTo>
                      <a:pt x="257" y="516"/>
                    </a:lnTo>
                    <a:lnTo>
                      <a:pt x="260" y="508"/>
                    </a:lnTo>
                    <a:lnTo>
                      <a:pt x="265" y="500"/>
                    </a:lnTo>
                    <a:lnTo>
                      <a:pt x="270" y="493"/>
                    </a:lnTo>
                    <a:lnTo>
                      <a:pt x="275" y="486"/>
                    </a:lnTo>
                    <a:lnTo>
                      <a:pt x="281" y="480"/>
                    </a:lnTo>
                    <a:lnTo>
                      <a:pt x="288" y="476"/>
                    </a:lnTo>
                    <a:lnTo>
                      <a:pt x="296" y="470"/>
                    </a:lnTo>
                    <a:lnTo>
                      <a:pt x="304" y="466"/>
                    </a:lnTo>
                    <a:lnTo>
                      <a:pt x="320" y="458"/>
                    </a:lnTo>
                    <a:lnTo>
                      <a:pt x="340" y="453"/>
                    </a:lnTo>
                    <a:lnTo>
                      <a:pt x="360" y="448"/>
                    </a:lnTo>
                    <a:lnTo>
                      <a:pt x="381" y="445"/>
                    </a:lnTo>
                    <a:lnTo>
                      <a:pt x="404" y="441"/>
                    </a:lnTo>
                    <a:lnTo>
                      <a:pt x="427" y="439"/>
                    </a:lnTo>
                    <a:lnTo>
                      <a:pt x="475" y="435"/>
                    </a:lnTo>
                    <a:lnTo>
                      <a:pt x="522" y="432"/>
                    </a:lnTo>
                    <a:lnTo>
                      <a:pt x="536" y="427"/>
                    </a:lnTo>
                    <a:lnTo>
                      <a:pt x="548" y="423"/>
                    </a:lnTo>
                    <a:lnTo>
                      <a:pt x="561" y="416"/>
                    </a:lnTo>
                    <a:lnTo>
                      <a:pt x="572" y="407"/>
                    </a:lnTo>
                    <a:lnTo>
                      <a:pt x="594" y="388"/>
                    </a:lnTo>
                    <a:lnTo>
                      <a:pt x="617" y="367"/>
                    </a:lnTo>
                    <a:lnTo>
                      <a:pt x="630" y="356"/>
                    </a:lnTo>
                    <a:lnTo>
                      <a:pt x="643" y="347"/>
                    </a:lnTo>
                    <a:lnTo>
                      <a:pt x="658" y="338"/>
                    </a:lnTo>
                    <a:lnTo>
                      <a:pt x="674" y="330"/>
                    </a:lnTo>
                    <a:lnTo>
                      <a:pt x="692" y="323"/>
                    </a:lnTo>
                    <a:lnTo>
                      <a:pt x="712" y="317"/>
                    </a:lnTo>
                    <a:lnTo>
                      <a:pt x="723" y="316"/>
                    </a:lnTo>
                    <a:lnTo>
                      <a:pt x="734" y="314"/>
                    </a:lnTo>
                    <a:lnTo>
                      <a:pt x="747" y="314"/>
                    </a:lnTo>
                    <a:lnTo>
                      <a:pt x="759" y="313"/>
                    </a:lnTo>
                    <a:lnTo>
                      <a:pt x="776" y="314"/>
                    </a:lnTo>
                    <a:lnTo>
                      <a:pt x="794" y="315"/>
                    </a:lnTo>
                    <a:lnTo>
                      <a:pt x="811" y="317"/>
                    </a:lnTo>
                    <a:lnTo>
                      <a:pt x="826" y="321"/>
                    </a:lnTo>
                    <a:lnTo>
                      <a:pt x="857" y="329"/>
                    </a:lnTo>
                    <a:lnTo>
                      <a:pt x="884" y="338"/>
                    </a:lnTo>
                    <a:lnTo>
                      <a:pt x="912" y="346"/>
                    </a:lnTo>
                    <a:lnTo>
                      <a:pt x="937" y="354"/>
                    </a:lnTo>
                    <a:lnTo>
                      <a:pt x="950" y="357"/>
                    </a:lnTo>
                    <a:lnTo>
                      <a:pt x="963" y="360"/>
                    </a:lnTo>
                    <a:lnTo>
                      <a:pt x="976" y="361"/>
                    </a:lnTo>
                    <a:lnTo>
                      <a:pt x="989" y="362"/>
                    </a:lnTo>
                    <a:lnTo>
                      <a:pt x="1009" y="361"/>
                    </a:lnTo>
                    <a:lnTo>
                      <a:pt x="1032" y="357"/>
                    </a:lnTo>
                    <a:lnTo>
                      <a:pt x="1056" y="352"/>
                    </a:lnTo>
                    <a:lnTo>
                      <a:pt x="1081" y="344"/>
                    </a:lnTo>
                    <a:lnTo>
                      <a:pt x="1108" y="335"/>
                    </a:lnTo>
                    <a:lnTo>
                      <a:pt x="1134" y="323"/>
                    </a:lnTo>
                    <a:lnTo>
                      <a:pt x="1159" y="310"/>
                    </a:lnTo>
                    <a:lnTo>
                      <a:pt x="1185" y="298"/>
                    </a:lnTo>
                    <a:lnTo>
                      <a:pt x="1209" y="283"/>
                    </a:lnTo>
                    <a:lnTo>
                      <a:pt x="1230" y="269"/>
                    </a:lnTo>
                    <a:lnTo>
                      <a:pt x="1250" y="254"/>
                    </a:lnTo>
                    <a:lnTo>
                      <a:pt x="1268" y="238"/>
                    </a:lnTo>
                    <a:lnTo>
                      <a:pt x="1275" y="231"/>
                    </a:lnTo>
                    <a:lnTo>
                      <a:pt x="1282" y="223"/>
                    </a:lnTo>
                    <a:lnTo>
                      <a:pt x="1288" y="216"/>
                    </a:lnTo>
                    <a:lnTo>
                      <a:pt x="1292" y="208"/>
                    </a:lnTo>
                    <a:lnTo>
                      <a:pt x="1297" y="201"/>
                    </a:lnTo>
                    <a:lnTo>
                      <a:pt x="1299" y="195"/>
                    </a:lnTo>
                    <a:lnTo>
                      <a:pt x="1302" y="188"/>
                    </a:lnTo>
                    <a:lnTo>
                      <a:pt x="1302" y="181"/>
                    </a:lnTo>
                    <a:lnTo>
                      <a:pt x="1302" y="180"/>
                    </a:lnTo>
                    <a:lnTo>
                      <a:pt x="1303" y="175"/>
                    </a:lnTo>
                    <a:lnTo>
                      <a:pt x="1303" y="168"/>
                    </a:lnTo>
                    <a:lnTo>
                      <a:pt x="1303" y="159"/>
                    </a:lnTo>
                    <a:lnTo>
                      <a:pt x="1304" y="149"/>
                    </a:lnTo>
                    <a:lnTo>
                      <a:pt x="1305" y="137"/>
                    </a:lnTo>
                    <a:lnTo>
                      <a:pt x="1307" y="125"/>
                    </a:lnTo>
                    <a:lnTo>
                      <a:pt x="1310" y="111"/>
                    </a:lnTo>
                    <a:lnTo>
                      <a:pt x="1310" y="104"/>
                    </a:lnTo>
                    <a:lnTo>
                      <a:pt x="1311" y="97"/>
                    </a:lnTo>
                    <a:lnTo>
                      <a:pt x="1312" y="91"/>
                    </a:lnTo>
                    <a:lnTo>
                      <a:pt x="1314" y="86"/>
                    </a:lnTo>
                    <a:lnTo>
                      <a:pt x="1316" y="81"/>
                    </a:lnTo>
                    <a:lnTo>
                      <a:pt x="1320" y="78"/>
                    </a:lnTo>
                    <a:lnTo>
                      <a:pt x="1323" y="74"/>
                    </a:lnTo>
                    <a:lnTo>
                      <a:pt x="1328" y="71"/>
                    </a:lnTo>
                    <a:lnTo>
                      <a:pt x="1337" y="66"/>
                    </a:lnTo>
                    <a:lnTo>
                      <a:pt x="1347" y="63"/>
                    </a:lnTo>
                    <a:lnTo>
                      <a:pt x="1359" y="60"/>
                    </a:lnTo>
                    <a:lnTo>
                      <a:pt x="1370" y="58"/>
                    </a:lnTo>
                    <a:lnTo>
                      <a:pt x="1382" y="56"/>
                    </a:lnTo>
                    <a:lnTo>
                      <a:pt x="1393" y="52"/>
                    </a:lnTo>
                    <a:lnTo>
                      <a:pt x="1405" y="49"/>
                    </a:lnTo>
                    <a:lnTo>
                      <a:pt x="1415" y="43"/>
                    </a:lnTo>
                    <a:lnTo>
                      <a:pt x="1420" y="40"/>
                    </a:lnTo>
                    <a:lnTo>
                      <a:pt x="1424" y="36"/>
                    </a:lnTo>
                    <a:lnTo>
                      <a:pt x="1428" y="32"/>
                    </a:lnTo>
                    <a:lnTo>
                      <a:pt x="1431" y="27"/>
                    </a:lnTo>
                    <a:lnTo>
                      <a:pt x="1435" y="21"/>
                    </a:lnTo>
                    <a:lnTo>
                      <a:pt x="1438" y="15"/>
                    </a:lnTo>
                    <a:lnTo>
                      <a:pt x="1440" y="8"/>
                    </a:lnTo>
                    <a:lnTo>
                      <a:pt x="1441" y="0"/>
                    </a:lnTo>
                    <a:lnTo>
                      <a:pt x="1449" y="3"/>
                    </a:lnTo>
                    <a:lnTo>
                      <a:pt x="1456" y="6"/>
                    </a:lnTo>
                    <a:lnTo>
                      <a:pt x="1463" y="11"/>
                    </a:lnTo>
                    <a:lnTo>
                      <a:pt x="1470" y="16"/>
                    </a:lnTo>
                    <a:lnTo>
                      <a:pt x="1484" y="26"/>
                    </a:lnTo>
                    <a:lnTo>
                      <a:pt x="1498" y="36"/>
                    </a:lnTo>
                    <a:lnTo>
                      <a:pt x="1510" y="47"/>
                    </a:lnTo>
                    <a:lnTo>
                      <a:pt x="1524" y="55"/>
                    </a:lnTo>
                    <a:lnTo>
                      <a:pt x="1531" y="58"/>
                    </a:lnTo>
                    <a:lnTo>
                      <a:pt x="1538" y="60"/>
                    </a:lnTo>
                    <a:lnTo>
                      <a:pt x="1545" y="62"/>
                    </a:lnTo>
                    <a:lnTo>
                      <a:pt x="1553" y="63"/>
                    </a:lnTo>
                    <a:lnTo>
                      <a:pt x="1553" y="72"/>
                    </a:lnTo>
                    <a:lnTo>
                      <a:pt x="1554" y="80"/>
                    </a:lnTo>
                    <a:lnTo>
                      <a:pt x="1555" y="88"/>
                    </a:lnTo>
                    <a:lnTo>
                      <a:pt x="1557" y="95"/>
                    </a:lnTo>
                    <a:lnTo>
                      <a:pt x="1560" y="102"/>
                    </a:lnTo>
                    <a:lnTo>
                      <a:pt x="1563" y="109"/>
                    </a:lnTo>
                    <a:lnTo>
                      <a:pt x="1566" y="114"/>
                    </a:lnTo>
                    <a:lnTo>
                      <a:pt x="1570" y="119"/>
                    </a:lnTo>
                    <a:lnTo>
                      <a:pt x="1574" y="123"/>
                    </a:lnTo>
                    <a:lnTo>
                      <a:pt x="1579" y="128"/>
                    </a:lnTo>
                    <a:lnTo>
                      <a:pt x="1584" y="132"/>
                    </a:lnTo>
                    <a:lnTo>
                      <a:pt x="1588" y="134"/>
                    </a:lnTo>
                    <a:lnTo>
                      <a:pt x="1593" y="136"/>
                    </a:lnTo>
                    <a:lnTo>
                      <a:pt x="1598" y="137"/>
                    </a:lnTo>
                    <a:lnTo>
                      <a:pt x="1603" y="138"/>
                    </a:lnTo>
                    <a:lnTo>
                      <a:pt x="1609" y="140"/>
                    </a:lnTo>
                    <a:lnTo>
                      <a:pt x="1621" y="138"/>
                    </a:lnTo>
                    <a:lnTo>
                      <a:pt x="1633" y="136"/>
                    </a:lnTo>
                    <a:lnTo>
                      <a:pt x="1646" y="134"/>
                    </a:lnTo>
                    <a:lnTo>
                      <a:pt x="1656" y="132"/>
                    </a:lnTo>
                    <a:lnTo>
                      <a:pt x="1667" y="130"/>
                    </a:lnTo>
                    <a:lnTo>
                      <a:pt x="1678" y="130"/>
                    </a:lnTo>
                    <a:lnTo>
                      <a:pt x="1683" y="132"/>
                    </a:lnTo>
                    <a:lnTo>
                      <a:pt x="1689" y="133"/>
                    </a:lnTo>
                    <a:lnTo>
                      <a:pt x="1694" y="136"/>
                    </a:lnTo>
                    <a:lnTo>
                      <a:pt x="1699" y="140"/>
                    </a:lnTo>
                    <a:lnTo>
                      <a:pt x="1703" y="140"/>
                    </a:lnTo>
                    <a:lnTo>
                      <a:pt x="1707" y="142"/>
                    </a:lnTo>
                    <a:lnTo>
                      <a:pt x="1712" y="144"/>
                    </a:lnTo>
                    <a:lnTo>
                      <a:pt x="1715" y="148"/>
                    </a:lnTo>
                    <a:lnTo>
                      <a:pt x="1726" y="157"/>
                    </a:lnTo>
                    <a:lnTo>
                      <a:pt x="1736" y="168"/>
                    </a:lnTo>
                    <a:lnTo>
                      <a:pt x="1746" y="179"/>
                    </a:lnTo>
                    <a:lnTo>
                      <a:pt x="1758" y="189"/>
                    </a:lnTo>
                    <a:lnTo>
                      <a:pt x="1764" y="193"/>
                    </a:lnTo>
                    <a:lnTo>
                      <a:pt x="1769" y="197"/>
                    </a:lnTo>
                    <a:lnTo>
                      <a:pt x="1776" y="200"/>
                    </a:lnTo>
                    <a:lnTo>
                      <a:pt x="1783" y="201"/>
                    </a:lnTo>
                    <a:lnTo>
                      <a:pt x="1781" y="218"/>
                    </a:lnTo>
                    <a:lnTo>
                      <a:pt x="1779" y="230"/>
                    </a:lnTo>
                    <a:lnTo>
                      <a:pt x="1777" y="239"/>
                    </a:lnTo>
                    <a:lnTo>
                      <a:pt x="1776" y="246"/>
                    </a:lnTo>
                    <a:lnTo>
                      <a:pt x="1776" y="251"/>
                    </a:lnTo>
                    <a:lnTo>
                      <a:pt x="1776" y="255"/>
                    </a:lnTo>
                    <a:lnTo>
                      <a:pt x="1775" y="260"/>
                    </a:lnTo>
                    <a:lnTo>
                      <a:pt x="1775" y="265"/>
                    </a:lnTo>
                    <a:lnTo>
                      <a:pt x="1776" y="274"/>
                    </a:lnTo>
                    <a:lnTo>
                      <a:pt x="1779" y="282"/>
                    </a:lnTo>
                    <a:lnTo>
                      <a:pt x="1782" y="289"/>
                    </a:lnTo>
                    <a:lnTo>
                      <a:pt x="1788" y="296"/>
                    </a:lnTo>
                    <a:lnTo>
                      <a:pt x="1793" y="302"/>
                    </a:lnTo>
                    <a:lnTo>
                      <a:pt x="1801" y="308"/>
                    </a:lnTo>
                    <a:lnTo>
                      <a:pt x="1809" y="314"/>
                    </a:lnTo>
                    <a:lnTo>
                      <a:pt x="1819" y="318"/>
                    </a:lnTo>
                    <a:lnTo>
                      <a:pt x="1840" y="328"/>
                    </a:lnTo>
                    <a:lnTo>
                      <a:pt x="1863" y="337"/>
                    </a:lnTo>
                    <a:lnTo>
                      <a:pt x="1889" y="345"/>
                    </a:lnTo>
                    <a:lnTo>
                      <a:pt x="1915" y="353"/>
                    </a:lnTo>
                    <a:lnTo>
                      <a:pt x="1941" y="361"/>
                    </a:lnTo>
                    <a:lnTo>
                      <a:pt x="1965" y="370"/>
                    </a:lnTo>
                    <a:lnTo>
                      <a:pt x="1978" y="375"/>
                    </a:lnTo>
                    <a:lnTo>
                      <a:pt x="1989" y="380"/>
                    </a:lnTo>
                    <a:lnTo>
                      <a:pt x="2000" y="386"/>
                    </a:lnTo>
                    <a:lnTo>
                      <a:pt x="2010" y="393"/>
                    </a:lnTo>
                    <a:lnTo>
                      <a:pt x="2020" y="400"/>
                    </a:lnTo>
                    <a:lnTo>
                      <a:pt x="2028" y="407"/>
                    </a:lnTo>
                    <a:lnTo>
                      <a:pt x="2035" y="415"/>
                    </a:lnTo>
                    <a:lnTo>
                      <a:pt x="2042" y="424"/>
                    </a:lnTo>
                    <a:lnTo>
                      <a:pt x="2047" y="433"/>
                    </a:lnTo>
                    <a:lnTo>
                      <a:pt x="2051" y="443"/>
                    </a:lnTo>
                    <a:lnTo>
                      <a:pt x="2054" y="455"/>
                    </a:lnTo>
                    <a:lnTo>
                      <a:pt x="2054" y="466"/>
                    </a:lnTo>
                    <a:lnTo>
                      <a:pt x="2055" y="477"/>
                    </a:lnTo>
                    <a:lnTo>
                      <a:pt x="2057" y="486"/>
                    </a:lnTo>
                    <a:lnTo>
                      <a:pt x="2061" y="494"/>
                    </a:lnTo>
                    <a:lnTo>
                      <a:pt x="2064" y="502"/>
                    </a:lnTo>
                    <a:lnTo>
                      <a:pt x="2070" y="510"/>
                    </a:lnTo>
                    <a:lnTo>
                      <a:pt x="2077" y="516"/>
                    </a:lnTo>
                    <a:lnTo>
                      <a:pt x="2083" y="523"/>
                    </a:lnTo>
                    <a:lnTo>
                      <a:pt x="2093" y="528"/>
                    </a:lnTo>
                    <a:lnTo>
                      <a:pt x="2111" y="539"/>
                    </a:lnTo>
                    <a:lnTo>
                      <a:pt x="2132" y="548"/>
                    </a:lnTo>
                    <a:lnTo>
                      <a:pt x="2153" y="556"/>
                    </a:lnTo>
                    <a:lnTo>
                      <a:pt x="2176" y="563"/>
                    </a:lnTo>
                    <a:lnTo>
                      <a:pt x="2198" y="571"/>
                    </a:lnTo>
                    <a:lnTo>
                      <a:pt x="2221" y="579"/>
                    </a:lnTo>
                    <a:lnTo>
                      <a:pt x="2242" y="587"/>
                    </a:lnTo>
                    <a:lnTo>
                      <a:pt x="2260" y="597"/>
                    </a:lnTo>
                    <a:lnTo>
                      <a:pt x="2268" y="602"/>
                    </a:lnTo>
                    <a:lnTo>
                      <a:pt x="2275" y="607"/>
                    </a:lnTo>
                    <a:lnTo>
                      <a:pt x="2282" y="614"/>
                    </a:lnTo>
                    <a:lnTo>
                      <a:pt x="2288" y="621"/>
                    </a:lnTo>
                    <a:lnTo>
                      <a:pt x="2292" y="628"/>
                    </a:lnTo>
                    <a:lnTo>
                      <a:pt x="2296" y="636"/>
                    </a:lnTo>
                    <a:lnTo>
                      <a:pt x="2297" y="645"/>
                    </a:lnTo>
                    <a:lnTo>
                      <a:pt x="2298" y="654"/>
                    </a:lnTo>
                    <a:lnTo>
                      <a:pt x="2298" y="657"/>
                    </a:lnTo>
                    <a:lnTo>
                      <a:pt x="2298" y="661"/>
                    </a:lnTo>
                    <a:lnTo>
                      <a:pt x="2298" y="665"/>
                    </a:lnTo>
                    <a:lnTo>
                      <a:pt x="2298" y="669"/>
                    </a:lnTo>
                    <a:lnTo>
                      <a:pt x="2298" y="674"/>
                    </a:lnTo>
                    <a:lnTo>
                      <a:pt x="2298" y="679"/>
                    </a:lnTo>
                    <a:lnTo>
                      <a:pt x="2298" y="684"/>
                    </a:lnTo>
                    <a:lnTo>
                      <a:pt x="2298" y="689"/>
                    </a:lnTo>
                    <a:lnTo>
                      <a:pt x="2298" y="698"/>
                    </a:lnTo>
                    <a:lnTo>
                      <a:pt x="2299" y="706"/>
                    </a:lnTo>
                    <a:lnTo>
                      <a:pt x="2301" y="714"/>
                    </a:lnTo>
                    <a:lnTo>
                      <a:pt x="2305" y="721"/>
                    </a:lnTo>
                    <a:lnTo>
                      <a:pt x="2308" y="729"/>
                    </a:lnTo>
                    <a:lnTo>
                      <a:pt x="2312" y="736"/>
                    </a:lnTo>
                    <a:lnTo>
                      <a:pt x="2317" y="744"/>
                    </a:lnTo>
                    <a:lnTo>
                      <a:pt x="2322" y="751"/>
                    </a:lnTo>
                    <a:lnTo>
                      <a:pt x="2335" y="765"/>
                    </a:lnTo>
                    <a:lnTo>
                      <a:pt x="2348" y="777"/>
                    </a:lnTo>
                    <a:lnTo>
                      <a:pt x="2363" y="791"/>
                    </a:lnTo>
                    <a:lnTo>
                      <a:pt x="2379" y="804"/>
                    </a:lnTo>
                    <a:lnTo>
                      <a:pt x="2411" y="829"/>
                    </a:lnTo>
                    <a:lnTo>
                      <a:pt x="2441" y="855"/>
                    </a:lnTo>
                    <a:lnTo>
                      <a:pt x="2455" y="868"/>
                    </a:lnTo>
                    <a:lnTo>
                      <a:pt x="2468" y="883"/>
                    </a:lnTo>
                    <a:lnTo>
                      <a:pt x="2473" y="890"/>
                    </a:lnTo>
                    <a:lnTo>
                      <a:pt x="2478" y="896"/>
                    </a:lnTo>
                    <a:lnTo>
                      <a:pt x="2482" y="905"/>
                    </a:lnTo>
                    <a:lnTo>
                      <a:pt x="2486" y="913"/>
                    </a:lnTo>
                    <a:lnTo>
                      <a:pt x="2488" y="923"/>
                    </a:lnTo>
                    <a:lnTo>
                      <a:pt x="2489" y="932"/>
                    </a:lnTo>
                    <a:lnTo>
                      <a:pt x="2489" y="941"/>
                    </a:lnTo>
                    <a:lnTo>
                      <a:pt x="2489" y="950"/>
                    </a:lnTo>
                    <a:lnTo>
                      <a:pt x="2487" y="968"/>
                    </a:lnTo>
                    <a:lnTo>
                      <a:pt x="2484" y="985"/>
                    </a:lnTo>
                    <a:lnTo>
                      <a:pt x="2480" y="1001"/>
                    </a:lnTo>
                    <a:lnTo>
                      <a:pt x="2476" y="1017"/>
                    </a:lnTo>
                    <a:lnTo>
                      <a:pt x="2473" y="1034"/>
                    </a:lnTo>
                    <a:lnTo>
                      <a:pt x="2472" y="1051"/>
                    </a:lnTo>
                    <a:lnTo>
                      <a:pt x="2472" y="1070"/>
                    </a:lnTo>
                    <a:lnTo>
                      <a:pt x="2473" y="1086"/>
                    </a:lnTo>
                    <a:lnTo>
                      <a:pt x="2474" y="1101"/>
                    </a:lnTo>
                    <a:lnTo>
                      <a:pt x="2478" y="1114"/>
                    </a:lnTo>
                    <a:lnTo>
                      <a:pt x="2481" y="1127"/>
                    </a:lnTo>
                    <a:lnTo>
                      <a:pt x="2487" y="1137"/>
                    </a:lnTo>
                    <a:lnTo>
                      <a:pt x="2492" y="1148"/>
                    </a:lnTo>
                    <a:lnTo>
                      <a:pt x="2499" y="1157"/>
                    </a:lnTo>
                    <a:lnTo>
                      <a:pt x="2505" y="1165"/>
                    </a:lnTo>
                    <a:lnTo>
                      <a:pt x="2512" y="1172"/>
                    </a:lnTo>
                    <a:lnTo>
                      <a:pt x="2520" y="1177"/>
                    </a:lnTo>
                    <a:lnTo>
                      <a:pt x="2528" y="1183"/>
                    </a:lnTo>
                    <a:lnTo>
                      <a:pt x="2544" y="1194"/>
                    </a:lnTo>
                    <a:lnTo>
                      <a:pt x="2563" y="1202"/>
                    </a:lnTo>
                    <a:lnTo>
                      <a:pt x="2580" y="1210"/>
                    </a:lnTo>
                    <a:lnTo>
                      <a:pt x="2597" y="1219"/>
                    </a:lnTo>
                    <a:lnTo>
                      <a:pt x="2605" y="1222"/>
                    </a:lnTo>
                    <a:lnTo>
                      <a:pt x="2612" y="1228"/>
                    </a:lnTo>
                    <a:lnTo>
                      <a:pt x="2620" y="1233"/>
                    </a:lnTo>
                    <a:lnTo>
                      <a:pt x="2627" y="1238"/>
                    </a:lnTo>
                    <a:lnTo>
                      <a:pt x="2633" y="1245"/>
                    </a:lnTo>
                    <a:lnTo>
                      <a:pt x="2638" y="1252"/>
                    </a:lnTo>
                    <a:lnTo>
                      <a:pt x="2643" y="1260"/>
                    </a:lnTo>
                    <a:lnTo>
                      <a:pt x="2646" y="1269"/>
                    </a:lnTo>
                    <a:lnTo>
                      <a:pt x="2650" y="1280"/>
                    </a:lnTo>
                    <a:lnTo>
                      <a:pt x="2652" y="1290"/>
                    </a:lnTo>
                    <a:lnTo>
                      <a:pt x="2653" y="1302"/>
                    </a:lnTo>
                    <a:lnTo>
                      <a:pt x="2653" y="1316"/>
                    </a:lnTo>
                    <a:lnTo>
                      <a:pt x="2652" y="1329"/>
                    </a:lnTo>
                    <a:lnTo>
                      <a:pt x="2649" y="1339"/>
                    </a:lnTo>
                    <a:lnTo>
                      <a:pt x="2644" y="1349"/>
                    </a:lnTo>
                    <a:lnTo>
                      <a:pt x="2637" y="1359"/>
                    </a:lnTo>
                    <a:lnTo>
                      <a:pt x="2630" y="1367"/>
                    </a:lnTo>
                    <a:lnTo>
                      <a:pt x="2622" y="1375"/>
                    </a:lnTo>
                    <a:lnTo>
                      <a:pt x="2613" y="1383"/>
                    </a:lnTo>
                    <a:lnTo>
                      <a:pt x="2604" y="1390"/>
                    </a:lnTo>
                    <a:lnTo>
                      <a:pt x="2595" y="1398"/>
                    </a:lnTo>
                    <a:lnTo>
                      <a:pt x="2586" y="1406"/>
                    </a:lnTo>
                    <a:lnTo>
                      <a:pt x="2578" y="1414"/>
                    </a:lnTo>
                    <a:lnTo>
                      <a:pt x="2571" y="1423"/>
                    </a:lnTo>
                    <a:lnTo>
                      <a:pt x="2564" y="1433"/>
                    </a:lnTo>
                    <a:lnTo>
                      <a:pt x="2559" y="1444"/>
                    </a:lnTo>
                    <a:lnTo>
                      <a:pt x="2557" y="1456"/>
                    </a:lnTo>
                    <a:lnTo>
                      <a:pt x="2556" y="1469"/>
                    </a:lnTo>
                    <a:lnTo>
                      <a:pt x="2556" y="1478"/>
                    </a:lnTo>
                    <a:lnTo>
                      <a:pt x="2558" y="1487"/>
                    </a:lnTo>
                    <a:lnTo>
                      <a:pt x="2560" y="1496"/>
                    </a:lnTo>
                    <a:lnTo>
                      <a:pt x="2564" y="1504"/>
                    </a:lnTo>
                    <a:lnTo>
                      <a:pt x="2570" y="1512"/>
                    </a:lnTo>
                    <a:lnTo>
                      <a:pt x="2574" y="1520"/>
                    </a:lnTo>
                    <a:lnTo>
                      <a:pt x="2581" y="1528"/>
                    </a:lnTo>
                    <a:lnTo>
                      <a:pt x="2588" y="1536"/>
                    </a:lnTo>
                    <a:lnTo>
                      <a:pt x="2604" y="1552"/>
                    </a:lnTo>
                    <a:lnTo>
                      <a:pt x="2621" y="1567"/>
                    </a:lnTo>
                    <a:lnTo>
                      <a:pt x="2641" y="1581"/>
                    </a:lnTo>
                    <a:lnTo>
                      <a:pt x="2660" y="1596"/>
                    </a:lnTo>
                    <a:lnTo>
                      <a:pt x="2680" y="1610"/>
                    </a:lnTo>
                    <a:lnTo>
                      <a:pt x="2698" y="1624"/>
                    </a:lnTo>
                    <a:lnTo>
                      <a:pt x="2716" y="1637"/>
                    </a:lnTo>
                    <a:lnTo>
                      <a:pt x="2731" y="1650"/>
                    </a:lnTo>
                    <a:lnTo>
                      <a:pt x="2738" y="1657"/>
                    </a:lnTo>
                    <a:lnTo>
                      <a:pt x="2745" y="1664"/>
                    </a:lnTo>
                    <a:lnTo>
                      <a:pt x="2751" y="1671"/>
                    </a:lnTo>
                    <a:lnTo>
                      <a:pt x="2755" y="1677"/>
                    </a:lnTo>
                    <a:lnTo>
                      <a:pt x="2759" y="1684"/>
                    </a:lnTo>
                    <a:lnTo>
                      <a:pt x="2762" y="1692"/>
                    </a:lnTo>
                    <a:lnTo>
                      <a:pt x="2763" y="1699"/>
                    </a:lnTo>
                    <a:lnTo>
                      <a:pt x="2765" y="1706"/>
                    </a:lnTo>
                    <a:lnTo>
                      <a:pt x="2763" y="1714"/>
                    </a:lnTo>
                    <a:lnTo>
                      <a:pt x="2761" y="1722"/>
                    </a:lnTo>
                    <a:lnTo>
                      <a:pt x="2758" y="1728"/>
                    </a:lnTo>
                    <a:lnTo>
                      <a:pt x="2753" y="1733"/>
                    </a:lnTo>
                    <a:lnTo>
                      <a:pt x="2748" y="1737"/>
                    </a:lnTo>
                    <a:lnTo>
                      <a:pt x="2743" y="1741"/>
                    </a:lnTo>
                    <a:lnTo>
                      <a:pt x="2736" y="1744"/>
                    </a:lnTo>
                    <a:lnTo>
                      <a:pt x="2729" y="1747"/>
                    </a:lnTo>
                    <a:lnTo>
                      <a:pt x="2716" y="1753"/>
                    </a:lnTo>
                    <a:lnTo>
                      <a:pt x="2706" y="1760"/>
                    </a:lnTo>
                    <a:lnTo>
                      <a:pt x="2701" y="1765"/>
                    </a:lnTo>
                    <a:lnTo>
                      <a:pt x="2698" y="1769"/>
                    </a:lnTo>
                    <a:lnTo>
                      <a:pt x="2696" y="1775"/>
                    </a:lnTo>
                    <a:lnTo>
                      <a:pt x="2695" y="1783"/>
                    </a:lnTo>
                    <a:lnTo>
                      <a:pt x="2695" y="1791"/>
                    </a:lnTo>
                    <a:lnTo>
                      <a:pt x="2696" y="1799"/>
                    </a:lnTo>
                    <a:lnTo>
                      <a:pt x="2698" y="1807"/>
                    </a:lnTo>
                    <a:lnTo>
                      <a:pt x="2700" y="1813"/>
                    </a:lnTo>
                    <a:lnTo>
                      <a:pt x="2704" y="1819"/>
                    </a:lnTo>
                    <a:lnTo>
                      <a:pt x="2707" y="1824"/>
                    </a:lnTo>
                    <a:lnTo>
                      <a:pt x="2711" y="1829"/>
                    </a:lnTo>
                    <a:lnTo>
                      <a:pt x="2715" y="1833"/>
                    </a:lnTo>
                    <a:lnTo>
                      <a:pt x="2726" y="1840"/>
                    </a:lnTo>
                    <a:lnTo>
                      <a:pt x="2736" y="1845"/>
                    </a:lnTo>
                    <a:lnTo>
                      <a:pt x="2746" y="1850"/>
                    </a:lnTo>
                    <a:lnTo>
                      <a:pt x="2758" y="1852"/>
                    </a:lnTo>
                    <a:lnTo>
                      <a:pt x="2754" y="1875"/>
                    </a:lnTo>
                    <a:lnTo>
                      <a:pt x="2748" y="1894"/>
                    </a:lnTo>
                    <a:lnTo>
                      <a:pt x="2743" y="1913"/>
                    </a:lnTo>
                    <a:lnTo>
                      <a:pt x="2735" y="1929"/>
                    </a:lnTo>
                    <a:lnTo>
                      <a:pt x="2727" y="1944"/>
                    </a:lnTo>
                    <a:lnTo>
                      <a:pt x="2716" y="1956"/>
                    </a:lnTo>
                    <a:lnTo>
                      <a:pt x="2705" y="1969"/>
                    </a:lnTo>
                    <a:lnTo>
                      <a:pt x="2693" y="1979"/>
                    </a:lnTo>
                    <a:lnTo>
                      <a:pt x="2681" y="1989"/>
                    </a:lnTo>
                    <a:lnTo>
                      <a:pt x="2668" y="1999"/>
                    </a:lnTo>
                    <a:lnTo>
                      <a:pt x="2654" y="2008"/>
                    </a:lnTo>
                    <a:lnTo>
                      <a:pt x="2641" y="2017"/>
                    </a:lnTo>
                    <a:lnTo>
                      <a:pt x="2612" y="2035"/>
                    </a:lnTo>
                    <a:lnTo>
                      <a:pt x="2583" y="2055"/>
                    </a:lnTo>
                    <a:lnTo>
                      <a:pt x="2575" y="2061"/>
                    </a:lnTo>
                    <a:lnTo>
                      <a:pt x="2565" y="2065"/>
                    </a:lnTo>
                    <a:lnTo>
                      <a:pt x="2555" y="2069"/>
                    </a:lnTo>
                    <a:lnTo>
                      <a:pt x="2544" y="2072"/>
                    </a:lnTo>
                    <a:lnTo>
                      <a:pt x="2520" y="2078"/>
                    </a:lnTo>
                    <a:lnTo>
                      <a:pt x="2499" y="2083"/>
                    </a:lnTo>
                    <a:lnTo>
                      <a:pt x="2487" y="2086"/>
                    </a:lnTo>
                    <a:lnTo>
                      <a:pt x="2477" y="2090"/>
                    </a:lnTo>
                    <a:lnTo>
                      <a:pt x="2468" y="2095"/>
                    </a:lnTo>
                    <a:lnTo>
                      <a:pt x="2460" y="2101"/>
                    </a:lnTo>
                    <a:lnTo>
                      <a:pt x="2454" y="2108"/>
                    </a:lnTo>
                    <a:lnTo>
                      <a:pt x="2448" y="2116"/>
                    </a:lnTo>
                    <a:lnTo>
                      <a:pt x="2447" y="2120"/>
                    </a:lnTo>
                    <a:lnTo>
                      <a:pt x="2445" y="2126"/>
                    </a:lnTo>
                    <a:lnTo>
                      <a:pt x="2445" y="2132"/>
                    </a:lnTo>
                    <a:lnTo>
                      <a:pt x="2443" y="2137"/>
                    </a:lnTo>
                    <a:lnTo>
                      <a:pt x="2445" y="2150"/>
                    </a:lnTo>
                    <a:lnTo>
                      <a:pt x="2446" y="2163"/>
                    </a:lnTo>
                    <a:lnTo>
                      <a:pt x="2448" y="2175"/>
                    </a:lnTo>
                    <a:lnTo>
                      <a:pt x="2453" y="2188"/>
                    </a:lnTo>
                    <a:lnTo>
                      <a:pt x="2458" y="2199"/>
                    </a:lnTo>
                    <a:lnTo>
                      <a:pt x="2465" y="2212"/>
                    </a:lnTo>
                    <a:lnTo>
                      <a:pt x="2472" y="2223"/>
                    </a:lnTo>
                    <a:lnTo>
                      <a:pt x="2481" y="2235"/>
                    </a:lnTo>
                    <a:lnTo>
                      <a:pt x="2490" y="2246"/>
                    </a:lnTo>
                    <a:lnTo>
                      <a:pt x="2502" y="2258"/>
                    </a:lnTo>
                    <a:lnTo>
                      <a:pt x="2513" y="2269"/>
                    </a:lnTo>
                    <a:lnTo>
                      <a:pt x="2525" y="2280"/>
                    </a:lnTo>
                    <a:lnTo>
                      <a:pt x="2539" y="2290"/>
                    </a:lnTo>
                    <a:lnTo>
                      <a:pt x="2552" y="2300"/>
                    </a:lnTo>
                    <a:lnTo>
                      <a:pt x="2566" y="2311"/>
                    </a:lnTo>
                    <a:lnTo>
                      <a:pt x="2581" y="2320"/>
                    </a:lnTo>
                    <a:lnTo>
                      <a:pt x="2611" y="2338"/>
                    </a:lnTo>
                    <a:lnTo>
                      <a:pt x="2643" y="2354"/>
                    </a:lnTo>
                    <a:lnTo>
                      <a:pt x="2675" y="2368"/>
                    </a:lnTo>
                    <a:lnTo>
                      <a:pt x="2707" y="2379"/>
                    </a:lnTo>
                    <a:lnTo>
                      <a:pt x="2739" y="2390"/>
                    </a:lnTo>
                    <a:lnTo>
                      <a:pt x="2770" y="2397"/>
                    </a:lnTo>
                    <a:lnTo>
                      <a:pt x="2785" y="2399"/>
                    </a:lnTo>
                    <a:lnTo>
                      <a:pt x="2800" y="2401"/>
                    </a:lnTo>
                    <a:lnTo>
                      <a:pt x="2814" y="2402"/>
                    </a:lnTo>
                    <a:lnTo>
                      <a:pt x="2826" y="2402"/>
                    </a:lnTo>
                    <a:lnTo>
                      <a:pt x="2853" y="2403"/>
                    </a:lnTo>
                    <a:lnTo>
                      <a:pt x="2877" y="2403"/>
                    </a:lnTo>
                    <a:lnTo>
                      <a:pt x="2900" y="2402"/>
                    </a:lnTo>
                    <a:lnTo>
                      <a:pt x="2922" y="2401"/>
                    </a:lnTo>
                    <a:lnTo>
                      <a:pt x="2964" y="2398"/>
                    </a:lnTo>
                    <a:lnTo>
                      <a:pt x="3004" y="2392"/>
                    </a:lnTo>
                    <a:lnTo>
                      <a:pt x="3045" y="2387"/>
                    </a:lnTo>
                    <a:lnTo>
                      <a:pt x="3088" y="2383"/>
                    </a:lnTo>
                    <a:lnTo>
                      <a:pt x="3110" y="2382"/>
                    </a:lnTo>
                    <a:lnTo>
                      <a:pt x="3133" y="2381"/>
                    </a:lnTo>
                    <a:lnTo>
                      <a:pt x="3157" y="2381"/>
                    </a:lnTo>
                    <a:lnTo>
                      <a:pt x="3182" y="2382"/>
                    </a:lnTo>
                    <a:lnTo>
                      <a:pt x="3202" y="2382"/>
                    </a:lnTo>
                    <a:lnTo>
                      <a:pt x="3221" y="2382"/>
                    </a:lnTo>
                    <a:lnTo>
                      <a:pt x="3237" y="2382"/>
                    </a:lnTo>
                    <a:lnTo>
                      <a:pt x="3253" y="2382"/>
                    </a:lnTo>
                    <a:lnTo>
                      <a:pt x="3269" y="2382"/>
                    </a:lnTo>
                    <a:lnTo>
                      <a:pt x="3284" y="2382"/>
                    </a:lnTo>
                    <a:lnTo>
                      <a:pt x="3299" y="2382"/>
                    </a:lnTo>
                    <a:lnTo>
                      <a:pt x="3315" y="2382"/>
                    </a:lnTo>
                    <a:lnTo>
                      <a:pt x="3323" y="2382"/>
                    </a:lnTo>
                    <a:lnTo>
                      <a:pt x="3332" y="2384"/>
                    </a:lnTo>
                    <a:lnTo>
                      <a:pt x="3341" y="2386"/>
                    </a:lnTo>
                    <a:lnTo>
                      <a:pt x="3350" y="2389"/>
                    </a:lnTo>
                    <a:lnTo>
                      <a:pt x="3369" y="2398"/>
                    </a:lnTo>
                    <a:lnTo>
                      <a:pt x="3388" y="2409"/>
                    </a:lnTo>
                    <a:lnTo>
                      <a:pt x="3409" y="2422"/>
                    </a:lnTo>
                    <a:lnTo>
                      <a:pt x="3428" y="2438"/>
                    </a:lnTo>
                    <a:lnTo>
                      <a:pt x="3449" y="2455"/>
                    </a:lnTo>
                    <a:lnTo>
                      <a:pt x="3470" y="2473"/>
                    </a:lnTo>
                    <a:lnTo>
                      <a:pt x="3510" y="2511"/>
                    </a:lnTo>
                    <a:lnTo>
                      <a:pt x="3548" y="2549"/>
                    </a:lnTo>
                    <a:lnTo>
                      <a:pt x="3583" y="2584"/>
                    </a:lnTo>
                    <a:lnTo>
                      <a:pt x="3614" y="2611"/>
                    </a:lnTo>
                    <a:lnTo>
                      <a:pt x="3628" y="2620"/>
                    </a:lnTo>
                    <a:lnTo>
                      <a:pt x="3642" y="2626"/>
                    </a:lnTo>
                    <a:lnTo>
                      <a:pt x="3658" y="2631"/>
                    </a:lnTo>
                    <a:lnTo>
                      <a:pt x="3674" y="2635"/>
                    </a:lnTo>
                    <a:lnTo>
                      <a:pt x="3690" y="2637"/>
                    </a:lnTo>
                    <a:lnTo>
                      <a:pt x="3707" y="2639"/>
                    </a:lnTo>
                    <a:lnTo>
                      <a:pt x="3725" y="2640"/>
                    </a:lnTo>
                    <a:lnTo>
                      <a:pt x="3743" y="2640"/>
                    </a:lnTo>
                    <a:lnTo>
                      <a:pt x="3778" y="2641"/>
                    </a:lnTo>
                    <a:lnTo>
                      <a:pt x="3811" y="2642"/>
                    </a:lnTo>
                    <a:lnTo>
                      <a:pt x="3827" y="2643"/>
                    </a:lnTo>
                    <a:lnTo>
                      <a:pt x="3843" y="2645"/>
                    </a:lnTo>
                    <a:lnTo>
                      <a:pt x="3858" y="2649"/>
                    </a:lnTo>
                    <a:lnTo>
                      <a:pt x="3871" y="2653"/>
                    </a:lnTo>
                    <a:lnTo>
                      <a:pt x="3876" y="2664"/>
                    </a:lnTo>
                    <a:lnTo>
                      <a:pt x="3879" y="2673"/>
                    </a:lnTo>
                    <a:lnTo>
                      <a:pt x="3881" y="2682"/>
                    </a:lnTo>
                    <a:lnTo>
                      <a:pt x="3881" y="2691"/>
                    </a:lnTo>
                    <a:lnTo>
                      <a:pt x="3879" y="2701"/>
                    </a:lnTo>
                    <a:lnTo>
                      <a:pt x="3877" y="2710"/>
                    </a:lnTo>
                    <a:lnTo>
                      <a:pt x="3871" y="2720"/>
                    </a:lnTo>
                    <a:lnTo>
                      <a:pt x="3864" y="2730"/>
                    </a:lnTo>
                    <a:lnTo>
                      <a:pt x="3921" y="2729"/>
                    </a:lnTo>
                    <a:lnTo>
                      <a:pt x="3974" y="2729"/>
                    </a:lnTo>
                    <a:lnTo>
                      <a:pt x="4022" y="2729"/>
                    </a:lnTo>
                    <a:lnTo>
                      <a:pt x="4069" y="2729"/>
                    </a:lnTo>
                    <a:lnTo>
                      <a:pt x="4117" y="2730"/>
                    </a:lnTo>
                    <a:lnTo>
                      <a:pt x="4166" y="2733"/>
                    </a:lnTo>
                    <a:lnTo>
                      <a:pt x="4218" y="2737"/>
                    </a:lnTo>
                    <a:lnTo>
                      <a:pt x="4276" y="2744"/>
                    </a:lnTo>
                    <a:lnTo>
                      <a:pt x="4272" y="2760"/>
                    </a:lnTo>
                    <a:lnTo>
                      <a:pt x="4271" y="2775"/>
                    </a:lnTo>
                    <a:lnTo>
                      <a:pt x="4272" y="2788"/>
                    </a:lnTo>
                    <a:lnTo>
                      <a:pt x="4273" y="2800"/>
                    </a:lnTo>
                    <a:lnTo>
                      <a:pt x="4277" y="2812"/>
                    </a:lnTo>
                    <a:lnTo>
                      <a:pt x="4281" y="2821"/>
                    </a:lnTo>
                    <a:lnTo>
                      <a:pt x="4286" y="2831"/>
                    </a:lnTo>
                    <a:lnTo>
                      <a:pt x="4291" y="2839"/>
                    </a:lnTo>
                    <a:lnTo>
                      <a:pt x="4301" y="2855"/>
                    </a:lnTo>
                    <a:lnTo>
                      <a:pt x="4310" y="2871"/>
                    </a:lnTo>
                    <a:lnTo>
                      <a:pt x="4313" y="2879"/>
                    </a:lnTo>
                    <a:lnTo>
                      <a:pt x="4316" y="2887"/>
                    </a:lnTo>
                    <a:lnTo>
                      <a:pt x="4317" y="2895"/>
                    </a:lnTo>
                    <a:lnTo>
                      <a:pt x="4317" y="2904"/>
                    </a:lnTo>
                    <a:lnTo>
                      <a:pt x="4317" y="2918"/>
                    </a:lnTo>
                    <a:lnTo>
                      <a:pt x="4315" y="2932"/>
                    </a:lnTo>
                    <a:lnTo>
                      <a:pt x="4311" y="2945"/>
                    </a:lnTo>
                    <a:lnTo>
                      <a:pt x="4308" y="2957"/>
                    </a:lnTo>
                    <a:lnTo>
                      <a:pt x="4303" y="2969"/>
                    </a:lnTo>
                    <a:lnTo>
                      <a:pt x="4297" y="2981"/>
                    </a:lnTo>
                    <a:lnTo>
                      <a:pt x="4291" y="2992"/>
                    </a:lnTo>
                    <a:lnTo>
                      <a:pt x="4284" y="3003"/>
                    </a:lnTo>
                    <a:lnTo>
                      <a:pt x="4266" y="3024"/>
                    </a:lnTo>
                    <a:lnTo>
                      <a:pt x="4248" y="3043"/>
                    </a:lnTo>
                    <a:lnTo>
                      <a:pt x="4229" y="3062"/>
                    </a:lnTo>
                    <a:lnTo>
                      <a:pt x="4208" y="3080"/>
                    </a:lnTo>
                    <a:lnTo>
                      <a:pt x="4187" y="3097"/>
                    </a:lnTo>
                    <a:lnTo>
                      <a:pt x="4168" y="3115"/>
                    </a:lnTo>
                    <a:lnTo>
                      <a:pt x="4148" y="3132"/>
                    </a:lnTo>
                    <a:lnTo>
                      <a:pt x="4132" y="3149"/>
                    </a:lnTo>
                    <a:lnTo>
                      <a:pt x="4124" y="3158"/>
                    </a:lnTo>
                    <a:lnTo>
                      <a:pt x="4117" y="3166"/>
                    </a:lnTo>
                    <a:lnTo>
                      <a:pt x="4111" y="3175"/>
                    </a:lnTo>
                    <a:lnTo>
                      <a:pt x="4106" y="3184"/>
                    </a:lnTo>
                    <a:lnTo>
                      <a:pt x="4101" y="3195"/>
                    </a:lnTo>
                    <a:lnTo>
                      <a:pt x="4098" y="3204"/>
                    </a:lnTo>
                    <a:lnTo>
                      <a:pt x="4096" y="3214"/>
                    </a:lnTo>
                    <a:lnTo>
                      <a:pt x="4094" y="3225"/>
                    </a:lnTo>
                    <a:lnTo>
                      <a:pt x="4094" y="3232"/>
                    </a:lnTo>
                    <a:lnTo>
                      <a:pt x="4097" y="3238"/>
                    </a:lnTo>
                    <a:lnTo>
                      <a:pt x="4099" y="3245"/>
                    </a:lnTo>
                    <a:lnTo>
                      <a:pt x="4104" y="3252"/>
                    </a:lnTo>
                    <a:lnTo>
                      <a:pt x="4108" y="3259"/>
                    </a:lnTo>
                    <a:lnTo>
                      <a:pt x="4115" y="3267"/>
                    </a:lnTo>
                    <a:lnTo>
                      <a:pt x="4122" y="3275"/>
                    </a:lnTo>
                    <a:lnTo>
                      <a:pt x="4129" y="3282"/>
                    </a:lnTo>
                    <a:lnTo>
                      <a:pt x="4147" y="3298"/>
                    </a:lnTo>
                    <a:lnTo>
                      <a:pt x="4168" y="3313"/>
                    </a:lnTo>
                    <a:lnTo>
                      <a:pt x="4190" y="3328"/>
                    </a:lnTo>
                    <a:lnTo>
                      <a:pt x="4214" y="3342"/>
                    </a:lnTo>
                    <a:lnTo>
                      <a:pt x="4240" y="3355"/>
                    </a:lnTo>
                    <a:lnTo>
                      <a:pt x="4265" y="3368"/>
                    </a:lnTo>
                    <a:lnTo>
                      <a:pt x="4292" y="3379"/>
                    </a:lnTo>
                    <a:lnTo>
                      <a:pt x="4317" y="3390"/>
                    </a:lnTo>
                    <a:lnTo>
                      <a:pt x="4342" y="3399"/>
                    </a:lnTo>
                    <a:lnTo>
                      <a:pt x="4366" y="3405"/>
                    </a:lnTo>
                    <a:lnTo>
                      <a:pt x="4388" y="3410"/>
                    </a:lnTo>
                    <a:lnTo>
                      <a:pt x="4407" y="3413"/>
                    </a:lnTo>
                    <a:lnTo>
                      <a:pt x="4418" y="3412"/>
                    </a:lnTo>
                    <a:lnTo>
                      <a:pt x="4426" y="3408"/>
                    </a:lnTo>
                    <a:lnTo>
                      <a:pt x="4435" y="3404"/>
                    </a:lnTo>
                    <a:lnTo>
                      <a:pt x="4443" y="3399"/>
                    </a:lnTo>
                    <a:lnTo>
                      <a:pt x="4452" y="3393"/>
                    </a:lnTo>
                    <a:lnTo>
                      <a:pt x="4461" y="3389"/>
                    </a:lnTo>
                    <a:lnTo>
                      <a:pt x="4472" y="3386"/>
                    </a:lnTo>
                    <a:lnTo>
                      <a:pt x="4484" y="3384"/>
                    </a:lnTo>
                    <a:lnTo>
                      <a:pt x="4493" y="3385"/>
                    </a:lnTo>
                    <a:lnTo>
                      <a:pt x="4502" y="3387"/>
                    </a:lnTo>
                    <a:lnTo>
                      <a:pt x="4510" y="3390"/>
                    </a:lnTo>
                    <a:lnTo>
                      <a:pt x="4516" y="3393"/>
                    </a:lnTo>
                    <a:lnTo>
                      <a:pt x="4530" y="3402"/>
                    </a:lnTo>
                    <a:lnTo>
                      <a:pt x="4544" y="3414"/>
                    </a:lnTo>
                    <a:lnTo>
                      <a:pt x="4558" y="3424"/>
                    </a:lnTo>
                    <a:lnTo>
                      <a:pt x="4574" y="3435"/>
                    </a:lnTo>
                    <a:lnTo>
                      <a:pt x="4582" y="3439"/>
                    </a:lnTo>
                    <a:lnTo>
                      <a:pt x="4590" y="3443"/>
                    </a:lnTo>
                    <a:lnTo>
                      <a:pt x="4599" y="3446"/>
                    </a:lnTo>
                    <a:lnTo>
                      <a:pt x="4609" y="3447"/>
                    </a:lnTo>
                    <a:lnTo>
                      <a:pt x="4624" y="3447"/>
                    </a:lnTo>
                    <a:lnTo>
                      <a:pt x="4636" y="3446"/>
                    </a:lnTo>
                    <a:lnTo>
                      <a:pt x="4645" y="3445"/>
                    </a:lnTo>
                    <a:lnTo>
                      <a:pt x="4653" y="3444"/>
                    </a:lnTo>
                    <a:lnTo>
                      <a:pt x="4664" y="3440"/>
                    </a:lnTo>
                    <a:lnTo>
                      <a:pt x="4673" y="3437"/>
                    </a:lnTo>
                    <a:lnTo>
                      <a:pt x="4677" y="3436"/>
                    </a:lnTo>
                    <a:lnTo>
                      <a:pt x="4680" y="3435"/>
                    </a:lnTo>
                    <a:lnTo>
                      <a:pt x="4684" y="3435"/>
                    </a:lnTo>
                    <a:lnTo>
                      <a:pt x="4688" y="3436"/>
                    </a:lnTo>
                    <a:lnTo>
                      <a:pt x="4701" y="3439"/>
                    </a:lnTo>
                    <a:lnTo>
                      <a:pt x="4721" y="3447"/>
                    </a:lnTo>
                    <a:lnTo>
                      <a:pt x="4722" y="3461"/>
                    </a:lnTo>
                    <a:lnTo>
                      <a:pt x="4725" y="3475"/>
                    </a:lnTo>
                    <a:lnTo>
                      <a:pt x="4731" y="3488"/>
                    </a:lnTo>
                    <a:lnTo>
                      <a:pt x="4738" y="3502"/>
                    </a:lnTo>
                    <a:lnTo>
                      <a:pt x="4747" y="3516"/>
                    </a:lnTo>
                    <a:lnTo>
                      <a:pt x="4756" y="3529"/>
                    </a:lnTo>
                    <a:lnTo>
                      <a:pt x="4766" y="3541"/>
                    </a:lnTo>
                    <a:lnTo>
                      <a:pt x="4777" y="3551"/>
                    </a:lnTo>
                    <a:lnTo>
                      <a:pt x="4804" y="3531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18" name="Freeform 537"/>
              <p:cNvSpPr>
                <a:spLocks/>
              </p:cNvSpPr>
              <p:nvPr/>
            </p:nvSpPr>
            <p:spPr bwMode="auto">
              <a:xfrm>
                <a:off x="1922" y="1339"/>
                <a:ext cx="941" cy="867"/>
              </a:xfrm>
              <a:custGeom>
                <a:avLst/>
                <a:gdLst>
                  <a:gd name="T0" fmla="*/ 31 w 5100"/>
                  <a:gd name="T1" fmla="*/ 25 h 4702"/>
                  <a:gd name="T2" fmla="*/ 31 w 5100"/>
                  <a:gd name="T3" fmla="*/ 24 h 4702"/>
                  <a:gd name="T4" fmla="*/ 31 w 5100"/>
                  <a:gd name="T5" fmla="*/ 23 h 4702"/>
                  <a:gd name="T6" fmla="*/ 31 w 5100"/>
                  <a:gd name="T7" fmla="*/ 22 h 4702"/>
                  <a:gd name="T8" fmla="*/ 31 w 5100"/>
                  <a:gd name="T9" fmla="*/ 20 h 4702"/>
                  <a:gd name="T10" fmla="*/ 31 w 5100"/>
                  <a:gd name="T11" fmla="*/ 18 h 4702"/>
                  <a:gd name="T12" fmla="*/ 30 w 5100"/>
                  <a:gd name="T13" fmla="*/ 15 h 4702"/>
                  <a:gd name="T14" fmla="*/ 30 w 5100"/>
                  <a:gd name="T15" fmla="*/ 14 h 4702"/>
                  <a:gd name="T16" fmla="*/ 30 w 5100"/>
                  <a:gd name="T17" fmla="*/ 13 h 4702"/>
                  <a:gd name="T18" fmla="*/ 28 w 5100"/>
                  <a:gd name="T19" fmla="*/ 11 h 4702"/>
                  <a:gd name="T20" fmla="*/ 27 w 5100"/>
                  <a:gd name="T21" fmla="*/ 10 h 4702"/>
                  <a:gd name="T22" fmla="*/ 26 w 5100"/>
                  <a:gd name="T23" fmla="*/ 10 h 4702"/>
                  <a:gd name="T24" fmla="*/ 26 w 5100"/>
                  <a:gd name="T25" fmla="*/ 9 h 4702"/>
                  <a:gd name="T26" fmla="*/ 26 w 5100"/>
                  <a:gd name="T27" fmla="*/ 7 h 4702"/>
                  <a:gd name="T28" fmla="*/ 27 w 5100"/>
                  <a:gd name="T29" fmla="*/ 6 h 4702"/>
                  <a:gd name="T30" fmla="*/ 28 w 5100"/>
                  <a:gd name="T31" fmla="*/ 3 h 4702"/>
                  <a:gd name="T32" fmla="*/ 26 w 5100"/>
                  <a:gd name="T33" fmla="*/ 1 h 4702"/>
                  <a:gd name="T34" fmla="*/ 23 w 5100"/>
                  <a:gd name="T35" fmla="*/ 0 h 4702"/>
                  <a:gd name="T36" fmla="*/ 20 w 5100"/>
                  <a:gd name="T37" fmla="*/ 1 h 4702"/>
                  <a:gd name="T38" fmla="*/ 19 w 5100"/>
                  <a:gd name="T39" fmla="*/ 3 h 4702"/>
                  <a:gd name="T40" fmla="*/ 18 w 5100"/>
                  <a:gd name="T41" fmla="*/ 4 h 4702"/>
                  <a:gd name="T42" fmla="*/ 17 w 5100"/>
                  <a:gd name="T43" fmla="*/ 4 h 4702"/>
                  <a:gd name="T44" fmla="*/ 15 w 5100"/>
                  <a:gd name="T45" fmla="*/ 5 h 4702"/>
                  <a:gd name="T46" fmla="*/ 13 w 5100"/>
                  <a:gd name="T47" fmla="*/ 4 h 4702"/>
                  <a:gd name="T48" fmla="*/ 11 w 5100"/>
                  <a:gd name="T49" fmla="*/ 4 h 4702"/>
                  <a:gd name="T50" fmla="*/ 10 w 5100"/>
                  <a:gd name="T51" fmla="*/ 3 h 4702"/>
                  <a:gd name="T52" fmla="*/ 8 w 5100"/>
                  <a:gd name="T53" fmla="*/ 2 h 4702"/>
                  <a:gd name="T54" fmla="*/ 7 w 5100"/>
                  <a:gd name="T55" fmla="*/ 2 h 4702"/>
                  <a:gd name="T56" fmla="*/ 6 w 5100"/>
                  <a:gd name="T57" fmla="*/ 3 h 4702"/>
                  <a:gd name="T58" fmla="*/ 5 w 5100"/>
                  <a:gd name="T59" fmla="*/ 4 h 4702"/>
                  <a:gd name="T60" fmla="*/ 3 w 5100"/>
                  <a:gd name="T61" fmla="*/ 5 h 4702"/>
                  <a:gd name="T62" fmla="*/ 1 w 5100"/>
                  <a:gd name="T63" fmla="*/ 6 h 4702"/>
                  <a:gd name="T64" fmla="*/ 1 w 5100"/>
                  <a:gd name="T65" fmla="*/ 7 h 4702"/>
                  <a:gd name="T66" fmla="*/ 2 w 5100"/>
                  <a:gd name="T67" fmla="*/ 7 h 4702"/>
                  <a:gd name="T68" fmla="*/ 3 w 5100"/>
                  <a:gd name="T69" fmla="*/ 7 h 4702"/>
                  <a:gd name="T70" fmla="*/ 4 w 5100"/>
                  <a:gd name="T71" fmla="*/ 8 h 4702"/>
                  <a:gd name="T72" fmla="*/ 5 w 5100"/>
                  <a:gd name="T73" fmla="*/ 8 h 4702"/>
                  <a:gd name="T74" fmla="*/ 6 w 5100"/>
                  <a:gd name="T75" fmla="*/ 9 h 4702"/>
                  <a:gd name="T76" fmla="*/ 7 w 5100"/>
                  <a:gd name="T77" fmla="*/ 10 h 4702"/>
                  <a:gd name="T78" fmla="*/ 8 w 5100"/>
                  <a:gd name="T79" fmla="*/ 11 h 4702"/>
                  <a:gd name="T80" fmla="*/ 9 w 5100"/>
                  <a:gd name="T81" fmla="*/ 12 h 4702"/>
                  <a:gd name="T82" fmla="*/ 9 w 5100"/>
                  <a:gd name="T83" fmla="*/ 14 h 4702"/>
                  <a:gd name="T84" fmla="*/ 10 w 5100"/>
                  <a:gd name="T85" fmla="*/ 15 h 4702"/>
                  <a:gd name="T86" fmla="*/ 10 w 5100"/>
                  <a:gd name="T87" fmla="*/ 16 h 4702"/>
                  <a:gd name="T88" fmla="*/ 11 w 5100"/>
                  <a:gd name="T89" fmla="*/ 18 h 4702"/>
                  <a:gd name="T90" fmla="*/ 11 w 5100"/>
                  <a:gd name="T91" fmla="*/ 18 h 4702"/>
                  <a:gd name="T92" fmla="*/ 11 w 5100"/>
                  <a:gd name="T93" fmla="*/ 20 h 4702"/>
                  <a:gd name="T94" fmla="*/ 9 w 5100"/>
                  <a:gd name="T95" fmla="*/ 20 h 4702"/>
                  <a:gd name="T96" fmla="*/ 11 w 5100"/>
                  <a:gd name="T97" fmla="*/ 22 h 4702"/>
                  <a:gd name="T98" fmla="*/ 14 w 5100"/>
                  <a:gd name="T99" fmla="*/ 22 h 4702"/>
                  <a:gd name="T100" fmla="*/ 16 w 5100"/>
                  <a:gd name="T101" fmla="*/ 23 h 4702"/>
                  <a:gd name="T102" fmla="*/ 18 w 5100"/>
                  <a:gd name="T103" fmla="*/ 24 h 4702"/>
                  <a:gd name="T104" fmla="*/ 21 w 5100"/>
                  <a:gd name="T105" fmla="*/ 25 h 4702"/>
                  <a:gd name="T106" fmla="*/ 20 w 5100"/>
                  <a:gd name="T107" fmla="*/ 27 h 4702"/>
                  <a:gd name="T108" fmla="*/ 20 w 5100"/>
                  <a:gd name="T109" fmla="*/ 28 h 4702"/>
                  <a:gd name="T110" fmla="*/ 22 w 5100"/>
                  <a:gd name="T111" fmla="*/ 28 h 4702"/>
                  <a:gd name="T112" fmla="*/ 23 w 5100"/>
                  <a:gd name="T113" fmla="*/ 29 h 4702"/>
                  <a:gd name="T114" fmla="*/ 25 w 5100"/>
                  <a:gd name="T115" fmla="*/ 29 h 4702"/>
                  <a:gd name="T116" fmla="*/ 26 w 5100"/>
                  <a:gd name="T117" fmla="*/ 29 h 4702"/>
                  <a:gd name="T118" fmla="*/ 27 w 5100"/>
                  <a:gd name="T119" fmla="*/ 28 h 4702"/>
                  <a:gd name="T120" fmla="*/ 31 w 5100"/>
                  <a:gd name="T121" fmla="*/ 27 h 4702"/>
                  <a:gd name="T122" fmla="*/ 32 w 5100"/>
                  <a:gd name="T123" fmla="*/ 27 h 470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100"/>
                  <a:gd name="T187" fmla="*/ 0 h 4702"/>
                  <a:gd name="T188" fmla="*/ 5100 w 5100"/>
                  <a:gd name="T189" fmla="*/ 4702 h 470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100" h="4702">
                    <a:moveTo>
                      <a:pt x="5098" y="4347"/>
                    </a:moveTo>
                    <a:lnTo>
                      <a:pt x="5099" y="4318"/>
                    </a:lnTo>
                    <a:lnTo>
                      <a:pt x="5100" y="4290"/>
                    </a:lnTo>
                    <a:lnTo>
                      <a:pt x="5100" y="4264"/>
                    </a:lnTo>
                    <a:lnTo>
                      <a:pt x="5098" y="4239"/>
                    </a:lnTo>
                    <a:lnTo>
                      <a:pt x="5096" y="4215"/>
                    </a:lnTo>
                    <a:lnTo>
                      <a:pt x="5092" y="4192"/>
                    </a:lnTo>
                    <a:lnTo>
                      <a:pt x="5089" y="4171"/>
                    </a:lnTo>
                    <a:lnTo>
                      <a:pt x="5084" y="4152"/>
                    </a:lnTo>
                    <a:lnTo>
                      <a:pt x="5077" y="4140"/>
                    </a:lnTo>
                    <a:lnTo>
                      <a:pt x="5070" y="4131"/>
                    </a:lnTo>
                    <a:lnTo>
                      <a:pt x="5062" y="4123"/>
                    </a:lnTo>
                    <a:lnTo>
                      <a:pt x="5053" y="4116"/>
                    </a:lnTo>
                    <a:lnTo>
                      <a:pt x="5043" y="4110"/>
                    </a:lnTo>
                    <a:lnTo>
                      <a:pt x="5033" y="4106"/>
                    </a:lnTo>
                    <a:lnTo>
                      <a:pt x="5022" y="4101"/>
                    </a:lnTo>
                    <a:lnTo>
                      <a:pt x="5012" y="4096"/>
                    </a:lnTo>
                    <a:lnTo>
                      <a:pt x="4990" y="4088"/>
                    </a:lnTo>
                    <a:lnTo>
                      <a:pt x="4971" y="4078"/>
                    </a:lnTo>
                    <a:lnTo>
                      <a:pt x="4963" y="4072"/>
                    </a:lnTo>
                    <a:lnTo>
                      <a:pt x="4955" y="4064"/>
                    </a:lnTo>
                    <a:lnTo>
                      <a:pt x="4949" y="4056"/>
                    </a:lnTo>
                    <a:lnTo>
                      <a:pt x="4944" y="4047"/>
                    </a:lnTo>
                    <a:lnTo>
                      <a:pt x="4939" y="4038"/>
                    </a:lnTo>
                    <a:lnTo>
                      <a:pt x="4935" y="4029"/>
                    </a:lnTo>
                    <a:lnTo>
                      <a:pt x="4932" y="4020"/>
                    </a:lnTo>
                    <a:lnTo>
                      <a:pt x="4931" y="4012"/>
                    </a:lnTo>
                    <a:lnTo>
                      <a:pt x="4929" y="3994"/>
                    </a:lnTo>
                    <a:lnTo>
                      <a:pt x="4932" y="3977"/>
                    </a:lnTo>
                    <a:lnTo>
                      <a:pt x="4933" y="3960"/>
                    </a:lnTo>
                    <a:lnTo>
                      <a:pt x="4934" y="3943"/>
                    </a:lnTo>
                    <a:lnTo>
                      <a:pt x="4933" y="3935"/>
                    </a:lnTo>
                    <a:lnTo>
                      <a:pt x="4931" y="3926"/>
                    </a:lnTo>
                    <a:lnTo>
                      <a:pt x="4928" y="3916"/>
                    </a:lnTo>
                    <a:lnTo>
                      <a:pt x="4924" y="3907"/>
                    </a:lnTo>
                    <a:lnTo>
                      <a:pt x="4919" y="3899"/>
                    </a:lnTo>
                    <a:lnTo>
                      <a:pt x="4912" y="3892"/>
                    </a:lnTo>
                    <a:lnTo>
                      <a:pt x="4905" y="3887"/>
                    </a:lnTo>
                    <a:lnTo>
                      <a:pt x="4897" y="3883"/>
                    </a:lnTo>
                    <a:lnTo>
                      <a:pt x="4879" y="3876"/>
                    </a:lnTo>
                    <a:lnTo>
                      <a:pt x="4859" y="3871"/>
                    </a:lnTo>
                    <a:lnTo>
                      <a:pt x="4850" y="3867"/>
                    </a:lnTo>
                    <a:lnTo>
                      <a:pt x="4842" y="3864"/>
                    </a:lnTo>
                    <a:lnTo>
                      <a:pt x="4834" y="3859"/>
                    </a:lnTo>
                    <a:lnTo>
                      <a:pt x="4826" y="3853"/>
                    </a:lnTo>
                    <a:lnTo>
                      <a:pt x="4820" y="3848"/>
                    </a:lnTo>
                    <a:lnTo>
                      <a:pt x="4816" y="3838"/>
                    </a:lnTo>
                    <a:lnTo>
                      <a:pt x="4814" y="3829"/>
                    </a:lnTo>
                    <a:lnTo>
                      <a:pt x="4812" y="3817"/>
                    </a:lnTo>
                    <a:lnTo>
                      <a:pt x="4812" y="3809"/>
                    </a:lnTo>
                    <a:lnTo>
                      <a:pt x="4814" y="3801"/>
                    </a:lnTo>
                    <a:lnTo>
                      <a:pt x="4816" y="3793"/>
                    </a:lnTo>
                    <a:lnTo>
                      <a:pt x="4819" y="3785"/>
                    </a:lnTo>
                    <a:lnTo>
                      <a:pt x="4824" y="3778"/>
                    </a:lnTo>
                    <a:lnTo>
                      <a:pt x="4828" y="3770"/>
                    </a:lnTo>
                    <a:lnTo>
                      <a:pt x="4833" y="3763"/>
                    </a:lnTo>
                    <a:lnTo>
                      <a:pt x="4839" y="3755"/>
                    </a:lnTo>
                    <a:lnTo>
                      <a:pt x="4853" y="3741"/>
                    </a:lnTo>
                    <a:lnTo>
                      <a:pt x="4867" y="3726"/>
                    </a:lnTo>
                    <a:lnTo>
                      <a:pt x="4882" y="3712"/>
                    </a:lnTo>
                    <a:lnTo>
                      <a:pt x="4900" y="3697"/>
                    </a:lnTo>
                    <a:lnTo>
                      <a:pt x="4916" y="3682"/>
                    </a:lnTo>
                    <a:lnTo>
                      <a:pt x="4931" y="3668"/>
                    </a:lnTo>
                    <a:lnTo>
                      <a:pt x="4945" y="3652"/>
                    </a:lnTo>
                    <a:lnTo>
                      <a:pt x="4959" y="3634"/>
                    </a:lnTo>
                    <a:lnTo>
                      <a:pt x="4965" y="3625"/>
                    </a:lnTo>
                    <a:lnTo>
                      <a:pt x="4969" y="3616"/>
                    </a:lnTo>
                    <a:lnTo>
                      <a:pt x="4975" y="3606"/>
                    </a:lnTo>
                    <a:lnTo>
                      <a:pt x="4979" y="3596"/>
                    </a:lnTo>
                    <a:lnTo>
                      <a:pt x="4982" y="3586"/>
                    </a:lnTo>
                    <a:lnTo>
                      <a:pt x="4984" y="3575"/>
                    </a:lnTo>
                    <a:lnTo>
                      <a:pt x="4986" y="3564"/>
                    </a:lnTo>
                    <a:lnTo>
                      <a:pt x="4987" y="3553"/>
                    </a:lnTo>
                    <a:lnTo>
                      <a:pt x="4987" y="3538"/>
                    </a:lnTo>
                    <a:lnTo>
                      <a:pt x="4987" y="3524"/>
                    </a:lnTo>
                    <a:lnTo>
                      <a:pt x="4988" y="3513"/>
                    </a:lnTo>
                    <a:lnTo>
                      <a:pt x="4990" y="3502"/>
                    </a:lnTo>
                    <a:lnTo>
                      <a:pt x="4991" y="3492"/>
                    </a:lnTo>
                    <a:lnTo>
                      <a:pt x="4992" y="3482"/>
                    </a:lnTo>
                    <a:lnTo>
                      <a:pt x="4992" y="3473"/>
                    </a:lnTo>
                    <a:lnTo>
                      <a:pt x="4994" y="3462"/>
                    </a:lnTo>
                    <a:lnTo>
                      <a:pt x="4995" y="3442"/>
                    </a:lnTo>
                    <a:lnTo>
                      <a:pt x="4997" y="3420"/>
                    </a:lnTo>
                    <a:lnTo>
                      <a:pt x="5002" y="3395"/>
                    </a:lnTo>
                    <a:lnTo>
                      <a:pt x="5007" y="3368"/>
                    </a:lnTo>
                    <a:lnTo>
                      <a:pt x="5012" y="3342"/>
                    </a:lnTo>
                    <a:lnTo>
                      <a:pt x="5016" y="3314"/>
                    </a:lnTo>
                    <a:lnTo>
                      <a:pt x="5020" y="3287"/>
                    </a:lnTo>
                    <a:lnTo>
                      <a:pt x="5021" y="3260"/>
                    </a:lnTo>
                    <a:lnTo>
                      <a:pt x="5021" y="3246"/>
                    </a:lnTo>
                    <a:lnTo>
                      <a:pt x="5019" y="3232"/>
                    </a:lnTo>
                    <a:lnTo>
                      <a:pt x="5015" y="3220"/>
                    </a:lnTo>
                    <a:lnTo>
                      <a:pt x="5011" y="3209"/>
                    </a:lnTo>
                    <a:lnTo>
                      <a:pt x="5005" y="3200"/>
                    </a:lnTo>
                    <a:lnTo>
                      <a:pt x="4997" y="3189"/>
                    </a:lnTo>
                    <a:lnTo>
                      <a:pt x="4990" y="3181"/>
                    </a:lnTo>
                    <a:lnTo>
                      <a:pt x="4982" y="3172"/>
                    </a:lnTo>
                    <a:lnTo>
                      <a:pt x="4974" y="3163"/>
                    </a:lnTo>
                    <a:lnTo>
                      <a:pt x="4966" y="3154"/>
                    </a:lnTo>
                    <a:lnTo>
                      <a:pt x="4958" y="3145"/>
                    </a:lnTo>
                    <a:lnTo>
                      <a:pt x="4951" y="3133"/>
                    </a:lnTo>
                    <a:lnTo>
                      <a:pt x="4945" y="3122"/>
                    </a:lnTo>
                    <a:lnTo>
                      <a:pt x="4941" y="3109"/>
                    </a:lnTo>
                    <a:lnTo>
                      <a:pt x="4939" y="3095"/>
                    </a:lnTo>
                    <a:lnTo>
                      <a:pt x="4937" y="3079"/>
                    </a:lnTo>
                    <a:lnTo>
                      <a:pt x="4940" y="3049"/>
                    </a:lnTo>
                    <a:lnTo>
                      <a:pt x="4942" y="3018"/>
                    </a:lnTo>
                    <a:lnTo>
                      <a:pt x="4943" y="2989"/>
                    </a:lnTo>
                    <a:lnTo>
                      <a:pt x="4943" y="2959"/>
                    </a:lnTo>
                    <a:lnTo>
                      <a:pt x="4944" y="2931"/>
                    </a:lnTo>
                    <a:lnTo>
                      <a:pt x="4944" y="2906"/>
                    </a:lnTo>
                    <a:lnTo>
                      <a:pt x="4944" y="2885"/>
                    </a:lnTo>
                    <a:lnTo>
                      <a:pt x="4944" y="2869"/>
                    </a:lnTo>
                    <a:lnTo>
                      <a:pt x="4944" y="2864"/>
                    </a:lnTo>
                    <a:lnTo>
                      <a:pt x="4943" y="2859"/>
                    </a:lnTo>
                    <a:lnTo>
                      <a:pt x="4942" y="2853"/>
                    </a:lnTo>
                    <a:lnTo>
                      <a:pt x="4940" y="2849"/>
                    </a:lnTo>
                    <a:lnTo>
                      <a:pt x="4934" y="2840"/>
                    </a:lnTo>
                    <a:lnTo>
                      <a:pt x="4926" y="2830"/>
                    </a:lnTo>
                    <a:lnTo>
                      <a:pt x="4917" y="2823"/>
                    </a:lnTo>
                    <a:lnTo>
                      <a:pt x="4905" y="2815"/>
                    </a:lnTo>
                    <a:lnTo>
                      <a:pt x="4893" y="2810"/>
                    </a:lnTo>
                    <a:lnTo>
                      <a:pt x="4880" y="2803"/>
                    </a:lnTo>
                    <a:lnTo>
                      <a:pt x="4851" y="2791"/>
                    </a:lnTo>
                    <a:lnTo>
                      <a:pt x="4820" y="2779"/>
                    </a:lnTo>
                    <a:lnTo>
                      <a:pt x="4806" y="2773"/>
                    </a:lnTo>
                    <a:lnTo>
                      <a:pt x="4791" y="2766"/>
                    </a:lnTo>
                    <a:lnTo>
                      <a:pt x="4777" y="2759"/>
                    </a:lnTo>
                    <a:lnTo>
                      <a:pt x="4763" y="2751"/>
                    </a:lnTo>
                    <a:lnTo>
                      <a:pt x="4760" y="2747"/>
                    </a:lnTo>
                    <a:lnTo>
                      <a:pt x="4756" y="2736"/>
                    </a:lnTo>
                    <a:lnTo>
                      <a:pt x="4750" y="2721"/>
                    </a:lnTo>
                    <a:lnTo>
                      <a:pt x="4746" y="2702"/>
                    </a:lnTo>
                    <a:lnTo>
                      <a:pt x="4733" y="2654"/>
                    </a:lnTo>
                    <a:lnTo>
                      <a:pt x="4720" y="2599"/>
                    </a:lnTo>
                    <a:lnTo>
                      <a:pt x="4707" y="2545"/>
                    </a:lnTo>
                    <a:lnTo>
                      <a:pt x="4697" y="2498"/>
                    </a:lnTo>
                    <a:lnTo>
                      <a:pt x="4690" y="2464"/>
                    </a:lnTo>
                    <a:lnTo>
                      <a:pt x="4686" y="2452"/>
                    </a:lnTo>
                    <a:lnTo>
                      <a:pt x="4687" y="2446"/>
                    </a:lnTo>
                    <a:lnTo>
                      <a:pt x="4689" y="2439"/>
                    </a:lnTo>
                    <a:lnTo>
                      <a:pt x="4690" y="2434"/>
                    </a:lnTo>
                    <a:lnTo>
                      <a:pt x="4692" y="2428"/>
                    </a:lnTo>
                    <a:lnTo>
                      <a:pt x="4698" y="2417"/>
                    </a:lnTo>
                    <a:lnTo>
                      <a:pt x="4706" y="2407"/>
                    </a:lnTo>
                    <a:lnTo>
                      <a:pt x="4726" y="2388"/>
                    </a:lnTo>
                    <a:lnTo>
                      <a:pt x="4749" y="2368"/>
                    </a:lnTo>
                    <a:lnTo>
                      <a:pt x="4761" y="2359"/>
                    </a:lnTo>
                    <a:lnTo>
                      <a:pt x="4772" y="2348"/>
                    </a:lnTo>
                    <a:lnTo>
                      <a:pt x="4783" y="2337"/>
                    </a:lnTo>
                    <a:lnTo>
                      <a:pt x="4793" y="2325"/>
                    </a:lnTo>
                    <a:lnTo>
                      <a:pt x="4801" y="2312"/>
                    </a:lnTo>
                    <a:lnTo>
                      <a:pt x="4807" y="2297"/>
                    </a:lnTo>
                    <a:lnTo>
                      <a:pt x="4809" y="2289"/>
                    </a:lnTo>
                    <a:lnTo>
                      <a:pt x="4810" y="2281"/>
                    </a:lnTo>
                    <a:lnTo>
                      <a:pt x="4811" y="2273"/>
                    </a:lnTo>
                    <a:lnTo>
                      <a:pt x="4812" y="2264"/>
                    </a:lnTo>
                    <a:lnTo>
                      <a:pt x="4811" y="2259"/>
                    </a:lnTo>
                    <a:lnTo>
                      <a:pt x="4810" y="2255"/>
                    </a:lnTo>
                    <a:lnTo>
                      <a:pt x="4808" y="2250"/>
                    </a:lnTo>
                    <a:lnTo>
                      <a:pt x="4804" y="2245"/>
                    </a:lnTo>
                    <a:lnTo>
                      <a:pt x="4796" y="2236"/>
                    </a:lnTo>
                    <a:lnTo>
                      <a:pt x="4787" y="2228"/>
                    </a:lnTo>
                    <a:lnTo>
                      <a:pt x="4779" y="2219"/>
                    </a:lnTo>
                    <a:lnTo>
                      <a:pt x="4771" y="2210"/>
                    </a:lnTo>
                    <a:lnTo>
                      <a:pt x="4768" y="2205"/>
                    </a:lnTo>
                    <a:lnTo>
                      <a:pt x="4765" y="2200"/>
                    </a:lnTo>
                    <a:lnTo>
                      <a:pt x="4764" y="2194"/>
                    </a:lnTo>
                    <a:lnTo>
                      <a:pt x="4763" y="2187"/>
                    </a:lnTo>
                    <a:lnTo>
                      <a:pt x="4765" y="2177"/>
                    </a:lnTo>
                    <a:lnTo>
                      <a:pt x="4771" y="2163"/>
                    </a:lnTo>
                    <a:lnTo>
                      <a:pt x="4779" y="2146"/>
                    </a:lnTo>
                    <a:lnTo>
                      <a:pt x="4788" y="2126"/>
                    </a:lnTo>
                    <a:lnTo>
                      <a:pt x="4799" y="2107"/>
                    </a:lnTo>
                    <a:lnTo>
                      <a:pt x="4808" y="2087"/>
                    </a:lnTo>
                    <a:lnTo>
                      <a:pt x="4815" y="2070"/>
                    </a:lnTo>
                    <a:lnTo>
                      <a:pt x="4819" y="2055"/>
                    </a:lnTo>
                    <a:lnTo>
                      <a:pt x="4808" y="2032"/>
                    </a:lnTo>
                    <a:lnTo>
                      <a:pt x="4796" y="2013"/>
                    </a:lnTo>
                    <a:lnTo>
                      <a:pt x="4785" y="1998"/>
                    </a:lnTo>
                    <a:lnTo>
                      <a:pt x="4775" y="1984"/>
                    </a:lnTo>
                    <a:lnTo>
                      <a:pt x="4763" y="1974"/>
                    </a:lnTo>
                    <a:lnTo>
                      <a:pt x="4752" y="1966"/>
                    </a:lnTo>
                    <a:lnTo>
                      <a:pt x="4740" y="1960"/>
                    </a:lnTo>
                    <a:lnTo>
                      <a:pt x="4728" y="1955"/>
                    </a:lnTo>
                    <a:lnTo>
                      <a:pt x="4700" y="1948"/>
                    </a:lnTo>
                    <a:lnTo>
                      <a:pt x="4669" y="1943"/>
                    </a:lnTo>
                    <a:lnTo>
                      <a:pt x="4652" y="1939"/>
                    </a:lnTo>
                    <a:lnTo>
                      <a:pt x="4632" y="1935"/>
                    </a:lnTo>
                    <a:lnTo>
                      <a:pt x="4612" y="1930"/>
                    </a:lnTo>
                    <a:lnTo>
                      <a:pt x="4589" y="1923"/>
                    </a:lnTo>
                    <a:lnTo>
                      <a:pt x="4580" y="1917"/>
                    </a:lnTo>
                    <a:lnTo>
                      <a:pt x="4570" y="1912"/>
                    </a:lnTo>
                    <a:lnTo>
                      <a:pt x="4562" y="1905"/>
                    </a:lnTo>
                    <a:lnTo>
                      <a:pt x="4556" y="1898"/>
                    </a:lnTo>
                    <a:lnTo>
                      <a:pt x="4549" y="1890"/>
                    </a:lnTo>
                    <a:lnTo>
                      <a:pt x="4542" y="1881"/>
                    </a:lnTo>
                    <a:lnTo>
                      <a:pt x="4535" y="1872"/>
                    </a:lnTo>
                    <a:lnTo>
                      <a:pt x="4529" y="1861"/>
                    </a:lnTo>
                    <a:lnTo>
                      <a:pt x="4507" y="1819"/>
                    </a:lnTo>
                    <a:lnTo>
                      <a:pt x="4487" y="1775"/>
                    </a:lnTo>
                    <a:lnTo>
                      <a:pt x="4475" y="1752"/>
                    </a:lnTo>
                    <a:lnTo>
                      <a:pt x="4462" y="1732"/>
                    </a:lnTo>
                    <a:lnTo>
                      <a:pt x="4455" y="1722"/>
                    </a:lnTo>
                    <a:lnTo>
                      <a:pt x="4448" y="1712"/>
                    </a:lnTo>
                    <a:lnTo>
                      <a:pt x="4440" y="1704"/>
                    </a:lnTo>
                    <a:lnTo>
                      <a:pt x="4431" y="1695"/>
                    </a:lnTo>
                    <a:lnTo>
                      <a:pt x="4421" y="1688"/>
                    </a:lnTo>
                    <a:lnTo>
                      <a:pt x="4411" y="1681"/>
                    </a:lnTo>
                    <a:lnTo>
                      <a:pt x="4400" y="1674"/>
                    </a:lnTo>
                    <a:lnTo>
                      <a:pt x="4388" y="1670"/>
                    </a:lnTo>
                    <a:lnTo>
                      <a:pt x="4376" y="1665"/>
                    </a:lnTo>
                    <a:lnTo>
                      <a:pt x="4362" y="1662"/>
                    </a:lnTo>
                    <a:lnTo>
                      <a:pt x="4347" y="1659"/>
                    </a:lnTo>
                    <a:lnTo>
                      <a:pt x="4332" y="1658"/>
                    </a:lnTo>
                    <a:lnTo>
                      <a:pt x="4322" y="1658"/>
                    </a:lnTo>
                    <a:lnTo>
                      <a:pt x="4314" y="1658"/>
                    </a:lnTo>
                    <a:lnTo>
                      <a:pt x="4306" y="1657"/>
                    </a:lnTo>
                    <a:lnTo>
                      <a:pt x="4300" y="1656"/>
                    </a:lnTo>
                    <a:lnTo>
                      <a:pt x="4294" y="1655"/>
                    </a:lnTo>
                    <a:lnTo>
                      <a:pt x="4290" y="1653"/>
                    </a:lnTo>
                    <a:lnTo>
                      <a:pt x="4286" y="1649"/>
                    </a:lnTo>
                    <a:lnTo>
                      <a:pt x="4283" y="1644"/>
                    </a:lnTo>
                    <a:lnTo>
                      <a:pt x="4276" y="1639"/>
                    </a:lnTo>
                    <a:lnTo>
                      <a:pt x="4269" y="1633"/>
                    </a:lnTo>
                    <a:lnTo>
                      <a:pt x="4263" y="1626"/>
                    </a:lnTo>
                    <a:lnTo>
                      <a:pt x="4257" y="1619"/>
                    </a:lnTo>
                    <a:lnTo>
                      <a:pt x="4249" y="1604"/>
                    </a:lnTo>
                    <a:lnTo>
                      <a:pt x="4241" y="1588"/>
                    </a:lnTo>
                    <a:lnTo>
                      <a:pt x="4233" y="1573"/>
                    </a:lnTo>
                    <a:lnTo>
                      <a:pt x="4224" y="1557"/>
                    </a:lnTo>
                    <a:lnTo>
                      <a:pt x="4219" y="1550"/>
                    </a:lnTo>
                    <a:lnTo>
                      <a:pt x="4213" y="1545"/>
                    </a:lnTo>
                    <a:lnTo>
                      <a:pt x="4207" y="1538"/>
                    </a:lnTo>
                    <a:lnTo>
                      <a:pt x="4199" y="1532"/>
                    </a:lnTo>
                    <a:lnTo>
                      <a:pt x="4192" y="1529"/>
                    </a:lnTo>
                    <a:lnTo>
                      <a:pt x="4184" y="1525"/>
                    </a:lnTo>
                    <a:lnTo>
                      <a:pt x="4174" y="1523"/>
                    </a:lnTo>
                    <a:lnTo>
                      <a:pt x="4163" y="1521"/>
                    </a:lnTo>
                    <a:lnTo>
                      <a:pt x="4142" y="1519"/>
                    </a:lnTo>
                    <a:lnTo>
                      <a:pt x="4120" y="1517"/>
                    </a:lnTo>
                    <a:lnTo>
                      <a:pt x="4110" y="1515"/>
                    </a:lnTo>
                    <a:lnTo>
                      <a:pt x="4099" y="1513"/>
                    </a:lnTo>
                    <a:lnTo>
                      <a:pt x="4090" y="1510"/>
                    </a:lnTo>
                    <a:lnTo>
                      <a:pt x="4083" y="1506"/>
                    </a:lnTo>
                    <a:lnTo>
                      <a:pt x="4080" y="1502"/>
                    </a:lnTo>
                    <a:lnTo>
                      <a:pt x="4076" y="1499"/>
                    </a:lnTo>
                    <a:lnTo>
                      <a:pt x="4074" y="1495"/>
                    </a:lnTo>
                    <a:lnTo>
                      <a:pt x="4072" y="1492"/>
                    </a:lnTo>
                    <a:lnTo>
                      <a:pt x="4069" y="1487"/>
                    </a:lnTo>
                    <a:lnTo>
                      <a:pt x="4068" y="1482"/>
                    </a:lnTo>
                    <a:lnTo>
                      <a:pt x="4067" y="1476"/>
                    </a:lnTo>
                    <a:lnTo>
                      <a:pt x="4067" y="1470"/>
                    </a:lnTo>
                    <a:lnTo>
                      <a:pt x="4067" y="1462"/>
                    </a:lnTo>
                    <a:lnTo>
                      <a:pt x="4069" y="1455"/>
                    </a:lnTo>
                    <a:lnTo>
                      <a:pt x="4072" y="1448"/>
                    </a:lnTo>
                    <a:lnTo>
                      <a:pt x="4075" y="1441"/>
                    </a:lnTo>
                    <a:lnTo>
                      <a:pt x="4082" y="1429"/>
                    </a:lnTo>
                    <a:lnTo>
                      <a:pt x="4091" y="1417"/>
                    </a:lnTo>
                    <a:lnTo>
                      <a:pt x="4100" y="1404"/>
                    </a:lnTo>
                    <a:lnTo>
                      <a:pt x="4108" y="1391"/>
                    </a:lnTo>
                    <a:lnTo>
                      <a:pt x="4111" y="1383"/>
                    </a:lnTo>
                    <a:lnTo>
                      <a:pt x="4114" y="1376"/>
                    </a:lnTo>
                    <a:lnTo>
                      <a:pt x="4115" y="1367"/>
                    </a:lnTo>
                    <a:lnTo>
                      <a:pt x="4115" y="1359"/>
                    </a:lnTo>
                    <a:lnTo>
                      <a:pt x="4115" y="1347"/>
                    </a:lnTo>
                    <a:lnTo>
                      <a:pt x="4114" y="1336"/>
                    </a:lnTo>
                    <a:lnTo>
                      <a:pt x="4111" y="1324"/>
                    </a:lnTo>
                    <a:lnTo>
                      <a:pt x="4108" y="1314"/>
                    </a:lnTo>
                    <a:lnTo>
                      <a:pt x="4100" y="1292"/>
                    </a:lnTo>
                    <a:lnTo>
                      <a:pt x="4092" y="1272"/>
                    </a:lnTo>
                    <a:lnTo>
                      <a:pt x="4084" y="1250"/>
                    </a:lnTo>
                    <a:lnTo>
                      <a:pt x="4077" y="1229"/>
                    </a:lnTo>
                    <a:lnTo>
                      <a:pt x="4075" y="1218"/>
                    </a:lnTo>
                    <a:lnTo>
                      <a:pt x="4074" y="1208"/>
                    </a:lnTo>
                    <a:lnTo>
                      <a:pt x="4073" y="1196"/>
                    </a:lnTo>
                    <a:lnTo>
                      <a:pt x="4074" y="1185"/>
                    </a:lnTo>
                    <a:lnTo>
                      <a:pt x="4075" y="1179"/>
                    </a:lnTo>
                    <a:lnTo>
                      <a:pt x="4077" y="1174"/>
                    </a:lnTo>
                    <a:lnTo>
                      <a:pt x="4082" y="1169"/>
                    </a:lnTo>
                    <a:lnTo>
                      <a:pt x="4088" y="1164"/>
                    </a:lnTo>
                    <a:lnTo>
                      <a:pt x="4102" y="1154"/>
                    </a:lnTo>
                    <a:lnTo>
                      <a:pt x="4119" y="1143"/>
                    </a:lnTo>
                    <a:lnTo>
                      <a:pt x="4138" y="1134"/>
                    </a:lnTo>
                    <a:lnTo>
                      <a:pt x="4157" y="1125"/>
                    </a:lnTo>
                    <a:lnTo>
                      <a:pt x="4173" y="1116"/>
                    </a:lnTo>
                    <a:lnTo>
                      <a:pt x="4185" y="1108"/>
                    </a:lnTo>
                    <a:lnTo>
                      <a:pt x="4204" y="1094"/>
                    </a:lnTo>
                    <a:lnTo>
                      <a:pt x="4222" y="1080"/>
                    </a:lnTo>
                    <a:lnTo>
                      <a:pt x="4239" y="1066"/>
                    </a:lnTo>
                    <a:lnTo>
                      <a:pt x="4257" y="1052"/>
                    </a:lnTo>
                    <a:lnTo>
                      <a:pt x="4274" y="1035"/>
                    </a:lnTo>
                    <a:lnTo>
                      <a:pt x="4290" y="1018"/>
                    </a:lnTo>
                    <a:lnTo>
                      <a:pt x="4306" y="1001"/>
                    </a:lnTo>
                    <a:lnTo>
                      <a:pt x="4319" y="983"/>
                    </a:lnTo>
                    <a:lnTo>
                      <a:pt x="4332" y="964"/>
                    </a:lnTo>
                    <a:lnTo>
                      <a:pt x="4345" y="944"/>
                    </a:lnTo>
                    <a:lnTo>
                      <a:pt x="4355" y="923"/>
                    </a:lnTo>
                    <a:lnTo>
                      <a:pt x="4364" y="901"/>
                    </a:lnTo>
                    <a:lnTo>
                      <a:pt x="4371" y="878"/>
                    </a:lnTo>
                    <a:lnTo>
                      <a:pt x="4376" y="853"/>
                    </a:lnTo>
                    <a:lnTo>
                      <a:pt x="4379" y="828"/>
                    </a:lnTo>
                    <a:lnTo>
                      <a:pt x="4380" y="802"/>
                    </a:lnTo>
                    <a:lnTo>
                      <a:pt x="4380" y="780"/>
                    </a:lnTo>
                    <a:lnTo>
                      <a:pt x="4380" y="760"/>
                    </a:lnTo>
                    <a:lnTo>
                      <a:pt x="4380" y="743"/>
                    </a:lnTo>
                    <a:lnTo>
                      <a:pt x="4381" y="728"/>
                    </a:lnTo>
                    <a:lnTo>
                      <a:pt x="4382" y="714"/>
                    </a:lnTo>
                    <a:lnTo>
                      <a:pt x="4384" y="702"/>
                    </a:lnTo>
                    <a:lnTo>
                      <a:pt x="4385" y="689"/>
                    </a:lnTo>
                    <a:lnTo>
                      <a:pt x="4387" y="677"/>
                    </a:lnTo>
                    <a:lnTo>
                      <a:pt x="4388" y="664"/>
                    </a:lnTo>
                    <a:lnTo>
                      <a:pt x="4389" y="652"/>
                    </a:lnTo>
                    <a:lnTo>
                      <a:pt x="4392" y="642"/>
                    </a:lnTo>
                    <a:lnTo>
                      <a:pt x="4394" y="631"/>
                    </a:lnTo>
                    <a:lnTo>
                      <a:pt x="4402" y="608"/>
                    </a:lnTo>
                    <a:lnTo>
                      <a:pt x="4411" y="584"/>
                    </a:lnTo>
                    <a:lnTo>
                      <a:pt x="4421" y="557"/>
                    </a:lnTo>
                    <a:lnTo>
                      <a:pt x="4432" y="529"/>
                    </a:lnTo>
                    <a:lnTo>
                      <a:pt x="4436" y="514"/>
                    </a:lnTo>
                    <a:lnTo>
                      <a:pt x="4441" y="496"/>
                    </a:lnTo>
                    <a:lnTo>
                      <a:pt x="4446" y="479"/>
                    </a:lnTo>
                    <a:lnTo>
                      <a:pt x="4450" y="460"/>
                    </a:lnTo>
                    <a:lnTo>
                      <a:pt x="4441" y="431"/>
                    </a:lnTo>
                    <a:lnTo>
                      <a:pt x="4429" y="398"/>
                    </a:lnTo>
                    <a:lnTo>
                      <a:pt x="4417" y="361"/>
                    </a:lnTo>
                    <a:lnTo>
                      <a:pt x="4404" y="323"/>
                    </a:lnTo>
                    <a:lnTo>
                      <a:pt x="4390" y="285"/>
                    </a:lnTo>
                    <a:lnTo>
                      <a:pt x="4377" y="248"/>
                    </a:lnTo>
                    <a:lnTo>
                      <a:pt x="4364" y="212"/>
                    </a:lnTo>
                    <a:lnTo>
                      <a:pt x="4353" y="181"/>
                    </a:lnTo>
                    <a:lnTo>
                      <a:pt x="4321" y="180"/>
                    </a:lnTo>
                    <a:lnTo>
                      <a:pt x="4290" y="176"/>
                    </a:lnTo>
                    <a:lnTo>
                      <a:pt x="4261" y="172"/>
                    </a:lnTo>
                    <a:lnTo>
                      <a:pt x="4232" y="165"/>
                    </a:lnTo>
                    <a:lnTo>
                      <a:pt x="4205" y="157"/>
                    </a:lnTo>
                    <a:lnTo>
                      <a:pt x="4178" y="148"/>
                    </a:lnTo>
                    <a:lnTo>
                      <a:pt x="4153" y="139"/>
                    </a:lnTo>
                    <a:lnTo>
                      <a:pt x="4128" y="128"/>
                    </a:lnTo>
                    <a:lnTo>
                      <a:pt x="4079" y="109"/>
                    </a:lnTo>
                    <a:lnTo>
                      <a:pt x="4032" y="90"/>
                    </a:lnTo>
                    <a:lnTo>
                      <a:pt x="4008" y="82"/>
                    </a:lnTo>
                    <a:lnTo>
                      <a:pt x="3983" y="77"/>
                    </a:lnTo>
                    <a:lnTo>
                      <a:pt x="3959" y="72"/>
                    </a:lnTo>
                    <a:lnTo>
                      <a:pt x="3934" y="70"/>
                    </a:lnTo>
                    <a:lnTo>
                      <a:pt x="3924" y="70"/>
                    </a:lnTo>
                    <a:lnTo>
                      <a:pt x="3914" y="70"/>
                    </a:lnTo>
                    <a:lnTo>
                      <a:pt x="3901" y="70"/>
                    </a:lnTo>
                    <a:lnTo>
                      <a:pt x="3887" y="70"/>
                    </a:lnTo>
                    <a:lnTo>
                      <a:pt x="3872" y="70"/>
                    </a:lnTo>
                    <a:lnTo>
                      <a:pt x="3854" y="70"/>
                    </a:lnTo>
                    <a:lnTo>
                      <a:pt x="3833" y="70"/>
                    </a:lnTo>
                    <a:lnTo>
                      <a:pt x="3809" y="70"/>
                    </a:lnTo>
                    <a:lnTo>
                      <a:pt x="3794" y="70"/>
                    </a:lnTo>
                    <a:lnTo>
                      <a:pt x="3781" y="68"/>
                    </a:lnTo>
                    <a:lnTo>
                      <a:pt x="3768" y="64"/>
                    </a:lnTo>
                    <a:lnTo>
                      <a:pt x="3756" y="59"/>
                    </a:lnTo>
                    <a:lnTo>
                      <a:pt x="3746" y="54"/>
                    </a:lnTo>
                    <a:lnTo>
                      <a:pt x="3736" y="48"/>
                    </a:lnTo>
                    <a:lnTo>
                      <a:pt x="3727" y="41"/>
                    </a:lnTo>
                    <a:lnTo>
                      <a:pt x="3717" y="35"/>
                    </a:lnTo>
                    <a:lnTo>
                      <a:pt x="3699" y="23"/>
                    </a:lnTo>
                    <a:lnTo>
                      <a:pt x="3680" y="11"/>
                    </a:lnTo>
                    <a:lnTo>
                      <a:pt x="3670" y="7"/>
                    </a:lnTo>
                    <a:lnTo>
                      <a:pt x="3659" y="3"/>
                    </a:lnTo>
                    <a:lnTo>
                      <a:pt x="3648" y="1"/>
                    </a:lnTo>
                    <a:lnTo>
                      <a:pt x="3635" y="0"/>
                    </a:lnTo>
                    <a:lnTo>
                      <a:pt x="3613" y="4"/>
                    </a:lnTo>
                    <a:lnTo>
                      <a:pt x="3566" y="14"/>
                    </a:lnTo>
                    <a:lnTo>
                      <a:pt x="3504" y="27"/>
                    </a:lnTo>
                    <a:lnTo>
                      <a:pt x="3434" y="43"/>
                    </a:lnTo>
                    <a:lnTo>
                      <a:pt x="3364" y="61"/>
                    </a:lnTo>
                    <a:lnTo>
                      <a:pt x="3304" y="77"/>
                    </a:lnTo>
                    <a:lnTo>
                      <a:pt x="3278" y="84"/>
                    </a:lnTo>
                    <a:lnTo>
                      <a:pt x="3259" y="89"/>
                    </a:lnTo>
                    <a:lnTo>
                      <a:pt x="3245" y="95"/>
                    </a:lnTo>
                    <a:lnTo>
                      <a:pt x="3238" y="97"/>
                    </a:lnTo>
                    <a:lnTo>
                      <a:pt x="3229" y="113"/>
                    </a:lnTo>
                    <a:lnTo>
                      <a:pt x="3221" y="129"/>
                    </a:lnTo>
                    <a:lnTo>
                      <a:pt x="3214" y="148"/>
                    </a:lnTo>
                    <a:lnTo>
                      <a:pt x="3208" y="167"/>
                    </a:lnTo>
                    <a:lnTo>
                      <a:pt x="3199" y="209"/>
                    </a:lnTo>
                    <a:lnTo>
                      <a:pt x="3192" y="251"/>
                    </a:lnTo>
                    <a:lnTo>
                      <a:pt x="3189" y="273"/>
                    </a:lnTo>
                    <a:lnTo>
                      <a:pt x="3184" y="293"/>
                    </a:lnTo>
                    <a:lnTo>
                      <a:pt x="3180" y="315"/>
                    </a:lnTo>
                    <a:lnTo>
                      <a:pt x="3175" y="335"/>
                    </a:lnTo>
                    <a:lnTo>
                      <a:pt x="3168" y="354"/>
                    </a:lnTo>
                    <a:lnTo>
                      <a:pt x="3161" y="373"/>
                    </a:lnTo>
                    <a:lnTo>
                      <a:pt x="3152" y="389"/>
                    </a:lnTo>
                    <a:lnTo>
                      <a:pt x="3141" y="405"/>
                    </a:lnTo>
                    <a:lnTo>
                      <a:pt x="3130" y="410"/>
                    </a:lnTo>
                    <a:lnTo>
                      <a:pt x="3120" y="417"/>
                    </a:lnTo>
                    <a:lnTo>
                      <a:pt x="3110" y="424"/>
                    </a:lnTo>
                    <a:lnTo>
                      <a:pt x="3099" y="432"/>
                    </a:lnTo>
                    <a:lnTo>
                      <a:pt x="3078" y="451"/>
                    </a:lnTo>
                    <a:lnTo>
                      <a:pt x="3056" y="469"/>
                    </a:lnTo>
                    <a:lnTo>
                      <a:pt x="3033" y="486"/>
                    </a:lnTo>
                    <a:lnTo>
                      <a:pt x="3010" y="502"/>
                    </a:lnTo>
                    <a:lnTo>
                      <a:pt x="2997" y="509"/>
                    </a:lnTo>
                    <a:lnTo>
                      <a:pt x="2986" y="515"/>
                    </a:lnTo>
                    <a:lnTo>
                      <a:pt x="2973" y="519"/>
                    </a:lnTo>
                    <a:lnTo>
                      <a:pt x="2960" y="523"/>
                    </a:lnTo>
                    <a:lnTo>
                      <a:pt x="2950" y="524"/>
                    </a:lnTo>
                    <a:lnTo>
                      <a:pt x="2942" y="524"/>
                    </a:lnTo>
                    <a:lnTo>
                      <a:pt x="2934" y="524"/>
                    </a:lnTo>
                    <a:lnTo>
                      <a:pt x="2926" y="523"/>
                    </a:lnTo>
                    <a:lnTo>
                      <a:pt x="2911" y="519"/>
                    </a:lnTo>
                    <a:lnTo>
                      <a:pt x="2898" y="517"/>
                    </a:lnTo>
                    <a:lnTo>
                      <a:pt x="2883" y="514"/>
                    </a:lnTo>
                    <a:lnTo>
                      <a:pt x="2868" y="513"/>
                    </a:lnTo>
                    <a:lnTo>
                      <a:pt x="2860" y="511"/>
                    </a:lnTo>
                    <a:lnTo>
                      <a:pt x="2852" y="513"/>
                    </a:lnTo>
                    <a:lnTo>
                      <a:pt x="2844" y="514"/>
                    </a:lnTo>
                    <a:lnTo>
                      <a:pt x="2835" y="516"/>
                    </a:lnTo>
                    <a:lnTo>
                      <a:pt x="2828" y="519"/>
                    </a:lnTo>
                    <a:lnTo>
                      <a:pt x="2822" y="524"/>
                    </a:lnTo>
                    <a:lnTo>
                      <a:pt x="2815" y="530"/>
                    </a:lnTo>
                    <a:lnTo>
                      <a:pt x="2808" y="537"/>
                    </a:lnTo>
                    <a:lnTo>
                      <a:pt x="2795" y="553"/>
                    </a:lnTo>
                    <a:lnTo>
                      <a:pt x="2780" y="570"/>
                    </a:lnTo>
                    <a:lnTo>
                      <a:pt x="2772" y="578"/>
                    </a:lnTo>
                    <a:lnTo>
                      <a:pt x="2765" y="586"/>
                    </a:lnTo>
                    <a:lnTo>
                      <a:pt x="2756" y="594"/>
                    </a:lnTo>
                    <a:lnTo>
                      <a:pt x="2748" y="600"/>
                    </a:lnTo>
                    <a:lnTo>
                      <a:pt x="2738" y="605"/>
                    </a:lnTo>
                    <a:lnTo>
                      <a:pt x="2729" y="610"/>
                    </a:lnTo>
                    <a:lnTo>
                      <a:pt x="2720" y="612"/>
                    </a:lnTo>
                    <a:lnTo>
                      <a:pt x="2710" y="613"/>
                    </a:lnTo>
                    <a:lnTo>
                      <a:pt x="2704" y="612"/>
                    </a:lnTo>
                    <a:lnTo>
                      <a:pt x="2701" y="610"/>
                    </a:lnTo>
                    <a:lnTo>
                      <a:pt x="2696" y="607"/>
                    </a:lnTo>
                    <a:lnTo>
                      <a:pt x="2692" y="602"/>
                    </a:lnTo>
                    <a:lnTo>
                      <a:pt x="2686" y="592"/>
                    </a:lnTo>
                    <a:lnTo>
                      <a:pt x="2679" y="578"/>
                    </a:lnTo>
                    <a:lnTo>
                      <a:pt x="2675" y="572"/>
                    </a:lnTo>
                    <a:lnTo>
                      <a:pt x="2671" y="565"/>
                    </a:lnTo>
                    <a:lnTo>
                      <a:pt x="2666" y="560"/>
                    </a:lnTo>
                    <a:lnTo>
                      <a:pt x="2662" y="555"/>
                    </a:lnTo>
                    <a:lnTo>
                      <a:pt x="2656" y="550"/>
                    </a:lnTo>
                    <a:lnTo>
                      <a:pt x="2649" y="547"/>
                    </a:lnTo>
                    <a:lnTo>
                      <a:pt x="2641" y="545"/>
                    </a:lnTo>
                    <a:lnTo>
                      <a:pt x="2633" y="543"/>
                    </a:lnTo>
                    <a:lnTo>
                      <a:pt x="2621" y="545"/>
                    </a:lnTo>
                    <a:lnTo>
                      <a:pt x="2610" y="546"/>
                    </a:lnTo>
                    <a:lnTo>
                      <a:pt x="2601" y="549"/>
                    </a:lnTo>
                    <a:lnTo>
                      <a:pt x="2590" y="554"/>
                    </a:lnTo>
                    <a:lnTo>
                      <a:pt x="2581" y="560"/>
                    </a:lnTo>
                    <a:lnTo>
                      <a:pt x="2573" y="565"/>
                    </a:lnTo>
                    <a:lnTo>
                      <a:pt x="2565" y="572"/>
                    </a:lnTo>
                    <a:lnTo>
                      <a:pt x="2557" y="580"/>
                    </a:lnTo>
                    <a:lnTo>
                      <a:pt x="2543" y="599"/>
                    </a:lnTo>
                    <a:lnTo>
                      <a:pt x="2531" y="618"/>
                    </a:lnTo>
                    <a:lnTo>
                      <a:pt x="2519" y="640"/>
                    </a:lnTo>
                    <a:lnTo>
                      <a:pt x="2508" y="662"/>
                    </a:lnTo>
                    <a:lnTo>
                      <a:pt x="2498" y="685"/>
                    </a:lnTo>
                    <a:lnTo>
                      <a:pt x="2487" y="705"/>
                    </a:lnTo>
                    <a:lnTo>
                      <a:pt x="2477" y="726"/>
                    </a:lnTo>
                    <a:lnTo>
                      <a:pt x="2465" y="743"/>
                    </a:lnTo>
                    <a:lnTo>
                      <a:pt x="2460" y="751"/>
                    </a:lnTo>
                    <a:lnTo>
                      <a:pt x="2453" y="759"/>
                    </a:lnTo>
                    <a:lnTo>
                      <a:pt x="2447" y="765"/>
                    </a:lnTo>
                    <a:lnTo>
                      <a:pt x="2440" y="771"/>
                    </a:lnTo>
                    <a:lnTo>
                      <a:pt x="2433" y="775"/>
                    </a:lnTo>
                    <a:lnTo>
                      <a:pt x="2425" y="777"/>
                    </a:lnTo>
                    <a:lnTo>
                      <a:pt x="2418" y="780"/>
                    </a:lnTo>
                    <a:lnTo>
                      <a:pt x="2410" y="781"/>
                    </a:lnTo>
                    <a:lnTo>
                      <a:pt x="2125" y="725"/>
                    </a:lnTo>
                    <a:lnTo>
                      <a:pt x="2115" y="717"/>
                    </a:lnTo>
                    <a:lnTo>
                      <a:pt x="2105" y="707"/>
                    </a:lnTo>
                    <a:lnTo>
                      <a:pt x="2097" y="699"/>
                    </a:lnTo>
                    <a:lnTo>
                      <a:pt x="2091" y="689"/>
                    </a:lnTo>
                    <a:lnTo>
                      <a:pt x="2077" y="671"/>
                    </a:lnTo>
                    <a:lnTo>
                      <a:pt x="2062" y="652"/>
                    </a:lnTo>
                    <a:lnTo>
                      <a:pt x="2054" y="644"/>
                    </a:lnTo>
                    <a:lnTo>
                      <a:pt x="2045" y="636"/>
                    </a:lnTo>
                    <a:lnTo>
                      <a:pt x="2034" y="628"/>
                    </a:lnTo>
                    <a:lnTo>
                      <a:pt x="2023" y="621"/>
                    </a:lnTo>
                    <a:lnTo>
                      <a:pt x="2009" y="616"/>
                    </a:lnTo>
                    <a:lnTo>
                      <a:pt x="1994" y="611"/>
                    </a:lnTo>
                    <a:lnTo>
                      <a:pt x="1977" y="609"/>
                    </a:lnTo>
                    <a:lnTo>
                      <a:pt x="1958" y="607"/>
                    </a:lnTo>
                    <a:lnTo>
                      <a:pt x="1945" y="605"/>
                    </a:lnTo>
                    <a:lnTo>
                      <a:pt x="1932" y="604"/>
                    </a:lnTo>
                    <a:lnTo>
                      <a:pt x="1921" y="602"/>
                    </a:lnTo>
                    <a:lnTo>
                      <a:pt x="1909" y="600"/>
                    </a:lnTo>
                    <a:lnTo>
                      <a:pt x="1888" y="593"/>
                    </a:lnTo>
                    <a:lnTo>
                      <a:pt x="1868" y="585"/>
                    </a:lnTo>
                    <a:lnTo>
                      <a:pt x="1847" y="576"/>
                    </a:lnTo>
                    <a:lnTo>
                      <a:pt x="1827" y="568"/>
                    </a:lnTo>
                    <a:lnTo>
                      <a:pt x="1817" y="564"/>
                    </a:lnTo>
                    <a:lnTo>
                      <a:pt x="1806" y="562"/>
                    </a:lnTo>
                    <a:lnTo>
                      <a:pt x="1795" y="560"/>
                    </a:lnTo>
                    <a:lnTo>
                      <a:pt x="1783" y="557"/>
                    </a:lnTo>
                    <a:lnTo>
                      <a:pt x="1773" y="557"/>
                    </a:lnTo>
                    <a:lnTo>
                      <a:pt x="1764" y="557"/>
                    </a:lnTo>
                    <a:lnTo>
                      <a:pt x="1755" y="558"/>
                    </a:lnTo>
                    <a:lnTo>
                      <a:pt x="1747" y="560"/>
                    </a:lnTo>
                    <a:lnTo>
                      <a:pt x="1732" y="564"/>
                    </a:lnTo>
                    <a:lnTo>
                      <a:pt x="1716" y="569"/>
                    </a:lnTo>
                    <a:lnTo>
                      <a:pt x="1709" y="571"/>
                    </a:lnTo>
                    <a:lnTo>
                      <a:pt x="1701" y="573"/>
                    </a:lnTo>
                    <a:lnTo>
                      <a:pt x="1693" y="574"/>
                    </a:lnTo>
                    <a:lnTo>
                      <a:pt x="1685" y="574"/>
                    </a:lnTo>
                    <a:lnTo>
                      <a:pt x="1676" y="573"/>
                    </a:lnTo>
                    <a:lnTo>
                      <a:pt x="1665" y="572"/>
                    </a:lnTo>
                    <a:lnTo>
                      <a:pt x="1655" y="569"/>
                    </a:lnTo>
                    <a:lnTo>
                      <a:pt x="1643" y="564"/>
                    </a:lnTo>
                    <a:lnTo>
                      <a:pt x="1635" y="561"/>
                    </a:lnTo>
                    <a:lnTo>
                      <a:pt x="1628" y="555"/>
                    </a:lnTo>
                    <a:lnTo>
                      <a:pt x="1623" y="549"/>
                    </a:lnTo>
                    <a:lnTo>
                      <a:pt x="1617" y="543"/>
                    </a:lnTo>
                    <a:lnTo>
                      <a:pt x="1609" y="530"/>
                    </a:lnTo>
                    <a:lnTo>
                      <a:pt x="1601" y="515"/>
                    </a:lnTo>
                    <a:lnTo>
                      <a:pt x="1594" y="500"/>
                    </a:lnTo>
                    <a:lnTo>
                      <a:pt x="1584" y="485"/>
                    </a:lnTo>
                    <a:lnTo>
                      <a:pt x="1578" y="478"/>
                    </a:lnTo>
                    <a:lnTo>
                      <a:pt x="1571" y="471"/>
                    </a:lnTo>
                    <a:lnTo>
                      <a:pt x="1563" y="465"/>
                    </a:lnTo>
                    <a:lnTo>
                      <a:pt x="1554" y="460"/>
                    </a:lnTo>
                    <a:lnTo>
                      <a:pt x="1543" y="454"/>
                    </a:lnTo>
                    <a:lnTo>
                      <a:pt x="1532" y="449"/>
                    </a:lnTo>
                    <a:lnTo>
                      <a:pt x="1521" y="446"/>
                    </a:lnTo>
                    <a:lnTo>
                      <a:pt x="1509" y="444"/>
                    </a:lnTo>
                    <a:lnTo>
                      <a:pt x="1486" y="441"/>
                    </a:lnTo>
                    <a:lnTo>
                      <a:pt x="1463" y="440"/>
                    </a:lnTo>
                    <a:lnTo>
                      <a:pt x="1439" y="439"/>
                    </a:lnTo>
                    <a:lnTo>
                      <a:pt x="1416" y="438"/>
                    </a:lnTo>
                    <a:lnTo>
                      <a:pt x="1405" y="436"/>
                    </a:lnTo>
                    <a:lnTo>
                      <a:pt x="1393" y="433"/>
                    </a:lnTo>
                    <a:lnTo>
                      <a:pt x="1383" y="430"/>
                    </a:lnTo>
                    <a:lnTo>
                      <a:pt x="1373" y="425"/>
                    </a:lnTo>
                    <a:lnTo>
                      <a:pt x="1365" y="422"/>
                    </a:lnTo>
                    <a:lnTo>
                      <a:pt x="1358" y="418"/>
                    </a:lnTo>
                    <a:lnTo>
                      <a:pt x="1351" y="414"/>
                    </a:lnTo>
                    <a:lnTo>
                      <a:pt x="1345" y="408"/>
                    </a:lnTo>
                    <a:lnTo>
                      <a:pt x="1334" y="397"/>
                    </a:lnTo>
                    <a:lnTo>
                      <a:pt x="1324" y="385"/>
                    </a:lnTo>
                    <a:lnTo>
                      <a:pt x="1313" y="374"/>
                    </a:lnTo>
                    <a:lnTo>
                      <a:pt x="1302" y="365"/>
                    </a:lnTo>
                    <a:lnTo>
                      <a:pt x="1296" y="361"/>
                    </a:lnTo>
                    <a:lnTo>
                      <a:pt x="1289" y="358"/>
                    </a:lnTo>
                    <a:lnTo>
                      <a:pt x="1282" y="357"/>
                    </a:lnTo>
                    <a:lnTo>
                      <a:pt x="1275" y="355"/>
                    </a:lnTo>
                    <a:lnTo>
                      <a:pt x="1271" y="355"/>
                    </a:lnTo>
                    <a:lnTo>
                      <a:pt x="1266" y="355"/>
                    </a:lnTo>
                    <a:lnTo>
                      <a:pt x="1258" y="355"/>
                    </a:lnTo>
                    <a:lnTo>
                      <a:pt x="1249" y="355"/>
                    </a:lnTo>
                    <a:lnTo>
                      <a:pt x="1238" y="355"/>
                    </a:lnTo>
                    <a:lnTo>
                      <a:pt x="1224" y="355"/>
                    </a:lnTo>
                    <a:lnTo>
                      <a:pt x="1209" y="355"/>
                    </a:lnTo>
                    <a:lnTo>
                      <a:pt x="1192" y="355"/>
                    </a:lnTo>
                    <a:lnTo>
                      <a:pt x="1181" y="355"/>
                    </a:lnTo>
                    <a:lnTo>
                      <a:pt x="1172" y="353"/>
                    </a:lnTo>
                    <a:lnTo>
                      <a:pt x="1164" y="351"/>
                    </a:lnTo>
                    <a:lnTo>
                      <a:pt x="1156" y="347"/>
                    </a:lnTo>
                    <a:lnTo>
                      <a:pt x="1144" y="338"/>
                    </a:lnTo>
                    <a:lnTo>
                      <a:pt x="1131" y="328"/>
                    </a:lnTo>
                    <a:lnTo>
                      <a:pt x="1121" y="318"/>
                    </a:lnTo>
                    <a:lnTo>
                      <a:pt x="1110" y="308"/>
                    </a:lnTo>
                    <a:lnTo>
                      <a:pt x="1105" y="305"/>
                    </a:lnTo>
                    <a:lnTo>
                      <a:pt x="1099" y="303"/>
                    </a:lnTo>
                    <a:lnTo>
                      <a:pt x="1093" y="300"/>
                    </a:lnTo>
                    <a:lnTo>
                      <a:pt x="1087" y="300"/>
                    </a:lnTo>
                    <a:lnTo>
                      <a:pt x="1075" y="299"/>
                    </a:lnTo>
                    <a:lnTo>
                      <a:pt x="1064" y="301"/>
                    </a:lnTo>
                    <a:lnTo>
                      <a:pt x="1055" y="305"/>
                    </a:lnTo>
                    <a:lnTo>
                      <a:pt x="1047" y="311"/>
                    </a:lnTo>
                    <a:lnTo>
                      <a:pt x="1041" y="318"/>
                    </a:lnTo>
                    <a:lnTo>
                      <a:pt x="1036" y="326"/>
                    </a:lnTo>
                    <a:lnTo>
                      <a:pt x="1031" y="335"/>
                    </a:lnTo>
                    <a:lnTo>
                      <a:pt x="1028" y="345"/>
                    </a:lnTo>
                    <a:lnTo>
                      <a:pt x="1022" y="367"/>
                    </a:lnTo>
                    <a:lnTo>
                      <a:pt x="1019" y="390"/>
                    </a:lnTo>
                    <a:lnTo>
                      <a:pt x="1015" y="413"/>
                    </a:lnTo>
                    <a:lnTo>
                      <a:pt x="1011" y="432"/>
                    </a:lnTo>
                    <a:lnTo>
                      <a:pt x="1005" y="438"/>
                    </a:lnTo>
                    <a:lnTo>
                      <a:pt x="990" y="452"/>
                    </a:lnTo>
                    <a:lnTo>
                      <a:pt x="969" y="472"/>
                    </a:lnTo>
                    <a:lnTo>
                      <a:pt x="944" y="496"/>
                    </a:lnTo>
                    <a:lnTo>
                      <a:pt x="918" y="522"/>
                    </a:lnTo>
                    <a:lnTo>
                      <a:pt x="892" y="543"/>
                    </a:lnTo>
                    <a:lnTo>
                      <a:pt x="872" y="562"/>
                    </a:lnTo>
                    <a:lnTo>
                      <a:pt x="857" y="571"/>
                    </a:lnTo>
                    <a:lnTo>
                      <a:pt x="845" y="574"/>
                    </a:lnTo>
                    <a:lnTo>
                      <a:pt x="833" y="578"/>
                    </a:lnTo>
                    <a:lnTo>
                      <a:pt x="820" y="582"/>
                    </a:lnTo>
                    <a:lnTo>
                      <a:pt x="808" y="586"/>
                    </a:lnTo>
                    <a:lnTo>
                      <a:pt x="796" y="590"/>
                    </a:lnTo>
                    <a:lnTo>
                      <a:pt x="786" y="596"/>
                    </a:lnTo>
                    <a:lnTo>
                      <a:pt x="778" y="601"/>
                    </a:lnTo>
                    <a:lnTo>
                      <a:pt x="773" y="607"/>
                    </a:lnTo>
                    <a:lnTo>
                      <a:pt x="771" y="616"/>
                    </a:lnTo>
                    <a:lnTo>
                      <a:pt x="769" y="625"/>
                    </a:lnTo>
                    <a:lnTo>
                      <a:pt x="767" y="634"/>
                    </a:lnTo>
                    <a:lnTo>
                      <a:pt x="766" y="643"/>
                    </a:lnTo>
                    <a:lnTo>
                      <a:pt x="767" y="660"/>
                    </a:lnTo>
                    <a:lnTo>
                      <a:pt x="766" y="677"/>
                    </a:lnTo>
                    <a:lnTo>
                      <a:pt x="765" y="685"/>
                    </a:lnTo>
                    <a:lnTo>
                      <a:pt x="764" y="690"/>
                    </a:lnTo>
                    <a:lnTo>
                      <a:pt x="761" y="696"/>
                    </a:lnTo>
                    <a:lnTo>
                      <a:pt x="756" y="702"/>
                    </a:lnTo>
                    <a:lnTo>
                      <a:pt x="749" y="705"/>
                    </a:lnTo>
                    <a:lnTo>
                      <a:pt x="741" y="709"/>
                    </a:lnTo>
                    <a:lnTo>
                      <a:pt x="731" y="710"/>
                    </a:lnTo>
                    <a:lnTo>
                      <a:pt x="718" y="711"/>
                    </a:lnTo>
                    <a:lnTo>
                      <a:pt x="703" y="710"/>
                    </a:lnTo>
                    <a:lnTo>
                      <a:pt x="689" y="706"/>
                    </a:lnTo>
                    <a:lnTo>
                      <a:pt x="677" y="702"/>
                    </a:lnTo>
                    <a:lnTo>
                      <a:pt x="664" y="697"/>
                    </a:lnTo>
                    <a:lnTo>
                      <a:pt x="651" y="691"/>
                    </a:lnTo>
                    <a:lnTo>
                      <a:pt x="636" y="687"/>
                    </a:lnTo>
                    <a:lnTo>
                      <a:pt x="618" y="685"/>
                    </a:lnTo>
                    <a:lnTo>
                      <a:pt x="600" y="683"/>
                    </a:lnTo>
                    <a:lnTo>
                      <a:pt x="590" y="683"/>
                    </a:lnTo>
                    <a:lnTo>
                      <a:pt x="576" y="687"/>
                    </a:lnTo>
                    <a:lnTo>
                      <a:pt x="558" y="690"/>
                    </a:lnTo>
                    <a:lnTo>
                      <a:pt x="538" y="696"/>
                    </a:lnTo>
                    <a:lnTo>
                      <a:pt x="490" y="710"/>
                    </a:lnTo>
                    <a:lnTo>
                      <a:pt x="438" y="727"/>
                    </a:lnTo>
                    <a:lnTo>
                      <a:pt x="412" y="737"/>
                    </a:lnTo>
                    <a:lnTo>
                      <a:pt x="386" y="748"/>
                    </a:lnTo>
                    <a:lnTo>
                      <a:pt x="362" y="758"/>
                    </a:lnTo>
                    <a:lnTo>
                      <a:pt x="339" y="768"/>
                    </a:lnTo>
                    <a:lnTo>
                      <a:pt x="317" y="779"/>
                    </a:lnTo>
                    <a:lnTo>
                      <a:pt x="299" y="789"/>
                    </a:lnTo>
                    <a:lnTo>
                      <a:pt x="284" y="799"/>
                    </a:lnTo>
                    <a:lnTo>
                      <a:pt x="272" y="808"/>
                    </a:lnTo>
                    <a:lnTo>
                      <a:pt x="268" y="816"/>
                    </a:lnTo>
                    <a:lnTo>
                      <a:pt x="263" y="829"/>
                    </a:lnTo>
                    <a:lnTo>
                      <a:pt x="257" y="844"/>
                    </a:lnTo>
                    <a:lnTo>
                      <a:pt x="253" y="861"/>
                    </a:lnTo>
                    <a:lnTo>
                      <a:pt x="246" y="880"/>
                    </a:lnTo>
                    <a:lnTo>
                      <a:pt x="238" y="896"/>
                    </a:lnTo>
                    <a:lnTo>
                      <a:pt x="233" y="902"/>
                    </a:lnTo>
                    <a:lnTo>
                      <a:pt x="229" y="909"/>
                    </a:lnTo>
                    <a:lnTo>
                      <a:pt x="223" y="915"/>
                    </a:lnTo>
                    <a:lnTo>
                      <a:pt x="217" y="920"/>
                    </a:lnTo>
                    <a:lnTo>
                      <a:pt x="207" y="925"/>
                    </a:lnTo>
                    <a:lnTo>
                      <a:pt x="198" y="931"/>
                    </a:lnTo>
                    <a:lnTo>
                      <a:pt x="187" y="936"/>
                    </a:lnTo>
                    <a:lnTo>
                      <a:pt x="178" y="940"/>
                    </a:lnTo>
                    <a:lnTo>
                      <a:pt x="157" y="948"/>
                    </a:lnTo>
                    <a:lnTo>
                      <a:pt x="137" y="955"/>
                    </a:lnTo>
                    <a:lnTo>
                      <a:pt x="115" y="963"/>
                    </a:lnTo>
                    <a:lnTo>
                      <a:pt x="96" y="971"/>
                    </a:lnTo>
                    <a:lnTo>
                      <a:pt x="85" y="977"/>
                    </a:lnTo>
                    <a:lnTo>
                      <a:pt x="75" y="983"/>
                    </a:lnTo>
                    <a:lnTo>
                      <a:pt x="66" y="988"/>
                    </a:lnTo>
                    <a:lnTo>
                      <a:pt x="57" y="996"/>
                    </a:lnTo>
                    <a:lnTo>
                      <a:pt x="0" y="983"/>
                    </a:lnTo>
                    <a:lnTo>
                      <a:pt x="13" y="1000"/>
                    </a:lnTo>
                    <a:lnTo>
                      <a:pt x="26" y="1017"/>
                    </a:lnTo>
                    <a:lnTo>
                      <a:pt x="39" y="1032"/>
                    </a:lnTo>
                    <a:lnTo>
                      <a:pt x="53" y="1046"/>
                    </a:lnTo>
                    <a:lnTo>
                      <a:pt x="60" y="1052"/>
                    </a:lnTo>
                    <a:lnTo>
                      <a:pt x="68" y="1057"/>
                    </a:lnTo>
                    <a:lnTo>
                      <a:pt x="76" y="1062"/>
                    </a:lnTo>
                    <a:lnTo>
                      <a:pt x="85" y="1065"/>
                    </a:lnTo>
                    <a:lnTo>
                      <a:pt x="94" y="1069"/>
                    </a:lnTo>
                    <a:lnTo>
                      <a:pt x="104" y="1071"/>
                    </a:lnTo>
                    <a:lnTo>
                      <a:pt x="115" y="1072"/>
                    </a:lnTo>
                    <a:lnTo>
                      <a:pt x="127" y="1073"/>
                    </a:lnTo>
                    <a:lnTo>
                      <a:pt x="133" y="1072"/>
                    </a:lnTo>
                    <a:lnTo>
                      <a:pt x="140" y="1072"/>
                    </a:lnTo>
                    <a:lnTo>
                      <a:pt x="146" y="1070"/>
                    </a:lnTo>
                    <a:lnTo>
                      <a:pt x="152" y="1069"/>
                    </a:lnTo>
                    <a:lnTo>
                      <a:pt x="161" y="1063"/>
                    </a:lnTo>
                    <a:lnTo>
                      <a:pt x="169" y="1056"/>
                    </a:lnTo>
                    <a:lnTo>
                      <a:pt x="176" y="1049"/>
                    </a:lnTo>
                    <a:lnTo>
                      <a:pt x="182" y="1040"/>
                    </a:lnTo>
                    <a:lnTo>
                      <a:pt x="188" y="1032"/>
                    </a:lnTo>
                    <a:lnTo>
                      <a:pt x="195" y="1024"/>
                    </a:lnTo>
                    <a:lnTo>
                      <a:pt x="307" y="1024"/>
                    </a:lnTo>
                    <a:lnTo>
                      <a:pt x="308" y="1031"/>
                    </a:lnTo>
                    <a:lnTo>
                      <a:pt x="309" y="1038"/>
                    </a:lnTo>
                    <a:lnTo>
                      <a:pt x="311" y="1044"/>
                    </a:lnTo>
                    <a:lnTo>
                      <a:pt x="313" y="1049"/>
                    </a:lnTo>
                    <a:lnTo>
                      <a:pt x="319" y="1060"/>
                    </a:lnTo>
                    <a:lnTo>
                      <a:pt x="327" y="1068"/>
                    </a:lnTo>
                    <a:lnTo>
                      <a:pt x="335" y="1074"/>
                    </a:lnTo>
                    <a:lnTo>
                      <a:pt x="346" y="1081"/>
                    </a:lnTo>
                    <a:lnTo>
                      <a:pt x="356" y="1086"/>
                    </a:lnTo>
                    <a:lnTo>
                      <a:pt x="366" y="1091"/>
                    </a:lnTo>
                    <a:lnTo>
                      <a:pt x="389" y="1097"/>
                    </a:lnTo>
                    <a:lnTo>
                      <a:pt x="411" y="1102"/>
                    </a:lnTo>
                    <a:lnTo>
                      <a:pt x="421" y="1105"/>
                    </a:lnTo>
                    <a:lnTo>
                      <a:pt x="430" y="1108"/>
                    </a:lnTo>
                    <a:lnTo>
                      <a:pt x="440" y="1111"/>
                    </a:lnTo>
                    <a:lnTo>
                      <a:pt x="446" y="1115"/>
                    </a:lnTo>
                    <a:lnTo>
                      <a:pt x="454" y="1118"/>
                    </a:lnTo>
                    <a:lnTo>
                      <a:pt x="461" y="1121"/>
                    </a:lnTo>
                    <a:lnTo>
                      <a:pt x="468" y="1126"/>
                    </a:lnTo>
                    <a:lnTo>
                      <a:pt x="475" y="1131"/>
                    </a:lnTo>
                    <a:lnTo>
                      <a:pt x="489" y="1141"/>
                    </a:lnTo>
                    <a:lnTo>
                      <a:pt x="503" y="1151"/>
                    </a:lnTo>
                    <a:lnTo>
                      <a:pt x="515" y="1162"/>
                    </a:lnTo>
                    <a:lnTo>
                      <a:pt x="529" y="1170"/>
                    </a:lnTo>
                    <a:lnTo>
                      <a:pt x="536" y="1173"/>
                    </a:lnTo>
                    <a:lnTo>
                      <a:pt x="543" y="1175"/>
                    </a:lnTo>
                    <a:lnTo>
                      <a:pt x="550" y="1177"/>
                    </a:lnTo>
                    <a:lnTo>
                      <a:pt x="558" y="1178"/>
                    </a:lnTo>
                    <a:lnTo>
                      <a:pt x="558" y="1187"/>
                    </a:lnTo>
                    <a:lnTo>
                      <a:pt x="559" y="1195"/>
                    </a:lnTo>
                    <a:lnTo>
                      <a:pt x="560" y="1203"/>
                    </a:lnTo>
                    <a:lnTo>
                      <a:pt x="562" y="1210"/>
                    </a:lnTo>
                    <a:lnTo>
                      <a:pt x="565" y="1217"/>
                    </a:lnTo>
                    <a:lnTo>
                      <a:pt x="568" y="1224"/>
                    </a:lnTo>
                    <a:lnTo>
                      <a:pt x="571" y="1229"/>
                    </a:lnTo>
                    <a:lnTo>
                      <a:pt x="575" y="1234"/>
                    </a:lnTo>
                    <a:lnTo>
                      <a:pt x="579" y="1238"/>
                    </a:lnTo>
                    <a:lnTo>
                      <a:pt x="584" y="1243"/>
                    </a:lnTo>
                    <a:lnTo>
                      <a:pt x="589" y="1247"/>
                    </a:lnTo>
                    <a:lnTo>
                      <a:pt x="593" y="1249"/>
                    </a:lnTo>
                    <a:lnTo>
                      <a:pt x="598" y="1251"/>
                    </a:lnTo>
                    <a:lnTo>
                      <a:pt x="603" y="1252"/>
                    </a:lnTo>
                    <a:lnTo>
                      <a:pt x="608" y="1253"/>
                    </a:lnTo>
                    <a:lnTo>
                      <a:pt x="614" y="1255"/>
                    </a:lnTo>
                    <a:lnTo>
                      <a:pt x="626" y="1253"/>
                    </a:lnTo>
                    <a:lnTo>
                      <a:pt x="638" y="1251"/>
                    </a:lnTo>
                    <a:lnTo>
                      <a:pt x="651" y="1249"/>
                    </a:lnTo>
                    <a:lnTo>
                      <a:pt x="661" y="1247"/>
                    </a:lnTo>
                    <a:lnTo>
                      <a:pt x="672" y="1245"/>
                    </a:lnTo>
                    <a:lnTo>
                      <a:pt x="683" y="1245"/>
                    </a:lnTo>
                    <a:lnTo>
                      <a:pt x="688" y="1247"/>
                    </a:lnTo>
                    <a:lnTo>
                      <a:pt x="694" y="1248"/>
                    </a:lnTo>
                    <a:lnTo>
                      <a:pt x="699" y="1251"/>
                    </a:lnTo>
                    <a:lnTo>
                      <a:pt x="704" y="1255"/>
                    </a:lnTo>
                    <a:lnTo>
                      <a:pt x="708" y="1255"/>
                    </a:lnTo>
                    <a:lnTo>
                      <a:pt x="712" y="1257"/>
                    </a:lnTo>
                    <a:lnTo>
                      <a:pt x="717" y="1259"/>
                    </a:lnTo>
                    <a:lnTo>
                      <a:pt x="720" y="1263"/>
                    </a:lnTo>
                    <a:lnTo>
                      <a:pt x="731" y="1272"/>
                    </a:lnTo>
                    <a:lnTo>
                      <a:pt x="741" y="1283"/>
                    </a:lnTo>
                    <a:lnTo>
                      <a:pt x="751" y="1294"/>
                    </a:lnTo>
                    <a:lnTo>
                      <a:pt x="763" y="1304"/>
                    </a:lnTo>
                    <a:lnTo>
                      <a:pt x="769" y="1308"/>
                    </a:lnTo>
                    <a:lnTo>
                      <a:pt x="774" y="1312"/>
                    </a:lnTo>
                    <a:lnTo>
                      <a:pt x="781" y="1315"/>
                    </a:lnTo>
                    <a:lnTo>
                      <a:pt x="788" y="1316"/>
                    </a:lnTo>
                    <a:lnTo>
                      <a:pt x="786" y="1333"/>
                    </a:lnTo>
                    <a:lnTo>
                      <a:pt x="784" y="1345"/>
                    </a:lnTo>
                    <a:lnTo>
                      <a:pt x="782" y="1354"/>
                    </a:lnTo>
                    <a:lnTo>
                      <a:pt x="781" y="1361"/>
                    </a:lnTo>
                    <a:lnTo>
                      <a:pt x="781" y="1366"/>
                    </a:lnTo>
                    <a:lnTo>
                      <a:pt x="781" y="1370"/>
                    </a:lnTo>
                    <a:lnTo>
                      <a:pt x="780" y="1375"/>
                    </a:lnTo>
                    <a:lnTo>
                      <a:pt x="780" y="1380"/>
                    </a:lnTo>
                    <a:lnTo>
                      <a:pt x="781" y="1389"/>
                    </a:lnTo>
                    <a:lnTo>
                      <a:pt x="784" y="1397"/>
                    </a:lnTo>
                    <a:lnTo>
                      <a:pt x="787" y="1404"/>
                    </a:lnTo>
                    <a:lnTo>
                      <a:pt x="793" y="1411"/>
                    </a:lnTo>
                    <a:lnTo>
                      <a:pt x="798" y="1417"/>
                    </a:lnTo>
                    <a:lnTo>
                      <a:pt x="806" y="1423"/>
                    </a:lnTo>
                    <a:lnTo>
                      <a:pt x="814" y="1429"/>
                    </a:lnTo>
                    <a:lnTo>
                      <a:pt x="824" y="1433"/>
                    </a:lnTo>
                    <a:lnTo>
                      <a:pt x="845" y="1443"/>
                    </a:lnTo>
                    <a:lnTo>
                      <a:pt x="868" y="1452"/>
                    </a:lnTo>
                    <a:lnTo>
                      <a:pt x="894" y="1460"/>
                    </a:lnTo>
                    <a:lnTo>
                      <a:pt x="920" y="1468"/>
                    </a:lnTo>
                    <a:lnTo>
                      <a:pt x="946" y="1476"/>
                    </a:lnTo>
                    <a:lnTo>
                      <a:pt x="970" y="1485"/>
                    </a:lnTo>
                    <a:lnTo>
                      <a:pt x="983" y="1490"/>
                    </a:lnTo>
                    <a:lnTo>
                      <a:pt x="994" y="1495"/>
                    </a:lnTo>
                    <a:lnTo>
                      <a:pt x="1005" y="1501"/>
                    </a:lnTo>
                    <a:lnTo>
                      <a:pt x="1015" y="1508"/>
                    </a:lnTo>
                    <a:lnTo>
                      <a:pt x="1025" y="1515"/>
                    </a:lnTo>
                    <a:lnTo>
                      <a:pt x="1033" y="1522"/>
                    </a:lnTo>
                    <a:lnTo>
                      <a:pt x="1040" y="1530"/>
                    </a:lnTo>
                    <a:lnTo>
                      <a:pt x="1047" y="1539"/>
                    </a:lnTo>
                    <a:lnTo>
                      <a:pt x="1052" y="1548"/>
                    </a:lnTo>
                    <a:lnTo>
                      <a:pt x="1056" y="1558"/>
                    </a:lnTo>
                    <a:lnTo>
                      <a:pt x="1059" y="1570"/>
                    </a:lnTo>
                    <a:lnTo>
                      <a:pt x="1059" y="1581"/>
                    </a:lnTo>
                    <a:lnTo>
                      <a:pt x="1060" y="1592"/>
                    </a:lnTo>
                    <a:lnTo>
                      <a:pt x="1062" y="1601"/>
                    </a:lnTo>
                    <a:lnTo>
                      <a:pt x="1066" y="1609"/>
                    </a:lnTo>
                    <a:lnTo>
                      <a:pt x="1069" y="1617"/>
                    </a:lnTo>
                    <a:lnTo>
                      <a:pt x="1075" y="1625"/>
                    </a:lnTo>
                    <a:lnTo>
                      <a:pt x="1082" y="1631"/>
                    </a:lnTo>
                    <a:lnTo>
                      <a:pt x="1088" y="1638"/>
                    </a:lnTo>
                    <a:lnTo>
                      <a:pt x="1098" y="1643"/>
                    </a:lnTo>
                    <a:lnTo>
                      <a:pt x="1116" y="1654"/>
                    </a:lnTo>
                    <a:lnTo>
                      <a:pt x="1137" y="1663"/>
                    </a:lnTo>
                    <a:lnTo>
                      <a:pt x="1158" y="1671"/>
                    </a:lnTo>
                    <a:lnTo>
                      <a:pt x="1181" y="1678"/>
                    </a:lnTo>
                    <a:lnTo>
                      <a:pt x="1203" y="1686"/>
                    </a:lnTo>
                    <a:lnTo>
                      <a:pt x="1226" y="1694"/>
                    </a:lnTo>
                    <a:lnTo>
                      <a:pt x="1247" y="1702"/>
                    </a:lnTo>
                    <a:lnTo>
                      <a:pt x="1265" y="1712"/>
                    </a:lnTo>
                    <a:lnTo>
                      <a:pt x="1273" y="1717"/>
                    </a:lnTo>
                    <a:lnTo>
                      <a:pt x="1280" y="1722"/>
                    </a:lnTo>
                    <a:lnTo>
                      <a:pt x="1287" y="1729"/>
                    </a:lnTo>
                    <a:lnTo>
                      <a:pt x="1293" y="1736"/>
                    </a:lnTo>
                    <a:lnTo>
                      <a:pt x="1297" y="1743"/>
                    </a:lnTo>
                    <a:lnTo>
                      <a:pt x="1301" y="1751"/>
                    </a:lnTo>
                    <a:lnTo>
                      <a:pt x="1302" y="1760"/>
                    </a:lnTo>
                    <a:lnTo>
                      <a:pt x="1303" y="1769"/>
                    </a:lnTo>
                    <a:lnTo>
                      <a:pt x="1303" y="1772"/>
                    </a:lnTo>
                    <a:lnTo>
                      <a:pt x="1303" y="1776"/>
                    </a:lnTo>
                    <a:lnTo>
                      <a:pt x="1303" y="1780"/>
                    </a:lnTo>
                    <a:lnTo>
                      <a:pt x="1303" y="1784"/>
                    </a:lnTo>
                    <a:lnTo>
                      <a:pt x="1303" y="1789"/>
                    </a:lnTo>
                    <a:lnTo>
                      <a:pt x="1303" y="1794"/>
                    </a:lnTo>
                    <a:lnTo>
                      <a:pt x="1303" y="1799"/>
                    </a:lnTo>
                    <a:lnTo>
                      <a:pt x="1303" y="1804"/>
                    </a:lnTo>
                    <a:lnTo>
                      <a:pt x="1303" y="1813"/>
                    </a:lnTo>
                    <a:lnTo>
                      <a:pt x="1304" y="1821"/>
                    </a:lnTo>
                    <a:lnTo>
                      <a:pt x="1306" y="1829"/>
                    </a:lnTo>
                    <a:lnTo>
                      <a:pt x="1310" y="1836"/>
                    </a:lnTo>
                    <a:lnTo>
                      <a:pt x="1313" y="1844"/>
                    </a:lnTo>
                    <a:lnTo>
                      <a:pt x="1317" y="1851"/>
                    </a:lnTo>
                    <a:lnTo>
                      <a:pt x="1322" y="1859"/>
                    </a:lnTo>
                    <a:lnTo>
                      <a:pt x="1327" y="1866"/>
                    </a:lnTo>
                    <a:lnTo>
                      <a:pt x="1340" y="1880"/>
                    </a:lnTo>
                    <a:lnTo>
                      <a:pt x="1353" y="1892"/>
                    </a:lnTo>
                    <a:lnTo>
                      <a:pt x="1368" y="1906"/>
                    </a:lnTo>
                    <a:lnTo>
                      <a:pt x="1384" y="1919"/>
                    </a:lnTo>
                    <a:lnTo>
                      <a:pt x="1416" y="1944"/>
                    </a:lnTo>
                    <a:lnTo>
                      <a:pt x="1446" y="1970"/>
                    </a:lnTo>
                    <a:lnTo>
                      <a:pt x="1460" y="1983"/>
                    </a:lnTo>
                    <a:lnTo>
                      <a:pt x="1473" y="1998"/>
                    </a:lnTo>
                    <a:lnTo>
                      <a:pt x="1478" y="2005"/>
                    </a:lnTo>
                    <a:lnTo>
                      <a:pt x="1483" y="2011"/>
                    </a:lnTo>
                    <a:lnTo>
                      <a:pt x="1487" y="2020"/>
                    </a:lnTo>
                    <a:lnTo>
                      <a:pt x="1491" y="2028"/>
                    </a:lnTo>
                    <a:lnTo>
                      <a:pt x="1493" y="2038"/>
                    </a:lnTo>
                    <a:lnTo>
                      <a:pt x="1494" y="2047"/>
                    </a:lnTo>
                    <a:lnTo>
                      <a:pt x="1494" y="2056"/>
                    </a:lnTo>
                    <a:lnTo>
                      <a:pt x="1494" y="2065"/>
                    </a:lnTo>
                    <a:lnTo>
                      <a:pt x="1492" y="2083"/>
                    </a:lnTo>
                    <a:lnTo>
                      <a:pt x="1489" y="2100"/>
                    </a:lnTo>
                    <a:lnTo>
                      <a:pt x="1485" y="2116"/>
                    </a:lnTo>
                    <a:lnTo>
                      <a:pt x="1481" y="2132"/>
                    </a:lnTo>
                    <a:lnTo>
                      <a:pt x="1478" y="2149"/>
                    </a:lnTo>
                    <a:lnTo>
                      <a:pt x="1477" y="2166"/>
                    </a:lnTo>
                    <a:lnTo>
                      <a:pt x="1477" y="2185"/>
                    </a:lnTo>
                    <a:lnTo>
                      <a:pt x="1478" y="2201"/>
                    </a:lnTo>
                    <a:lnTo>
                      <a:pt x="1479" y="2216"/>
                    </a:lnTo>
                    <a:lnTo>
                      <a:pt x="1483" y="2229"/>
                    </a:lnTo>
                    <a:lnTo>
                      <a:pt x="1486" y="2242"/>
                    </a:lnTo>
                    <a:lnTo>
                      <a:pt x="1492" y="2252"/>
                    </a:lnTo>
                    <a:lnTo>
                      <a:pt x="1497" y="2263"/>
                    </a:lnTo>
                    <a:lnTo>
                      <a:pt x="1504" y="2272"/>
                    </a:lnTo>
                    <a:lnTo>
                      <a:pt x="1510" y="2280"/>
                    </a:lnTo>
                    <a:lnTo>
                      <a:pt x="1517" y="2287"/>
                    </a:lnTo>
                    <a:lnTo>
                      <a:pt x="1525" y="2292"/>
                    </a:lnTo>
                    <a:lnTo>
                      <a:pt x="1533" y="2298"/>
                    </a:lnTo>
                    <a:lnTo>
                      <a:pt x="1549" y="2309"/>
                    </a:lnTo>
                    <a:lnTo>
                      <a:pt x="1568" y="2317"/>
                    </a:lnTo>
                    <a:lnTo>
                      <a:pt x="1585" y="2325"/>
                    </a:lnTo>
                    <a:lnTo>
                      <a:pt x="1602" y="2334"/>
                    </a:lnTo>
                    <a:lnTo>
                      <a:pt x="1610" y="2337"/>
                    </a:lnTo>
                    <a:lnTo>
                      <a:pt x="1617" y="2343"/>
                    </a:lnTo>
                    <a:lnTo>
                      <a:pt x="1625" y="2348"/>
                    </a:lnTo>
                    <a:lnTo>
                      <a:pt x="1632" y="2353"/>
                    </a:lnTo>
                    <a:lnTo>
                      <a:pt x="1638" y="2360"/>
                    </a:lnTo>
                    <a:lnTo>
                      <a:pt x="1643" y="2367"/>
                    </a:lnTo>
                    <a:lnTo>
                      <a:pt x="1648" y="2375"/>
                    </a:lnTo>
                    <a:lnTo>
                      <a:pt x="1651" y="2384"/>
                    </a:lnTo>
                    <a:lnTo>
                      <a:pt x="1655" y="2395"/>
                    </a:lnTo>
                    <a:lnTo>
                      <a:pt x="1657" y="2405"/>
                    </a:lnTo>
                    <a:lnTo>
                      <a:pt x="1658" y="2417"/>
                    </a:lnTo>
                    <a:lnTo>
                      <a:pt x="1658" y="2431"/>
                    </a:lnTo>
                    <a:lnTo>
                      <a:pt x="1657" y="2444"/>
                    </a:lnTo>
                    <a:lnTo>
                      <a:pt x="1654" y="2454"/>
                    </a:lnTo>
                    <a:lnTo>
                      <a:pt x="1649" y="2464"/>
                    </a:lnTo>
                    <a:lnTo>
                      <a:pt x="1642" y="2474"/>
                    </a:lnTo>
                    <a:lnTo>
                      <a:pt x="1635" y="2482"/>
                    </a:lnTo>
                    <a:lnTo>
                      <a:pt x="1627" y="2490"/>
                    </a:lnTo>
                    <a:lnTo>
                      <a:pt x="1618" y="2498"/>
                    </a:lnTo>
                    <a:lnTo>
                      <a:pt x="1609" y="2505"/>
                    </a:lnTo>
                    <a:lnTo>
                      <a:pt x="1600" y="2513"/>
                    </a:lnTo>
                    <a:lnTo>
                      <a:pt x="1591" y="2521"/>
                    </a:lnTo>
                    <a:lnTo>
                      <a:pt x="1583" y="2529"/>
                    </a:lnTo>
                    <a:lnTo>
                      <a:pt x="1576" y="2538"/>
                    </a:lnTo>
                    <a:lnTo>
                      <a:pt x="1569" y="2548"/>
                    </a:lnTo>
                    <a:lnTo>
                      <a:pt x="1564" y="2559"/>
                    </a:lnTo>
                    <a:lnTo>
                      <a:pt x="1562" y="2571"/>
                    </a:lnTo>
                    <a:lnTo>
                      <a:pt x="1561" y="2584"/>
                    </a:lnTo>
                    <a:lnTo>
                      <a:pt x="1561" y="2593"/>
                    </a:lnTo>
                    <a:lnTo>
                      <a:pt x="1563" y="2602"/>
                    </a:lnTo>
                    <a:lnTo>
                      <a:pt x="1565" y="2611"/>
                    </a:lnTo>
                    <a:lnTo>
                      <a:pt x="1569" y="2619"/>
                    </a:lnTo>
                    <a:lnTo>
                      <a:pt x="1575" y="2627"/>
                    </a:lnTo>
                    <a:lnTo>
                      <a:pt x="1579" y="2635"/>
                    </a:lnTo>
                    <a:lnTo>
                      <a:pt x="1586" y="2643"/>
                    </a:lnTo>
                    <a:lnTo>
                      <a:pt x="1593" y="2651"/>
                    </a:lnTo>
                    <a:lnTo>
                      <a:pt x="1609" y="2667"/>
                    </a:lnTo>
                    <a:lnTo>
                      <a:pt x="1626" y="2682"/>
                    </a:lnTo>
                    <a:lnTo>
                      <a:pt x="1646" y="2696"/>
                    </a:lnTo>
                    <a:lnTo>
                      <a:pt x="1665" y="2711"/>
                    </a:lnTo>
                    <a:lnTo>
                      <a:pt x="1685" y="2725"/>
                    </a:lnTo>
                    <a:lnTo>
                      <a:pt x="1703" y="2739"/>
                    </a:lnTo>
                    <a:lnTo>
                      <a:pt x="1721" y="2752"/>
                    </a:lnTo>
                    <a:lnTo>
                      <a:pt x="1736" y="2765"/>
                    </a:lnTo>
                    <a:lnTo>
                      <a:pt x="1743" y="2772"/>
                    </a:lnTo>
                    <a:lnTo>
                      <a:pt x="1750" y="2779"/>
                    </a:lnTo>
                    <a:lnTo>
                      <a:pt x="1756" y="2786"/>
                    </a:lnTo>
                    <a:lnTo>
                      <a:pt x="1760" y="2792"/>
                    </a:lnTo>
                    <a:lnTo>
                      <a:pt x="1764" y="2799"/>
                    </a:lnTo>
                    <a:lnTo>
                      <a:pt x="1767" y="2807"/>
                    </a:lnTo>
                    <a:lnTo>
                      <a:pt x="1768" y="2814"/>
                    </a:lnTo>
                    <a:lnTo>
                      <a:pt x="1770" y="2821"/>
                    </a:lnTo>
                    <a:lnTo>
                      <a:pt x="1768" y="2829"/>
                    </a:lnTo>
                    <a:lnTo>
                      <a:pt x="1766" y="2837"/>
                    </a:lnTo>
                    <a:lnTo>
                      <a:pt x="1763" y="2843"/>
                    </a:lnTo>
                    <a:lnTo>
                      <a:pt x="1758" y="2848"/>
                    </a:lnTo>
                    <a:lnTo>
                      <a:pt x="1753" y="2852"/>
                    </a:lnTo>
                    <a:lnTo>
                      <a:pt x="1748" y="2856"/>
                    </a:lnTo>
                    <a:lnTo>
                      <a:pt x="1741" y="2859"/>
                    </a:lnTo>
                    <a:lnTo>
                      <a:pt x="1734" y="2862"/>
                    </a:lnTo>
                    <a:lnTo>
                      <a:pt x="1721" y="2868"/>
                    </a:lnTo>
                    <a:lnTo>
                      <a:pt x="1711" y="2875"/>
                    </a:lnTo>
                    <a:lnTo>
                      <a:pt x="1706" y="2880"/>
                    </a:lnTo>
                    <a:lnTo>
                      <a:pt x="1703" y="2884"/>
                    </a:lnTo>
                    <a:lnTo>
                      <a:pt x="1701" y="2890"/>
                    </a:lnTo>
                    <a:lnTo>
                      <a:pt x="1700" y="2898"/>
                    </a:lnTo>
                    <a:lnTo>
                      <a:pt x="1700" y="2906"/>
                    </a:lnTo>
                    <a:lnTo>
                      <a:pt x="1701" y="2914"/>
                    </a:lnTo>
                    <a:lnTo>
                      <a:pt x="1703" y="2922"/>
                    </a:lnTo>
                    <a:lnTo>
                      <a:pt x="1705" y="2928"/>
                    </a:lnTo>
                    <a:lnTo>
                      <a:pt x="1709" y="2934"/>
                    </a:lnTo>
                    <a:lnTo>
                      <a:pt x="1712" y="2939"/>
                    </a:lnTo>
                    <a:lnTo>
                      <a:pt x="1716" y="2944"/>
                    </a:lnTo>
                    <a:lnTo>
                      <a:pt x="1720" y="2948"/>
                    </a:lnTo>
                    <a:lnTo>
                      <a:pt x="1731" y="2955"/>
                    </a:lnTo>
                    <a:lnTo>
                      <a:pt x="1741" y="2960"/>
                    </a:lnTo>
                    <a:lnTo>
                      <a:pt x="1751" y="2965"/>
                    </a:lnTo>
                    <a:lnTo>
                      <a:pt x="1763" y="2967"/>
                    </a:lnTo>
                    <a:lnTo>
                      <a:pt x="1759" y="2990"/>
                    </a:lnTo>
                    <a:lnTo>
                      <a:pt x="1753" y="3009"/>
                    </a:lnTo>
                    <a:lnTo>
                      <a:pt x="1748" y="3028"/>
                    </a:lnTo>
                    <a:lnTo>
                      <a:pt x="1740" y="3044"/>
                    </a:lnTo>
                    <a:lnTo>
                      <a:pt x="1732" y="3059"/>
                    </a:lnTo>
                    <a:lnTo>
                      <a:pt x="1721" y="3071"/>
                    </a:lnTo>
                    <a:lnTo>
                      <a:pt x="1710" y="3084"/>
                    </a:lnTo>
                    <a:lnTo>
                      <a:pt x="1698" y="3094"/>
                    </a:lnTo>
                    <a:lnTo>
                      <a:pt x="1686" y="3104"/>
                    </a:lnTo>
                    <a:lnTo>
                      <a:pt x="1673" y="3114"/>
                    </a:lnTo>
                    <a:lnTo>
                      <a:pt x="1659" y="3123"/>
                    </a:lnTo>
                    <a:lnTo>
                      <a:pt x="1646" y="3132"/>
                    </a:lnTo>
                    <a:lnTo>
                      <a:pt x="1617" y="3150"/>
                    </a:lnTo>
                    <a:lnTo>
                      <a:pt x="1588" y="3170"/>
                    </a:lnTo>
                    <a:lnTo>
                      <a:pt x="1580" y="3176"/>
                    </a:lnTo>
                    <a:lnTo>
                      <a:pt x="1570" y="3180"/>
                    </a:lnTo>
                    <a:lnTo>
                      <a:pt x="1560" y="3184"/>
                    </a:lnTo>
                    <a:lnTo>
                      <a:pt x="1549" y="3187"/>
                    </a:lnTo>
                    <a:lnTo>
                      <a:pt x="1525" y="3193"/>
                    </a:lnTo>
                    <a:lnTo>
                      <a:pt x="1504" y="3198"/>
                    </a:lnTo>
                    <a:lnTo>
                      <a:pt x="1492" y="3201"/>
                    </a:lnTo>
                    <a:lnTo>
                      <a:pt x="1482" y="3205"/>
                    </a:lnTo>
                    <a:lnTo>
                      <a:pt x="1473" y="3210"/>
                    </a:lnTo>
                    <a:lnTo>
                      <a:pt x="1465" y="3216"/>
                    </a:lnTo>
                    <a:lnTo>
                      <a:pt x="1459" y="3223"/>
                    </a:lnTo>
                    <a:lnTo>
                      <a:pt x="1453" y="3231"/>
                    </a:lnTo>
                    <a:lnTo>
                      <a:pt x="1452" y="3235"/>
                    </a:lnTo>
                    <a:lnTo>
                      <a:pt x="1450" y="3241"/>
                    </a:lnTo>
                    <a:lnTo>
                      <a:pt x="1450" y="3247"/>
                    </a:lnTo>
                    <a:lnTo>
                      <a:pt x="1448" y="3252"/>
                    </a:lnTo>
                    <a:lnTo>
                      <a:pt x="1450" y="3265"/>
                    </a:lnTo>
                    <a:lnTo>
                      <a:pt x="1451" y="3278"/>
                    </a:lnTo>
                    <a:lnTo>
                      <a:pt x="1453" y="3290"/>
                    </a:lnTo>
                    <a:lnTo>
                      <a:pt x="1458" y="3303"/>
                    </a:lnTo>
                    <a:lnTo>
                      <a:pt x="1463" y="3314"/>
                    </a:lnTo>
                    <a:lnTo>
                      <a:pt x="1470" y="3327"/>
                    </a:lnTo>
                    <a:lnTo>
                      <a:pt x="1477" y="3338"/>
                    </a:lnTo>
                    <a:lnTo>
                      <a:pt x="1486" y="3350"/>
                    </a:lnTo>
                    <a:lnTo>
                      <a:pt x="1495" y="3361"/>
                    </a:lnTo>
                    <a:lnTo>
                      <a:pt x="1507" y="3373"/>
                    </a:lnTo>
                    <a:lnTo>
                      <a:pt x="1518" y="3384"/>
                    </a:lnTo>
                    <a:lnTo>
                      <a:pt x="1530" y="3395"/>
                    </a:lnTo>
                    <a:lnTo>
                      <a:pt x="1544" y="3405"/>
                    </a:lnTo>
                    <a:lnTo>
                      <a:pt x="1557" y="3415"/>
                    </a:lnTo>
                    <a:lnTo>
                      <a:pt x="1571" y="3426"/>
                    </a:lnTo>
                    <a:lnTo>
                      <a:pt x="1586" y="3435"/>
                    </a:lnTo>
                    <a:lnTo>
                      <a:pt x="1616" y="3453"/>
                    </a:lnTo>
                    <a:lnTo>
                      <a:pt x="1648" y="3469"/>
                    </a:lnTo>
                    <a:lnTo>
                      <a:pt x="1680" y="3483"/>
                    </a:lnTo>
                    <a:lnTo>
                      <a:pt x="1712" y="3494"/>
                    </a:lnTo>
                    <a:lnTo>
                      <a:pt x="1744" y="3505"/>
                    </a:lnTo>
                    <a:lnTo>
                      <a:pt x="1775" y="3512"/>
                    </a:lnTo>
                    <a:lnTo>
                      <a:pt x="1790" y="3514"/>
                    </a:lnTo>
                    <a:lnTo>
                      <a:pt x="1805" y="3516"/>
                    </a:lnTo>
                    <a:lnTo>
                      <a:pt x="1819" y="3517"/>
                    </a:lnTo>
                    <a:lnTo>
                      <a:pt x="1831" y="3517"/>
                    </a:lnTo>
                    <a:lnTo>
                      <a:pt x="1858" y="3518"/>
                    </a:lnTo>
                    <a:lnTo>
                      <a:pt x="1882" y="3518"/>
                    </a:lnTo>
                    <a:lnTo>
                      <a:pt x="1905" y="3517"/>
                    </a:lnTo>
                    <a:lnTo>
                      <a:pt x="1927" y="3516"/>
                    </a:lnTo>
                    <a:lnTo>
                      <a:pt x="1969" y="3513"/>
                    </a:lnTo>
                    <a:lnTo>
                      <a:pt x="2009" y="3507"/>
                    </a:lnTo>
                    <a:lnTo>
                      <a:pt x="2050" y="3502"/>
                    </a:lnTo>
                    <a:lnTo>
                      <a:pt x="2093" y="3498"/>
                    </a:lnTo>
                    <a:lnTo>
                      <a:pt x="2115" y="3497"/>
                    </a:lnTo>
                    <a:lnTo>
                      <a:pt x="2138" y="3496"/>
                    </a:lnTo>
                    <a:lnTo>
                      <a:pt x="2162" y="3496"/>
                    </a:lnTo>
                    <a:lnTo>
                      <a:pt x="2187" y="3497"/>
                    </a:lnTo>
                    <a:lnTo>
                      <a:pt x="2207" y="3497"/>
                    </a:lnTo>
                    <a:lnTo>
                      <a:pt x="2226" y="3497"/>
                    </a:lnTo>
                    <a:lnTo>
                      <a:pt x="2242" y="3497"/>
                    </a:lnTo>
                    <a:lnTo>
                      <a:pt x="2258" y="3497"/>
                    </a:lnTo>
                    <a:lnTo>
                      <a:pt x="2274" y="3497"/>
                    </a:lnTo>
                    <a:lnTo>
                      <a:pt x="2289" y="3497"/>
                    </a:lnTo>
                    <a:lnTo>
                      <a:pt x="2304" y="3497"/>
                    </a:lnTo>
                    <a:lnTo>
                      <a:pt x="2320" y="3497"/>
                    </a:lnTo>
                    <a:lnTo>
                      <a:pt x="2328" y="3497"/>
                    </a:lnTo>
                    <a:lnTo>
                      <a:pt x="2337" y="3499"/>
                    </a:lnTo>
                    <a:lnTo>
                      <a:pt x="2346" y="3501"/>
                    </a:lnTo>
                    <a:lnTo>
                      <a:pt x="2355" y="3504"/>
                    </a:lnTo>
                    <a:lnTo>
                      <a:pt x="2374" y="3513"/>
                    </a:lnTo>
                    <a:lnTo>
                      <a:pt x="2393" y="3524"/>
                    </a:lnTo>
                    <a:lnTo>
                      <a:pt x="2414" y="3537"/>
                    </a:lnTo>
                    <a:lnTo>
                      <a:pt x="2433" y="3553"/>
                    </a:lnTo>
                    <a:lnTo>
                      <a:pt x="2454" y="3570"/>
                    </a:lnTo>
                    <a:lnTo>
                      <a:pt x="2475" y="3588"/>
                    </a:lnTo>
                    <a:lnTo>
                      <a:pt x="2515" y="3626"/>
                    </a:lnTo>
                    <a:lnTo>
                      <a:pt x="2553" y="3664"/>
                    </a:lnTo>
                    <a:lnTo>
                      <a:pt x="2588" y="3699"/>
                    </a:lnTo>
                    <a:lnTo>
                      <a:pt x="2619" y="3726"/>
                    </a:lnTo>
                    <a:lnTo>
                      <a:pt x="2633" y="3735"/>
                    </a:lnTo>
                    <a:lnTo>
                      <a:pt x="2647" y="3741"/>
                    </a:lnTo>
                    <a:lnTo>
                      <a:pt x="2663" y="3746"/>
                    </a:lnTo>
                    <a:lnTo>
                      <a:pt x="2679" y="3750"/>
                    </a:lnTo>
                    <a:lnTo>
                      <a:pt x="2695" y="3752"/>
                    </a:lnTo>
                    <a:lnTo>
                      <a:pt x="2712" y="3754"/>
                    </a:lnTo>
                    <a:lnTo>
                      <a:pt x="2730" y="3755"/>
                    </a:lnTo>
                    <a:lnTo>
                      <a:pt x="2748" y="3755"/>
                    </a:lnTo>
                    <a:lnTo>
                      <a:pt x="2783" y="3756"/>
                    </a:lnTo>
                    <a:lnTo>
                      <a:pt x="2816" y="3757"/>
                    </a:lnTo>
                    <a:lnTo>
                      <a:pt x="2832" y="3758"/>
                    </a:lnTo>
                    <a:lnTo>
                      <a:pt x="2848" y="3760"/>
                    </a:lnTo>
                    <a:lnTo>
                      <a:pt x="2863" y="3764"/>
                    </a:lnTo>
                    <a:lnTo>
                      <a:pt x="2876" y="3768"/>
                    </a:lnTo>
                    <a:lnTo>
                      <a:pt x="2881" y="3779"/>
                    </a:lnTo>
                    <a:lnTo>
                      <a:pt x="2884" y="3788"/>
                    </a:lnTo>
                    <a:lnTo>
                      <a:pt x="2886" y="3797"/>
                    </a:lnTo>
                    <a:lnTo>
                      <a:pt x="2886" y="3806"/>
                    </a:lnTo>
                    <a:lnTo>
                      <a:pt x="2884" y="3816"/>
                    </a:lnTo>
                    <a:lnTo>
                      <a:pt x="2882" y="3825"/>
                    </a:lnTo>
                    <a:lnTo>
                      <a:pt x="2876" y="3835"/>
                    </a:lnTo>
                    <a:lnTo>
                      <a:pt x="2869" y="3845"/>
                    </a:lnTo>
                    <a:lnTo>
                      <a:pt x="2926" y="3844"/>
                    </a:lnTo>
                    <a:lnTo>
                      <a:pt x="2979" y="3844"/>
                    </a:lnTo>
                    <a:lnTo>
                      <a:pt x="3027" y="3844"/>
                    </a:lnTo>
                    <a:lnTo>
                      <a:pt x="3074" y="3844"/>
                    </a:lnTo>
                    <a:lnTo>
                      <a:pt x="3122" y="3845"/>
                    </a:lnTo>
                    <a:lnTo>
                      <a:pt x="3171" y="3848"/>
                    </a:lnTo>
                    <a:lnTo>
                      <a:pt x="3223" y="3852"/>
                    </a:lnTo>
                    <a:lnTo>
                      <a:pt x="3281" y="3859"/>
                    </a:lnTo>
                    <a:lnTo>
                      <a:pt x="3277" y="3875"/>
                    </a:lnTo>
                    <a:lnTo>
                      <a:pt x="3276" y="3890"/>
                    </a:lnTo>
                    <a:lnTo>
                      <a:pt x="3277" y="3903"/>
                    </a:lnTo>
                    <a:lnTo>
                      <a:pt x="3278" y="3915"/>
                    </a:lnTo>
                    <a:lnTo>
                      <a:pt x="3282" y="3927"/>
                    </a:lnTo>
                    <a:lnTo>
                      <a:pt x="3286" y="3936"/>
                    </a:lnTo>
                    <a:lnTo>
                      <a:pt x="3291" y="3946"/>
                    </a:lnTo>
                    <a:lnTo>
                      <a:pt x="3296" y="3954"/>
                    </a:lnTo>
                    <a:lnTo>
                      <a:pt x="3306" y="3970"/>
                    </a:lnTo>
                    <a:lnTo>
                      <a:pt x="3315" y="3986"/>
                    </a:lnTo>
                    <a:lnTo>
                      <a:pt x="3318" y="3994"/>
                    </a:lnTo>
                    <a:lnTo>
                      <a:pt x="3321" y="4002"/>
                    </a:lnTo>
                    <a:lnTo>
                      <a:pt x="3322" y="4010"/>
                    </a:lnTo>
                    <a:lnTo>
                      <a:pt x="3322" y="4019"/>
                    </a:lnTo>
                    <a:lnTo>
                      <a:pt x="3322" y="4033"/>
                    </a:lnTo>
                    <a:lnTo>
                      <a:pt x="3320" y="4047"/>
                    </a:lnTo>
                    <a:lnTo>
                      <a:pt x="3316" y="4060"/>
                    </a:lnTo>
                    <a:lnTo>
                      <a:pt x="3313" y="4072"/>
                    </a:lnTo>
                    <a:lnTo>
                      <a:pt x="3308" y="4084"/>
                    </a:lnTo>
                    <a:lnTo>
                      <a:pt x="3302" y="4096"/>
                    </a:lnTo>
                    <a:lnTo>
                      <a:pt x="3296" y="4107"/>
                    </a:lnTo>
                    <a:lnTo>
                      <a:pt x="3289" y="4118"/>
                    </a:lnTo>
                    <a:lnTo>
                      <a:pt x="3271" y="4139"/>
                    </a:lnTo>
                    <a:lnTo>
                      <a:pt x="3253" y="4158"/>
                    </a:lnTo>
                    <a:lnTo>
                      <a:pt x="3234" y="4177"/>
                    </a:lnTo>
                    <a:lnTo>
                      <a:pt x="3213" y="4195"/>
                    </a:lnTo>
                    <a:lnTo>
                      <a:pt x="3192" y="4212"/>
                    </a:lnTo>
                    <a:lnTo>
                      <a:pt x="3173" y="4230"/>
                    </a:lnTo>
                    <a:lnTo>
                      <a:pt x="3153" y="4247"/>
                    </a:lnTo>
                    <a:lnTo>
                      <a:pt x="3137" y="4264"/>
                    </a:lnTo>
                    <a:lnTo>
                      <a:pt x="3129" y="4273"/>
                    </a:lnTo>
                    <a:lnTo>
                      <a:pt x="3122" y="4281"/>
                    </a:lnTo>
                    <a:lnTo>
                      <a:pt x="3116" y="4290"/>
                    </a:lnTo>
                    <a:lnTo>
                      <a:pt x="3111" y="4299"/>
                    </a:lnTo>
                    <a:lnTo>
                      <a:pt x="3106" y="4310"/>
                    </a:lnTo>
                    <a:lnTo>
                      <a:pt x="3103" y="4319"/>
                    </a:lnTo>
                    <a:lnTo>
                      <a:pt x="3101" y="4329"/>
                    </a:lnTo>
                    <a:lnTo>
                      <a:pt x="3099" y="4340"/>
                    </a:lnTo>
                    <a:lnTo>
                      <a:pt x="3099" y="4347"/>
                    </a:lnTo>
                    <a:lnTo>
                      <a:pt x="3102" y="4353"/>
                    </a:lnTo>
                    <a:lnTo>
                      <a:pt x="3104" y="4360"/>
                    </a:lnTo>
                    <a:lnTo>
                      <a:pt x="3109" y="4367"/>
                    </a:lnTo>
                    <a:lnTo>
                      <a:pt x="3113" y="4374"/>
                    </a:lnTo>
                    <a:lnTo>
                      <a:pt x="3120" y="4382"/>
                    </a:lnTo>
                    <a:lnTo>
                      <a:pt x="3127" y="4390"/>
                    </a:lnTo>
                    <a:lnTo>
                      <a:pt x="3134" y="4397"/>
                    </a:lnTo>
                    <a:lnTo>
                      <a:pt x="3152" y="4413"/>
                    </a:lnTo>
                    <a:lnTo>
                      <a:pt x="3173" y="4428"/>
                    </a:lnTo>
                    <a:lnTo>
                      <a:pt x="3195" y="4443"/>
                    </a:lnTo>
                    <a:lnTo>
                      <a:pt x="3219" y="4457"/>
                    </a:lnTo>
                    <a:lnTo>
                      <a:pt x="3245" y="4470"/>
                    </a:lnTo>
                    <a:lnTo>
                      <a:pt x="3270" y="4483"/>
                    </a:lnTo>
                    <a:lnTo>
                      <a:pt x="3297" y="4494"/>
                    </a:lnTo>
                    <a:lnTo>
                      <a:pt x="3322" y="4505"/>
                    </a:lnTo>
                    <a:lnTo>
                      <a:pt x="3347" y="4514"/>
                    </a:lnTo>
                    <a:lnTo>
                      <a:pt x="3371" y="4520"/>
                    </a:lnTo>
                    <a:lnTo>
                      <a:pt x="3393" y="4525"/>
                    </a:lnTo>
                    <a:lnTo>
                      <a:pt x="3412" y="4528"/>
                    </a:lnTo>
                    <a:lnTo>
                      <a:pt x="3423" y="4527"/>
                    </a:lnTo>
                    <a:lnTo>
                      <a:pt x="3431" y="4523"/>
                    </a:lnTo>
                    <a:lnTo>
                      <a:pt x="3440" y="4519"/>
                    </a:lnTo>
                    <a:lnTo>
                      <a:pt x="3448" y="4514"/>
                    </a:lnTo>
                    <a:lnTo>
                      <a:pt x="3457" y="4508"/>
                    </a:lnTo>
                    <a:lnTo>
                      <a:pt x="3466" y="4504"/>
                    </a:lnTo>
                    <a:lnTo>
                      <a:pt x="3477" y="4501"/>
                    </a:lnTo>
                    <a:lnTo>
                      <a:pt x="3489" y="4499"/>
                    </a:lnTo>
                    <a:lnTo>
                      <a:pt x="3498" y="4500"/>
                    </a:lnTo>
                    <a:lnTo>
                      <a:pt x="3507" y="4502"/>
                    </a:lnTo>
                    <a:lnTo>
                      <a:pt x="3515" y="4505"/>
                    </a:lnTo>
                    <a:lnTo>
                      <a:pt x="3521" y="4508"/>
                    </a:lnTo>
                    <a:lnTo>
                      <a:pt x="3535" y="4517"/>
                    </a:lnTo>
                    <a:lnTo>
                      <a:pt x="3549" y="4529"/>
                    </a:lnTo>
                    <a:lnTo>
                      <a:pt x="3563" y="4539"/>
                    </a:lnTo>
                    <a:lnTo>
                      <a:pt x="3579" y="4550"/>
                    </a:lnTo>
                    <a:lnTo>
                      <a:pt x="3587" y="4554"/>
                    </a:lnTo>
                    <a:lnTo>
                      <a:pt x="3595" y="4558"/>
                    </a:lnTo>
                    <a:lnTo>
                      <a:pt x="3604" y="4561"/>
                    </a:lnTo>
                    <a:lnTo>
                      <a:pt x="3614" y="4562"/>
                    </a:lnTo>
                    <a:lnTo>
                      <a:pt x="3629" y="4562"/>
                    </a:lnTo>
                    <a:lnTo>
                      <a:pt x="3641" y="4561"/>
                    </a:lnTo>
                    <a:lnTo>
                      <a:pt x="3650" y="4560"/>
                    </a:lnTo>
                    <a:lnTo>
                      <a:pt x="3658" y="4559"/>
                    </a:lnTo>
                    <a:lnTo>
                      <a:pt x="3669" y="4555"/>
                    </a:lnTo>
                    <a:lnTo>
                      <a:pt x="3678" y="4552"/>
                    </a:lnTo>
                    <a:lnTo>
                      <a:pt x="3682" y="4551"/>
                    </a:lnTo>
                    <a:lnTo>
                      <a:pt x="3685" y="4550"/>
                    </a:lnTo>
                    <a:lnTo>
                      <a:pt x="3689" y="4550"/>
                    </a:lnTo>
                    <a:lnTo>
                      <a:pt x="3693" y="4551"/>
                    </a:lnTo>
                    <a:lnTo>
                      <a:pt x="3706" y="4554"/>
                    </a:lnTo>
                    <a:lnTo>
                      <a:pt x="3726" y="4562"/>
                    </a:lnTo>
                    <a:lnTo>
                      <a:pt x="3727" y="4576"/>
                    </a:lnTo>
                    <a:lnTo>
                      <a:pt x="3730" y="4590"/>
                    </a:lnTo>
                    <a:lnTo>
                      <a:pt x="3736" y="4603"/>
                    </a:lnTo>
                    <a:lnTo>
                      <a:pt x="3743" y="4617"/>
                    </a:lnTo>
                    <a:lnTo>
                      <a:pt x="3752" y="4631"/>
                    </a:lnTo>
                    <a:lnTo>
                      <a:pt x="3761" y="4644"/>
                    </a:lnTo>
                    <a:lnTo>
                      <a:pt x="3771" y="4656"/>
                    </a:lnTo>
                    <a:lnTo>
                      <a:pt x="3782" y="4666"/>
                    </a:lnTo>
                    <a:lnTo>
                      <a:pt x="3807" y="4656"/>
                    </a:lnTo>
                    <a:lnTo>
                      <a:pt x="3834" y="4646"/>
                    </a:lnTo>
                    <a:lnTo>
                      <a:pt x="3864" y="4637"/>
                    </a:lnTo>
                    <a:lnTo>
                      <a:pt x="3895" y="4629"/>
                    </a:lnTo>
                    <a:lnTo>
                      <a:pt x="3924" y="4622"/>
                    </a:lnTo>
                    <a:lnTo>
                      <a:pt x="3951" y="4616"/>
                    </a:lnTo>
                    <a:lnTo>
                      <a:pt x="3977" y="4613"/>
                    </a:lnTo>
                    <a:lnTo>
                      <a:pt x="3997" y="4611"/>
                    </a:lnTo>
                    <a:lnTo>
                      <a:pt x="4011" y="4613"/>
                    </a:lnTo>
                    <a:lnTo>
                      <a:pt x="4024" y="4615"/>
                    </a:lnTo>
                    <a:lnTo>
                      <a:pt x="4036" y="4619"/>
                    </a:lnTo>
                    <a:lnTo>
                      <a:pt x="4047" y="4625"/>
                    </a:lnTo>
                    <a:lnTo>
                      <a:pt x="4058" y="4632"/>
                    </a:lnTo>
                    <a:lnTo>
                      <a:pt x="4068" y="4640"/>
                    </a:lnTo>
                    <a:lnTo>
                      <a:pt x="4077" y="4648"/>
                    </a:lnTo>
                    <a:lnTo>
                      <a:pt x="4087" y="4656"/>
                    </a:lnTo>
                    <a:lnTo>
                      <a:pt x="4106" y="4673"/>
                    </a:lnTo>
                    <a:lnTo>
                      <a:pt x="4126" y="4687"/>
                    </a:lnTo>
                    <a:lnTo>
                      <a:pt x="4136" y="4693"/>
                    </a:lnTo>
                    <a:lnTo>
                      <a:pt x="4147" y="4697"/>
                    </a:lnTo>
                    <a:lnTo>
                      <a:pt x="4159" y="4701"/>
                    </a:lnTo>
                    <a:lnTo>
                      <a:pt x="4172" y="4702"/>
                    </a:lnTo>
                    <a:lnTo>
                      <a:pt x="4177" y="4701"/>
                    </a:lnTo>
                    <a:lnTo>
                      <a:pt x="4183" y="4699"/>
                    </a:lnTo>
                    <a:lnTo>
                      <a:pt x="4188" y="4695"/>
                    </a:lnTo>
                    <a:lnTo>
                      <a:pt x="4191" y="4691"/>
                    </a:lnTo>
                    <a:lnTo>
                      <a:pt x="4194" y="4685"/>
                    </a:lnTo>
                    <a:lnTo>
                      <a:pt x="4198" y="4678"/>
                    </a:lnTo>
                    <a:lnTo>
                      <a:pt x="4200" y="4670"/>
                    </a:lnTo>
                    <a:lnTo>
                      <a:pt x="4201" y="4661"/>
                    </a:lnTo>
                    <a:lnTo>
                      <a:pt x="4206" y="4621"/>
                    </a:lnTo>
                    <a:lnTo>
                      <a:pt x="4209" y="4572"/>
                    </a:lnTo>
                    <a:lnTo>
                      <a:pt x="4212" y="4548"/>
                    </a:lnTo>
                    <a:lnTo>
                      <a:pt x="4215" y="4525"/>
                    </a:lnTo>
                    <a:lnTo>
                      <a:pt x="4219" y="4514"/>
                    </a:lnTo>
                    <a:lnTo>
                      <a:pt x="4221" y="4504"/>
                    </a:lnTo>
                    <a:lnTo>
                      <a:pt x="4224" y="4493"/>
                    </a:lnTo>
                    <a:lnTo>
                      <a:pt x="4228" y="4484"/>
                    </a:lnTo>
                    <a:lnTo>
                      <a:pt x="4233" y="4475"/>
                    </a:lnTo>
                    <a:lnTo>
                      <a:pt x="4238" y="4468"/>
                    </a:lnTo>
                    <a:lnTo>
                      <a:pt x="4245" y="4461"/>
                    </a:lnTo>
                    <a:lnTo>
                      <a:pt x="4252" y="4455"/>
                    </a:lnTo>
                    <a:lnTo>
                      <a:pt x="4260" y="4450"/>
                    </a:lnTo>
                    <a:lnTo>
                      <a:pt x="4269" y="4446"/>
                    </a:lnTo>
                    <a:lnTo>
                      <a:pt x="4278" y="4445"/>
                    </a:lnTo>
                    <a:lnTo>
                      <a:pt x="4290" y="4444"/>
                    </a:lnTo>
                    <a:lnTo>
                      <a:pt x="4301" y="4445"/>
                    </a:lnTo>
                    <a:lnTo>
                      <a:pt x="4311" y="4446"/>
                    </a:lnTo>
                    <a:lnTo>
                      <a:pt x="4321" y="4450"/>
                    </a:lnTo>
                    <a:lnTo>
                      <a:pt x="4330" y="4453"/>
                    </a:lnTo>
                    <a:lnTo>
                      <a:pt x="4346" y="4463"/>
                    </a:lnTo>
                    <a:lnTo>
                      <a:pt x="4362" y="4475"/>
                    </a:lnTo>
                    <a:lnTo>
                      <a:pt x="4370" y="4481"/>
                    </a:lnTo>
                    <a:lnTo>
                      <a:pt x="4379" y="4486"/>
                    </a:lnTo>
                    <a:lnTo>
                      <a:pt x="4388" y="4492"/>
                    </a:lnTo>
                    <a:lnTo>
                      <a:pt x="4399" y="4497"/>
                    </a:lnTo>
                    <a:lnTo>
                      <a:pt x="4410" y="4501"/>
                    </a:lnTo>
                    <a:lnTo>
                      <a:pt x="4421" y="4504"/>
                    </a:lnTo>
                    <a:lnTo>
                      <a:pt x="4435" y="4506"/>
                    </a:lnTo>
                    <a:lnTo>
                      <a:pt x="4450" y="4507"/>
                    </a:lnTo>
                    <a:lnTo>
                      <a:pt x="4472" y="4505"/>
                    </a:lnTo>
                    <a:lnTo>
                      <a:pt x="4495" y="4501"/>
                    </a:lnTo>
                    <a:lnTo>
                      <a:pt x="4520" y="4497"/>
                    </a:lnTo>
                    <a:lnTo>
                      <a:pt x="4546" y="4489"/>
                    </a:lnTo>
                    <a:lnTo>
                      <a:pt x="4601" y="4472"/>
                    </a:lnTo>
                    <a:lnTo>
                      <a:pt x="4658" y="4451"/>
                    </a:lnTo>
                    <a:lnTo>
                      <a:pt x="4714" y="4430"/>
                    </a:lnTo>
                    <a:lnTo>
                      <a:pt x="4768" y="4413"/>
                    </a:lnTo>
                    <a:lnTo>
                      <a:pt x="4794" y="4405"/>
                    </a:lnTo>
                    <a:lnTo>
                      <a:pt x="4818" y="4400"/>
                    </a:lnTo>
                    <a:lnTo>
                      <a:pt x="4840" y="4396"/>
                    </a:lnTo>
                    <a:lnTo>
                      <a:pt x="4861" y="4395"/>
                    </a:lnTo>
                    <a:lnTo>
                      <a:pt x="4873" y="4396"/>
                    </a:lnTo>
                    <a:lnTo>
                      <a:pt x="4883" y="4396"/>
                    </a:lnTo>
                    <a:lnTo>
                      <a:pt x="4895" y="4397"/>
                    </a:lnTo>
                    <a:lnTo>
                      <a:pt x="4906" y="4398"/>
                    </a:lnTo>
                    <a:lnTo>
                      <a:pt x="4919" y="4400"/>
                    </a:lnTo>
                    <a:lnTo>
                      <a:pt x="4933" y="4402"/>
                    </a:lnTo>
                    <a:lnTo>
                      <a:pt x="4951" y="4402"/>
                    </a:lnTo>
                    <a:lnTo>
                      <a:pt x="4972" y="4402"/>
                    </a:lnTo>
                    <a:lnTo>
                      <a:pt x="4972" y="4398"/>
                    </a:lnTo>
                    <a:lnTo>
                      <a:pt x="4972" y="4394"/>
                    </a:lnTo>
                    <a:lnTo>
                      <a:pt x="4972" y="4387"/>
                    </a:lnTo>
                    <a:lnTo>
                      <a:pt x="4972" y="4380"/>
                    </a:lnTo>
                    <a:lnTo>
                      <a:pt x="4972" y="4372"/>
                    </a:lnTo>
                    <a:lnTo>
                      <a:pt x="4972" y="4363"/>
                    </a:lnTo>
                    <a:lnTo>
                      <a:pt x="4972" y="4355"/>
                    </a:lnTo>
                    <a:lnTo>
                      <a:pt x="4972" y="4347"/>
                    </a:lnTo>
                    <a:lnTo>
                      <a:pt x="4982" y="4349"/>
                    </a:lnTo>
                    <a:lnTo>
                      <a:pt x="4991" y="4349"/>
                    </a:lnTo>
                    <a:lnTo>
                      <a:pt x="5000" y="4350"/>
                    </a:lnTo>
                    <a:lnTo>
                      <a:pt x="5011" y="4349"/>
                    </a:lnTo>
                    <a:lnTo>
                      <a:pt x="5022" y="4348"/>
                    </a:lnTo>
                    <a:lnTo>
                      <a:pt x="5035" y="4348"/>
                    </a:lnTo>
                    <a:lnTo>
                      <a:pt x="5051" y="4347"/>
                    </a:lnTo>
                    <a:lnTo>
                      <a:pt x="5069" y="4347"/>
                    </a:lnTo>
                    <a:lnTo>
                      <a:pt x="5098" y="434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19" name="Freeform 538"/>
              <p:cNvSpPr>
                <a:spLocks/>
              </p:cNvSpPr>
              <p:nvPr/>
            </p:nvSpPr>
            <p:spPr bwMode="auto">
              <a:xfrm>
                <a:off x="1753" y="915"/>
                <a:ext cx="972" cy="608"/>
              </a:xfrm>
              <a:custGeom>
                <a:avLst/>
                <a:gdLst>
                  <a:gd name="T0" fmla="*/ 3 w 5271"/>
                  <a:gd name="T1" fmla="*/ 9 h 3294"/>
                  <a:gd name="T2" fmla="*/ 1 w 5271"/>
                  <a:gd name="T3" fmla="*/ 9 h 3294"/>
                  <a:gd name="T4" fmla="*/ 1 w 5271"/>
                  <a:gd name="T5" fmla="*/ 10 h 3294"/>
                  <a:gd name="T6" fmla="*/ 1 w 5271"/>
                  <a:gd name="T7" fmla="*/ 11 h 3294"/>
                  <a:gd name="T8" fmla="*/ 3 w 5271"/>
                  <a:gd name="T9" fmla="*/ 12 h 3294"/>
                  <a:gd name="T10" fmla="*/ 2 w 5271"/>
                  <a:gd name="T11" fmla="*/ 14 h 3294"/>
                  <a:gd name="T12" fmla="*/ 2 w 5271"/>
                  <a:gd name="T13" fmla="*/ 14 h 3294"/>
                  <a:gd name="T14" fmla="*/ 1 w 5271"/>
                  <a:gd name="T15" fmla="*/ 15 h 3294"/>
                  <a:gd name="T16" fmla="*/ 1 w 5271"/>
                  <a:gd name="T17" fmla="*/ 17 h 3294"/>
                  <a:gd name="T18" fmla="*/ 1 w 5271"/>
                  <a:gd name="T19" fmla="*/ 18 h 3294"/>
                  <a:gd name="T20" fmla="*/ 2 w 5271"/>
                  <a:gd name="T21" fmla="*/ 18 h 3294"/>
                  <a:gd name="T22" fmla="*/ 4 w 5271"/>
                  <a:gd name="T23" fmla="*/ 20 h 3294"/>
                  <a:gd name="T24" fmla="*/ 5 w 5271"/>
                  <a:gd name="T25" fmla="*/ 20 h 3294"/>
                  <a:gd name="T26" fmla="*/ 5 w 5271"/>
                  <a:gd name="T27" fmla="*/ 20 h 3294"/>
                  <a:gd name="T28" fmla="*/ 6 w 5271"/>
                  <a:gd name="T29" fmla="*/ 21 h 3294"/>
                  <a:gd name="T30" fmla="*/ 7 w 5271"/>
                  <a:gd name="T31" fmla="*/ 20 h 3294"/>
                  <a:gd name="T32" fmla="*/ 10 w 5271"/>
                  <a:gd name="T33" fmla="*/ 19 h 3294"/>
                  <a:gd name="T34" fmla="*/ 11 w 5271"/>
                  <a:gd name="T35" fmla="*/ 18 h 3294"/>
                  <a:gd name="T36" fmla="*/ 12 w 5271"/>
                  <a:gd name="T37" fmla="*/ 17 h 3294"/>
                  <a:gd name="T38" fmla="*/ 13 w 5271"/>
                  <a:gd name="T39" fmla="*/ 16 h 3294"/>
                  <a:gd name="T40" fmla="*/ 14 w 5271"/>
                  <a:gd name="T41" fmla="*/ 17 h 3294"/>
                  <a:gd name="T42" fmla="*/ 15 w 5271"/>
                  <a:gd name="T43" fmla="*/ 17 h 3294"/>
                  <a:gd name="T44" fmla="*/ 16 w 5271"/>
                  <a:gd name="T45" fmla="*/ 18 h 3294"/>
                  <a:gd name="T46" fmla="*/ 18 w 5271"/>
                  <a:gd name="T47" fmla="*/ 18 h 3294"/>
                  <a:gd name="T48" fmla="*/ 19 w 5271"/>
                  <a:gd name="T49" fmla="*/ 19 h 3294"/>
                  <a:gd name="T50" fmla="*/ 22 w 5271"/>
                  <a:gd name="T51" fmla="*/ 18 h 3294"/>
                  <a:gd name="T52" fmla="*/ 23 w 5271"/>
                  <a:gd name="T53" fmla="*/ 18 h 3294"/>
                  <a:gd name="T54" fmla="*/ 24 w 5271"/>
                  <a:gd name="T55" fmla="*/ 18 h 3294"/>
                  <a:gd name="T56" fmla="*/ 25 w 5271"/>
                  <a:gd name="T57" fmla="*/ 17 h 3294"/>
                  <a:gd name="T58" fmla="*/ 26 w 5271"/>
                  <a:gd name="T59" fmla="*/ 15 h 3294"/>
                  <a:gd name="T60" fmla="*/ 29 w 5271"/>
                  <a:gd name="T61" fmla="*/ 15 h 3294"/>
                  <a:gd name="T62" fmla="*/ 31 w 5271"/>
                  <a:gd name="T63" fmla="*/ 15 h 3294"/>
                  <a:gd name="T64" fmla="*/ 33 w 5271"/>
                  <a:gd name="T65" fmla="*/ 14 h 3294"/>
                  <a:gd name="T66" fmla="*/ 32 w 5271"/>
                  <a:gd name="T67" fmla="*/ 12 h 3294"/>
                  <a:gd name="T68" fmla="*/ 32 w 5271"/>
                  <a:gd name="T69" fmla="*/ 10 h 3294"/>
                  <a:gd name="T70" fmla="*/ 30 w 5271"/>
                  <a:gd name="T71" fmla="*/ 11 h 3294"/>
                  <a:gd name="T72" fmla="*/ 28 w 5271"/>
                  <a:gd name="T73" fmla="*/ 9 h 3294"/>
                  <a:gd name="T74" fmla="*/ 28 w 5271"/>
                  <a:gd name="T75" fmla="*/ 8 h 3294"/>
                  <a:gd name="T76" fmla="*/ 27 w 5271"/>
                  <a:gd name="T77" fmla="*/ 6 h 3294"/>
                  <a:gd name="T78" fmla="*/ 27 w 5271"/>
                  <a:gd name="T79" fmla="*/ 5 h 3294"/>
                  <a:gd name="T80" fmla="*/ 26 w 5271"/>
                  <a:gd name="T81" fmla="*/ 5 h 3294"/>
                  <a:gd name="T82" fmla="*/ 25 w 5271"/>
                  <a:gd name="T83" fmla="*/ 5 h 3294"/>
                  <a:gd name="T84" fmla="*/ 24 w 5271"/>
                  <a:gd name="T85" fmla="*/ 5 h 3294"/>
                  <a:gd name="T86" fmla="*/ 23 w 5271"/>
                  <a:gd name="T87" fmla="*/ 4 h 3294"/>
                  <a:gd name="T88" fmla="*/ 22 w 5271"/>
                  <a:gd name="T89" fmla="*/ 3 h 3294"/>
                  <a:gd name="T90" fmla="*/ 21 w 5271"/>
                  <a:gd name="T91" fmla="*/ 1 h 3294"/>
                  <a:gd name="T92" fmla="*/ 20 w 5271"/>
                  <a:gd name="T93" fmla="*/ 1 h 3294"/>
                  <a:gd name="T94" fmla="*/ 18 w 5271"/>
                  <a:gd name="T95" fmla="*/ 1 h 3294"/>
                  <a:gd name="T96" fmla="*/ 16 w 5271"/>
                  <a:gd name="T97" fmla="*/ 2 h 3294"/>
                  <a:gd name="T98" fmla="*/ 15 w 5271"/>
                  <a:gd name="T99" fmla="*/ 3 h 3294"/>
                  <a:gd name="T100" fmla="*/ 16 w 5271"/>
                  <a:gd name="T101" fmla="*/ 1 h 3294"/>
                  <a:gd name="T102" fmla="*/ 18 w 5271"/>
                  <a:gd name="T103" fmla="*/ 1 h 3294"/>
                  <a:gd name="T104" fmla="*/ 20 w 5271"/>
                  <a:gd name="T105" fmla="*/ 1 h 3294"/>
                  <a:gd name="T106" fmla="*/ 16 w 5271"/>
                  <a:gd name="T107" fmla="*/ 0 h 3294"/>
                  <a:gd name="T108" fmla="*/ 15 w 5271"/>
                  <a:gd name="T109" fmla="*/ 3 h 3294"/>
                  <a:gd name="T110" fmla="*/ 13 w 5271"/>
                  <a:gd name="T111" fmla="*/ 5 h 3294"/>
                  <a:gd name="T112" fmla="*/ 11 w 5271"/>
                  <a:gd name="T113" fmla="*/ 5 h 3294"/>
                  <a:gd name="T114" fmla="*/ 10 w 5271"/>
                  <a:gd name="T115" fmla="*/ 5 h 3294"/>
                  <a:gd name="T116" fmla="*/ 8 w 5271"/>
                  <a:gd name="T117" fmla="*/ 6 h 3294"/>
                  <a:gd name="T118" fmla="*/ 8 w 5271"/>
                  <a:gd name="T119" fmla="*/ 7 h 3294"/>
                  <a:gd name="T120" fmla="*/ 7 w 5271"/>
                  <a:gd name="T121" fmla="*/ 8 h 3294"/>
                  <a:gd name="T122" fmla="*/ 6 w 5271"/>
                  <a:gd name="T123" fmla="*/ 8 h 3294"/>
                  <a:gd name="T124" fmla="*/ 3 w 5271"/>
                  <a:gd name="T125" fmla="*/ 8 h 329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271"/>
                  <a:gd name="T190" fmla="*/ 0 h 3294"/>
                  <a:gd name="T191" fmla="*/ 5271 w 5271"/>
                  <a:gd name="T192" fmla="*/ 3294 h 329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271" h="3294">
                    <a:moveTo>
                      <a:pt x="404" y="1246"/>
                    </a:moveTo>
                    <a:lnTo>
                      <a:pt x="398" y="1256"/>
                    </a:lnTo>
                    <a:lnTo>
                      <a:pt x="393" y="1266"/>
                    </a:lnTo>
                    <a:lnTo>
                      <a:pt x="389" y="1274"/>
                    </a:lnTo>
                    <a:lnTo>
                      <a:pt x="384" y="1283"/>
                    </a:lnTo>
                    <a:lnTo>
                      <a:pt x="381" y="1291"/>
                    </a:lnTo>
                    <a:lnTo>
                      <a:pt x="378" y="1300"/>
                    </a:lnTo>
                    <a:lnTo>
                      <a:pt x="376" y="1312"/>
                    </a:lnTo>
                    <a:lnTo>
                      <a:pt x="376" y="1323"/>
                    </a:lnTo>
                    <a:lnTo>
                      <a:pt x="376" y="1330"/>
                    </a:lnTo>
                    <a:lnTo>
                      <a:pt x="378" y="1334"/>
                    </a:lnTo>
                    <a:lnTo>
                      <a:pt x="382" y="1339"/>
                    </a:lnTo>
                    <a:lnTo>
                      <a:pt x="385" y="1344"/>
                    </a:lnTo>
                    <a:lnTo>
                      <a:pt x="397" y="1351"/>
                    </a:lnTo>
                    <a:lnTo>
                      <a:pt x="409" y="1356"/>
                    </a:lnTo>
                    <a:lnTo>
                      <a:pt x="423" y="1361"/>
                    </a:lnTo>
                    <a:lnTo>
                      <a:pt x="437" y="1367"/>
                    </a:lnTo>
                    <a:lnTo>
                      <a:pt x="444" y="1369"/>
                    </a:lnTo>
                    <a:lnTo>
                      <a:pt x="449" y="1372"/>
                    </a:lnTo>
                    <a:lnTo>
                      <a:pt x="455" y="1376"/>
                    </a:lnTo>
                    <a:lnTo>
                      <a:pt x="459" y="1379"/>
                    </a:lnTo>
                    <a:lnTo>
                      <a:pt x="451" y="1384"/>
                    </a:lnTo>
                    <a:lnTo>
                      <a:pt x="443" y="1387"/>
                    </a:lnTo>
                    <a:lnTo>
                      <a:pt x="433" y="1391"/>
                    </a:lnTo>
                    <a:lnTo>
                      <a:pt x="423" y="1394"/>
                    </a:lnTo>
                    <a:lnTo>
                      <a:pt x="402" y="1399"/>
                    </a:lnTo>
                    <a:lnTo>
                      <a:pt x="381" y="1403"/>
                    </a:lnTo>
                    <a:lnTo>
                      <a:pt x="335" y="1411"/>
                    </a:lnTo>
                    <a:lnTo>
                      <a:pt x="289" y="1420"/>
                    </a:lnTo>
                    <a:lnTo>
                      <a:pt x="267" y="1425"/>
                    </a:lnTo>
                    <a:lnTo>
                      <a:pt x="247" y="1432"/>
                    </a:lnTo>
                    <a:lnTo>
                      <a:pt x="237" y="1435"/>
                    </a:lnTo>
                    <a:lnTo>
                      <a:pt x="228" y="1440"/>
                    </a:lnTo>
                    <a:lnTo>
                      <a:pt x="220" y="1446"/>
                    </a:lnTo>
                    <a:lnTo>
                      <a:pt x="212" y="1450"/>
                    </a:lnTo>
                    <a:lnTo>
                      <a:pt x="205" y="1456"/>
                    </a:lnTo>
                    <a:lnTo>
                      <a:pt x="200" y="1463"/>
                    </a:lnTo>
                    <a:lnTo>
                      <a:pt x="194" y="1471"/>
                    </a:lnTo>
                    <a:lnTo>
                      <a:pt x="189" y="1478"/>
                    </a:lnTo>
                    <a:lnTo>
                      <a:pt x="186" y="1487"/>
                    </a:lnTo>
                    <a:lnTo>
                      <a:pt x="182" y="1496"/>
                    </a:lnTo>
                    <a:lnTo>
                      <a:pt x="181" y="1507"/>
                    </a:lnTo>
                    <a:lnTo>
                      <a:pt x="181" y="1518"/>
                    </a:lnTo>
                    <a:lnTo>
                      <a:pt x="181" y="1526"/>
                    </a:lnTo>
                    <a:lnTo>
                      <a:pt x="182" y="1533"/>
                    </a:lnTo>
                    <a:lnTo>
                      <a:pt x="183" y="1540"/>
                    </a:lnTo>
                    <a:lnTo>
                      <a:pt x="186" y="1547"/>
                    </a:lnTo>
                    <a:lnTo>
                      <a:pt x="192" y="1559"/>
                    </a:lnTo>
                    <a:lnTo>
                      <a:pt x="198" y="1571"/>
                    </a:lnTo>
                    <a:lnTo>
                      <a:pt x="204" y="1582"/>
                    </a:lnTo>
                    <a:lnTo>
                      <a:pt x="210" y="1595"/>
                    </a:lnTo>
                    <a:lnTo>
                      <a:pt x="212" y="1602"/>
                    </a:lnTo>
                    <a:lnTo>
                      <a:pt x="214" y="1609"/>
                    </a:lnTo>
                    <a:lnTo>
                      <a:pt x="216" y="1615"/>
                    </a:lnTo>
                    <a:lnTo>
                      <a:pt x="216" y="1622"/>
                    </a:lnTo>
                    <a:lnTo>
                      <a:pt x="216" y="1633"/>
                    </a:lnTo>
                    <a:lnTo>
                      <a:pt x="214" y="1642"/>
                    </a:lnTo>
                    <a:lnTo>
                      <a:pt x="213" y="1649"/>
                    </a:lnTo>
                    <a:lnTo>
                      <a:pt x="211" y="1656"/>
                    </a:lnTo>
                    <a:lnTo>
                      <a:pt x="206" y="1667"/>
                    </a:lnTo>
                    <a:lnTo>
                      <a:pt x="202" y="1677"/>
                    </a:lnTo>
                    <a:lnTo>
                      <a:pt x="196" y="1688"/>
                    </a:lnTo>
                    <a:lnTo>
                      <a:pt x="192" y="1698"/>
                    </a:lnTo>
                    <a:lnTo>
                      <a:pt x="190" y="1704"/>
                    </a:lnTo>
                    <a:lnTo>
                      <a:pt x="189" y="1711"/>
                    </a:lnTo>
                    <a:lnTo>
                      <a:pt x="188" y="1719"/>
                    </a:lnTo>
                    <a:lnTo>
                      <a:pt x="188" y="1727"/>
                    </a:lnTo>
                    <a:lnTo>
                      <a:pt x="188" y="1732"/>
                    </a:lnTo>
                    <a:lnTo>
                      <a:pt x="189" y="1738"/>
                    </a:lnTo>
                    <a:lnTo>
                      <a:pt x="192" y="1744"/>
                    </a:lnTo>
                    <a:lnTo>
                      <a:pt x="195" y="1749"/>
                    </a:lnTo>
                    <a:lnTo>
                      <a:pt x="204" y="1760"/>
                    </a:lnTo>
                    <a:lnTo>
                      <a:pt x="216" y="1771"/>
                    </a:lnTo>
                    <a:lnTo>
                      <a:pt x="229" y="1783"/>
                    </a:lnTo>
                    <a:lnTo>
                      <a:pt x="244" y="1794"/>
                    </a:lnTo>
                    <a:lnTo>
                      <a:pt x="261" y="1805"/>
                    </a:lnTo>
                    <a:lnTo>
                      <a:pt x="279" y="1815"/>
                    </a:lnTo>
                    <a:lnTo>
                      <a:pt x="315" y="1835"/>
                    </a:lnTo>
                    <a:lnTo>
                      <a:pt x="350" y="1849"/>
                    </a:lnTo>
                    <a:lnTo>
                      <a:pt x="377" y="1861"/>
                    </a:lnTo>
                    <a:lnTo>
                      <a:pt x="397" y="1867"/>
                    </a:lnTo>
                    <a:lnTo>
                      <a:pt x="404" y="1868"/>
                    </a:lnTo>
                    <a:lnTo>
                      <a:pt x="412" y="1869"/>
                    </a:lnTo>
                    <a:lnTo>
                      <a:pt x="417" y="1872"/>
                    </a:lnTo>
                    <a:lnTo>
                      <a:pt x="424" y="1876"/>
                    </a:lnTo>
                    <a:lnTo>
                      <a:pt x="430" y="1882"/>
                    </a:lnTo>
                    <a:lnTo>
                      <a:pt x="435" y="1887"/>
                    </a:lnTo>
                    <a:lnTo>
                      <a:pt x="439" y="1893"/>
                    </a:lnTo>
                    <a:lnTo>
                      <a:pt x="444" y="1901"/>
                    </a:lnTo>
                    <a:lnTo>
                      <a:pt x="447" y="1908"/>
                    </a:lnTo>
                    <a:lnTo>
                      <a:pt x="451" y="1917"/>
                    </a:lnTo>
                    <a:lnTo>
                      <a:pt x="453" y="1925"/>
                    </a:lnTo>
                    <a:lnTo>
                      <a:pt x="455" y="1934"/>
                    </a:lnTo>
                    <a:lnTo>
                      <a:pt x="459" y="1953"/>
                    </a:lnTo>
                    <a:lnTo>
                      <a:pt x="459" y="1971"/>
                    </a:lnTo>
                    <a:lnTo>
                      <a:pt x="458" y="1987"/>
                    </a:lnTo>
                    <a:lnTo>
                      <a:pt x="452" y="2013"/>
                    </a:lnTo>
                    <a:lnTo>
                      <a:pt x="444" y="2046"/>
                    </a:lnTo>
                    <a:lnTo>
                      <a:pt x="432" y="2079"/>
                    </a:lnTo>
                    <a:lnTo>
                      <a:pt x="425" y="2096"/>
                    </a:lnTo>
                    <a:lnTo>
                      <a:pt x="419" y="2112"/>
                    </a:lnTo>
                    <a:lnTo>
                      <a:pt x="412" y="2127"/>
                    </a:lnTo>
                    <a:lnTo>
                      <a:pt x="404" y="2140"/>
                    </a:lnTo>
                    <a:lnTo>
                      <a:pt x="396" y="2150"/>
                    </a:lnTo>
                    <a:lnTo>
                      <a:pt x="386" y="2159"/>
                    </a:lnTo>
                    <a:lnTo>
                      <a:pt x="382" y="2161"/>
                    </a:lnTo>
                    <a:lnTo>
                      <a:pt x="377" y="2164"/>
                    </a:lnTo>
                    <a:lnTo>
                      <a:pt x="373" y="2166"/>
                    </a:lnTo>
                    <a:lnTo>
                      <a:pt x="369" y="2166"/>
                    </a:lnTo>
                    <a:lnTo>
                      <a:pt x="361" y="2166"/>
                    </a:lnTo>
                    <a:lnTo>
                      <a:pt x="355" y="2166"/>
                    </a:lnTo>
                    <a:lnTo>
                      <a:pt x="350" y="2166"/>
                    </a:lnTo>
                    <a:lnTo>
                      <a:pt x="344" y="2165"/>
                    </a:lnTo>
                    <a:lnTo>
                      <a:pt x="339" y="2165"/>
                    </a:lnTo>
                    <a:lnTo>
                      <a:pt x="334" y="2164"/>
                    </a:lnTo>
                    <a:lnTo>
                      <a:pt x="327" y="2161"/>
                    </a:lnTo>
                    <a:lnTo>
                      <a:pt x="320" y="2159"/>
                    </a:lnTo>
                    <a:lnTo>
                      <a:pt x="311" y="2164"/>
                    </a:lnTo>
                    <a:lnTo>
                      <a:pt x="303" y="2168"/>
                    </a:lnTo>
                    <a:lnTo>
                      <a:pt x="297" y="2174"/>
                    </a:lnTo>
                    <a:lnTo>
                      <a:pt x="292" y="2180"/>
                    </a:lnTo>
                    <a:lnTo>
                      <a:pt x="290" y="2185"/>
                    </a:lnTo>
                    <a:lnTo>
                      <a:pt x="288" y="2192"/>
                    </a:lnTo>
                    <a:lnTo>
                      <a:pt x="287" y="2199"/>
                    </a:lnTo>
                    <a:lnTo>
                      <a:pt x="286" y="2207"/>
                    </a:lnTo>
                    <a:lnTo>
                      <a:pt x="286" y="2222"/>
                    </a:lnTo>
                    <a:lnTo>
                      <a:pt x="286" y="2238"/>
                    </a:lnTo>
                    <a:lnTo>
                      <a:pt x="286" y="2246"/>
                    </a:lnTo>
                    <a:lnTo>
                      <a:pt x="283" y="2254"/>
                    </a:lnTo>
                    <a:lnTo>
                      <a:pt x="281" y="2262"/>
                    </a:lnTo>
                    <a:lnTo>
                      <a:pt x="279" y="2270"/>
                    </a:lnTo>
                    <a:lnTo>
                      <a:pt x="274" y="2281"/>
                    </a:lnTo>
                    <a:lnTo>
                      <a:pt x="268" y="2289"/>
                    </a:lnTo>
                    <a:lnTo>
                      <a:pt x="263" y="2296"/>
                    </a:lnTo>
                    <a:lnTo>
                      <a:pt x="257" y="2302"/>
                    </a:lnTo>
                    <a:lnTo>
                      <a:pt x="250" y="2307"/>
                    </a:lnTo>
                    <a:lnTo>
                      <a:pt x="242" y="2312"/>
                    </a:lnTo>
                    <a:lnTo>
                      <a:pt x="235" y="2316"/>
                    </a:lnTo>
                    <a:lnTo>
                      <a:pt x="227" y="2320"/>
                    </a:lnTo>
                    <a:lnTo>
                      <a:pt x="210" y="2325"/>
                    </a:lnTo>
                    <a:lnTo>
                      <a:pt x="193" y="2331"/>
                    </a:lnTo>
                    <a:lnTo>
                      <a:pt x="175" y="2338"/>
                    </a:lnTo>
                    <a:lnTo>
                      <a:pt x="159" y="2347"/>
                    </a:lnTo>
                    <a:lnTo>
                      <a:pt x="145" y="2357"/>
                    </a:lnTo>
                    <a:lnTo>
                      <a:pt x="132" y="2368"/>
                    </a:lnTo>
                    <a:lnTo>
                      <a:pt x="119" y="2379"/>
                    </a:lnTo>
                    <a:lnTo>
                      <a:pt x="108" y="2390"/>
                    </a:lnTo>
                    <a:lnTo>
                      <a:pt x="88" y="2413"/>
                    </a:lnTo>
                    <a:lnTo>
                      <a:pt x="72" y="2434"/>
                    </a:lnTo>
                    <a:lnTo>
                      <a:pt x="56" y="2456"/>
                    </a:lnTo>
                    <a:lnTo>
                      <a:pt x="39" y="2478"/>
                    </a:lnTo>
                    <a:lnTo>
                      <a:pt x="31" y="2489"/>
                    </a:lnTo>
                    <a:lnTo>
                      <a:pt x="21" y="2500"/>
                    </a:lnTo>
                    <a:lnTo>
                      <a:pt x="10" y="2511"/>
                    </a:lnTo>
                    <a:lnTo>
                      <a:pt x="0" y="2521"/>
                    </a:lnTo>
                    <a:lnTo>
                      <a:pt x="0" y="2647"/>
                    </a:lnTo>
                    <a:lnTo>
                      <a:pt x="23" y="2649"/>
                    </a:lnTo>
                    <a:lnTo>
                      <a:pt x="51" y="2650"/>
                    </a:lnTo>
                    <a:lnTo>
                      <a:pt x="79" y="2652"/>
                    </a:lnTo>
                    <a:lnTo>
                      <a:pt x="107" y="2656"/>
                    </a:lnTo>
                    <a:lnTo>
                      <a:pt x="119" y="2658"/>
                    </a:lnTo>
                    <a:lnTo>
                      <a:pt x="132" y="2660"/>
                    </a:lnTo>
                    <a:lnTo>
                      <a:pt x="142" y="2664"/>
                    </a:lnTo>
                    <a:lnTo>
                      <a:pt x="151" y="2668"/>
                    </a:lnTo>
                    <a:lnTo>
                      <a:pt x="158" y="2673"/>
                    </a:lnTo>
                    <a:lnTo>
                      <a:pt x="164" y="2680"/>
                    </a:lnTo>
                    <a:lnTo>
                      <a:pt x="165" y="2683"/>
                    </a:lnTo>
                    <a:lnTo>
                      <a:pt x="166" y="2687"/>
                    </a:lnTo>
                    <a:lnTo>
                      <a:pt x="167" y="2691"/>
                    </a:lnTo>
                    <a:lnTo>
                      <a:pt x="166" y="2696"/>
                    </a:lnTo>
                    <a:lnTo>
                      <a:pt x="166" y="2705"/>
                    </a:lnTo>
                    <a:lnTo>
                      <a:pt x="166" y="2714"/>
                    </a:lnTo>
                    <a:lnTo>
                      <a:pt x="166" y="2722"/>
                    </a:lnTo>
                    <a:lnTo>
                      <a:pt x="166" y="2730"/>
                    </a:lnTo>
                    <a:lnTo>
                      <a:pt x="166" y="2738"/>
                    </a:lnTo>
                    <a:lnTo>
                      <a:pt x="166" y="2746"/>
                    </a:lnTo>
                    <a:lnTo>
                      <a:pt x="166" y="2755"/>
                    </a:lnTo>
                    <a:lnTo>
                      <a:pt x="166" y="2765"/>
                    </a:lnTo>
                    <a:lnTo>
                      <a:pt x="167" y="2772"/>
                    </a:lnTo>
                    <a:lnTo>
                      <a:pt x="171" y="2777"/>
                    </a:lnTo>
                    <a:lnTo>
                      <a:pt x="175" y="2784"/>
                    </a:lnTo>
                    <a:lnTo>
                      <a:pt x="181" y="2790"/>
                    </a:lnTo>
                    <a:lnTo>
                      <a:pt x="195" y="2802"/>
                    </a:lnTo>
                    <a:lnTo>
                      <a:pt x="210" y="2815"/>
                    </a:lnTo>
                    <a:lnTo>
                      <a:pt x="218" y="2823"/>
                    </a:lnTo>
                    <a:lnTo>
                      <a:pt x="225" y="2831"/>
                    </a:lnTo>
                    <a:lnTo>
                      <a:pt x="232" y="2839"/>
                    </a:lnTo>
                    <a:lnTo>
                      <a:pt x="237" y="2850"/>
                    </a:lnTo>
                    <a:lnTo>
                      <a:pt x="242" y="2860"/>
                    </a:lnTo>
                    <a:lnTo>
                      <a:pt x="244" y="2871"/>
                    </a:lnTo>
                    <a:lnTo>
                      <a:pt x="244" y="2884"/>
                    </a:lnTo>
                    <a:lnTo>
                      <a:pt x="243" y="2898"/>
                    </a:lnTo>
                    <a:lnTo>
                      <a:pt x="269" y="2906"/>
                    </a:lnTo>
                    <a:lnTo>
                      <a:pt x="295" y="2914"/>
                    </a:lnTo>
                    <a:lnTo>
                      <a:pt x="318" y="2922"/>
                    </a:lnTo>
                    <a:lnTo>
                      <a:pt x="338" y="2930"/>
                    </a:lnTo>
                    <a:lnTo>
                      <a:pt x="359" y="2939"/>
                    </a:lnTo>
                    <a:lnTo>
                      <a:pt x="377" y="2948"/>
                    </a:lnTo>
                    <a:lnTo>
                      <a:pt x="394" y="2958"/>
                    </a:lnTo>
                    <a:lnTo>
                      <a:pt x="412" y="2968"/>
                    </a:lnTo>
                    <a:lnTo>
                      <a:pt x="427" y="2978"/>
                    </a:lnTo>
                    <a:lnTo>
                      <a:pt x="441" y="2989"/>
                    </a:lnTo>
                    <a:lnTo>
                      <a:pt x="456" y="3000"/>
                    </a:lnTo>
                    <a:lnTo>
                      <a:pt x="469" y="3012"/>
                    </a:lnTo>
                    <a:lnTo>
                      <a:pt x="495" y="3038"/>
                    </a:lnTo>
                    <a:lnTo>
                      <a:pt x="522" y="3064"/>
                    </a:lnTo>
                    <a:lnTo>
                      <a:pt x="533" y="3077"/>
                    </a:lnTo>
                    <a:lnTo>
                      <a:pt x="546" y="3093"/>
                    </a:lnTo>
                    <a:lnTo>
                      <a:pt x="558" y="3110"/>
                    </a:lnTo>
                    <a:lnTo>
                      <a:pt x="573" y="3128"/>
                    </a:lnTo>
                    <a:lnTo>
                      <a:pt x="581" y="3136"/>
                    </a:lnTo>
                    <a:lnTo>
                      <a:pt x="588" y="3145"/>
                    </a:lnTo>
                    <a:lnTo>
                      <a:pt x="596" y="3152"/>
                    </a:lnTo>
                    <a:lnTo>
                      <a:pt x="605" y="3159"/>
                    </a:lnTo>
                    <a:lnTo>
                      <a:pt x="613" y="3166"/>
                    </a:lnTo>
                    <a:lnTo>
                      <a:pt x="623" y="3171"/>
                    </a:lnTo>
                    <a:lnTo>
                      <a:pt x="631" y="3174"/>
                    </a:lnTo>
                    <a:lnTo>
                      <a:pt x="640" y="3176"/>
                    </a:lnTo>
                    <a:lnTo>
                      <a:pt x="648" y="3175"/>
                    </a:lnTo>
                    <a:lnTo>
                      <a:pt x="655" y="3173"/>
                    </a:lnTo>
                    <a:lnTo>
                      <a:pt x="662" y="3168"/>
                    </a:lnTo>
                    <a:lnTo>
                      <a:pt x="667" y="3164"/>
                    </a:lnTo>
                    <a:lnTo>
                      <a:pt x="679" y="3152"/>
                    </a:lnTo>
                    <a:lnTo>
                      <a:pt x="690" y="3137"/>
                    </a:lnTo>
                    <a:lnTo>
                      <a:pt x="702" y="3124"/>
                    </a:lnTo>
                    <a:lnTo>
                      <a:pt x="713" y="3111"/>
                    </a:lnTo>
                    <a:lnTo>
                      <a:pt x="720" y="3106"/>
                    </a:lnTo>
                    <a:lnTo>
                      <a:pt x="728" y="3103"/>
                    </a:lnTo>
                    <a:lnTo>
                      <a:pt x="736" y="3101"/>
                    </a:lnTo>
                    <a:lnTo>
                      <a:pt x="744" y="3100"/>
                    </a:lnTo>
                    <a:lnTo>
                      <a:pt x="756" y="3101"/>
                    </a:lnTo>
                    <a:lnTo>
                      <a:pt x="764" y="3103"/>
                    </a:lnTo>
                    <a:lnTo>
                      <a:pt x="771" y="3106"/>
                    </a:lnTo>
                    <a:lnTo>
                      <a:pt x="775" y="3112"/>
                    </a:lnTo>
                    <a:lnTo>
                      <a:pt x="779" y="3118"/>
                    </a:lnTo>
                    <a:lnTo>
                      <a:pt x="782" y="3125"/>
                    </a:lnTo>
                    <a:lnTo>
                      <a:pt x="784" y="3133"/>
                    </a:lnTo>
                    <a:lnTo>
                      <a:pt x="785" y="3141"/>
                    </a:lnTo>
                    <a:lnTo>
                      <a:pt x="789" y="3157"/>
                    </a:lnTo>
                    <a:lnTo>
                      <a:pt x="795" y="3173"/>
                    </a:lnTo>
                    <a:lnTo>
                      <a:pt x="799" y="3180"/>
                    </a:lnTo>
                    <a:lnTo>
                      <a:pt x="805" y="3187"/>
                    </a:lnTo>
                    <a:lnTo>
                      <a:pt x="812" y="3192"/>
                    </a:lnTo>
                    <a:lnTo>
                      <a:pt x="821" y="3197"/>
                    </a:lnTo>
                    <a:lnTo>
                      <a:pt x="824" y="3189"/>
                    </a:lnTo>
                    <a:lnTo>
                      <a:pt x="828" y="3181"/>
                    </a:lnTo>
                    <a:lnTo>
                      <a:pt x="832" y="3174"/>
                    </a:lnTo>
                    <a:lnTo>
                      <a:pt x="837" y="3168"/>
                    </a:lnTo>
                    <a:lnTo>
                      <a:pt x="843" y="3163"/>
                    </a:lnTo>
                    <a:lnTo>
                      <a:pt x="848" y="3159"/>
                    </a:lnTo>
                    <a:lnTo>
                      <a:pt x="855" y="3156"/>
                    </a:lnTo>
                    <a:lnTo>
                      <a:pt x="863" y="3155"/>
                    </a:lnTo>
                    <a:lnTo>
                      <a:pt x="874" y="3157"/>
                    </a:lnTo>
                    <a:lnTo>
                      <a:pt x="884" y="3160"/>
                    </a:lnTo>
                    <a:lnTo>
                      <a:pt x="892" y="3165"/>
                    </a:lnTo>
                    <a:lnTo>
                      <a:pt x="900" y="3171"/>
                    </a:lnTo>
                    <a:lnTo>
                      <a:pt x="907" y="3178"/>
                    </a:lnTo>
                    <a:lnTo>
                      <a:pt x="912" y="3184"/>
                    </a:lnTo>
                    <a:lnTo>
                      <a:pt x="916" y="3194"/>
                    </a:lnTo>
                    <a:lnTo>
                      <a:pt x="920" y="3202"/>
                    </a:lnTo>
                    <a:lnTo>
                      <a:pt x="922" y="3212"/>
                    </a:lnTo>
                    <a:lnTo>
                      <a:pt x="924" y="3221"/>
                    </a:lnTo>
                    <a:lnTo>
                      <a:pt x="924" y="3231"/>
                    </a:lnTo>
                    <a:lnTo>
                      <a:pt x="924" y="3242"/>
                    </a:lnTo>
                    <a:lnTo>
                      <a:pt x="924" y="3251"/>
                    </a:lnTo>
                    <a:lnTo>
                      <a:pt x="923" y="3261"/>
                    </a:lnTo>
                    <a:lnTo>
                      <a:pt x="921" y="3272"/>
                    </a:lnTo>
                    <a:lnTo>
                      <a:pt x="918" y="3281"/>
                    </a:lnTo>
                    <a:lnTo>
                      <a:pt x="975" y="3294"/>
                    </a:lnTo>
                    <a:lnTo>
                      <a:pt x="984" y="3286"/>
                    </a:lnTo>
                    <a:lnTo>
                      <a:pt x="993" y="3281"/>
                    </a:lnTo>
                    <a:lnTo>
                      <a:pt x="1003" y="3275"/>
                    </a:lnTo>
                    <a:lnTo>
                      <a:pt x="1014" y="3269"/>
                    </a:lnTo>
                    <a:lnTo>
                      <a:pt x="1033" y="3261"/>
                    </a:lnTo>
                    <a:lnTo>
                      <a:pt x="1055" y="3253"/>
                    </a:lnTo>
                    <a:lnTo>
                      <a:pt x="1075" y="3246"/>
                    </a:lnTo>
                    <a:lnTo>
                      <a:pt x="1096" y="3238"/>
                    </a:lnTo>
                    <a:lnTo>
                      <a:pt x="1105" y="3234"/>
                    </a:lnTo>
                    <a:lnTo>
                      <a:pt x="1116" y="3229"/>
                    </a:lnTo>
                    <a:lnTo>
                      <a:pt x="1125" y="3223"/>
                    </a:lnTo>
                    <a:lnTo>
                      <a:pt x="1135" y="3218"/>
                    </a:lnTo>
                    <a:lnTo>
                      <a:pt x="1141" y="3213"/>
                    </a:lnTo>
                    <a:lnTo>
                      <a:pt x="1147" y="3207"/>
                    </a:lnTo>
                    <a:lnTo>
                      <a:pt x="1151" y="3200"/>
                    </a:lnTo>
                    <a:lnTo>
                      <a:pt x="1156" y="3194"/>
                    </a:lnTo>
                    <a:lnTo>
                      <a:pt x="1164" y="3178"/>
                    </a:lnTo>
                    <a:lnTo>
                      <a:pt x="1171" y="3159"/>
                    </a:lnTo>
                    <a:lnTo>
                      <a:pt x="1175" y="3142"/>
                    </a:lnTo>
                    <a:lnTo>
                      <a:pt x="1181" y="3127"/>
                    </a:lnTo>
                    <a:lnTo>
                      <a:pt x="1186" y="3114"/>
                    </a:lnTo>
                    <a:lnTo>
                      <a:pt x="1190" y="3106"/>
                    </a:lnTo>
                    <a:lnTo>
                      <a:pt x="1202" y="3097"/>
                    </a:lnTo>
                    <a:lnTo>
                      <a:pt x="1217" y="3087"/>
                    </a:lnTo>
                    <a:lnTo>
                      <a:pt x="1235" y="3077"/>
                    </a:lnTo>
                    <a:lnTo>
                      <a:pt x="1257" y="3066"/>
                    </a:lnTo>
                    <a:lnTo>
                      <a:pt x="1280" y="3056"/>
                    </a:lnTo>
                    <a:lnTo>
                      <a:pt x="1304" y="3046"/>
                    </a:lnTo>
                    <a:lnTo>
                      <a:pt x="1330" y="3035"/>
                    </a:lnTo>
                    <a:lnTo>
                      <a:pt x="1356" y="3025"/>
                    </a:lnTo>
                    <a:lnTo>
                      <a:pt x="1408" y="3008"/>
                    </a:lnTo>
                    <a:lnTo>
                      <a:pt x="1456" y="2994"/>
                    </a:lnTo>
                    <a:lnTo>
                      <a:pt x="1476" y="2988"/>
                    </a:lnTo>
                    <a:lnTo>
                      <a:pt x="1494" y="2985"/>
                    </a:lnTo>
                    <a:lnTo>
                      <a:pt x="1508" y="2981"/>
                    </a:lnTo>
                    <a:lnTo>
                      <a:pt x="1518" y="2981"/>
                    </a:lnTo>
                    <a:lnTo>
                      <a:pt x="1536" y="2983"/>
                    </a:lnTo>
                    <a:lnTo>
                      <a:pt x="1554" y="2985"/>
                    </a:lnTo>
                    <a:lnTo>
                      <a:pt x="1569" y="2989"/>
                    </a:lnTo>
                    <a:lnTo>
                      <a:pt x="1582" y="2995"/>
                    </a:lnTo>
                    <a:lnTo>
                      <a:pt x="1595" y="3000"/>
                    </a:lnTo>
                    <a:lnTo>
                      <a:pt x="1607" y="3004"/>
                    </a:lnTo>
                    <a:lnTo>
                      <a:pt x="1621" y="3008"/>
                    </a:lnTo>
                    <a:lnTo>
                      <a:pt x="1636" y="3009"/>
                    </a:lnTo>
                    <a:lnTo>
                      <a:pt x="1649" y="3008"/>
                    </a:lnTo>
                    <a:lnTo>
                      <a:pt x="1659" y="3007"/>
                    </a:lnTo>
                    <a:lnTo>
                      <a:pt x="1667" y="3003"/>
                    </a:lnTo>
                    <a:lnTo>
                      <a:pt x="1674" y="3000"/>
                    </a:lnTo>
                    <a:lnTo>
                      <a:pt x="1679" y="2994"/>
                    </a:lnTo>
                    <a:lnTo>
                      <a:pt x="1682" y="2988"/>
                    </a:lnTo>
                    <a:lnTo>
                      <a:pt x="1683" y="2983"/>
                    </a:lnTo>
                    <a:lnTo>
                      <a:pt x="1684" y="2975"/>
                    </a:lnTo>
                    <a:lnTo>
                      <a:pt x="1685" y="2958"/>
                    </a:lnTo>
                    <a:lnTo>
                      <a:pt x="1684" y="2941"/>
                    </a:lnTo>
                    <a:lnTo>
                      <a:pt x="1685" y="2932"/>
                    </a:lnTo>
                    <a:lnTo>
                      <a:pt x="1687" y="2923"/>
                    </a:lnTo>
                    <a:lnTo>
                      <a:pt x="1689" y="2914"/>
                    </a:lnTo>
                    <a:lnTo>
                      <a:pt x="1691" y="2905"/>
                    </a:lnTo>
                    <a:lnTo>
                      <a:pt x="1696" y="2899"/>
                    </a:lnTo>
                    <a:lnTo>
                      <a:pt x="1704" y="2894"/>
                    </a:lnTo>
                    <a:lnTo>
                      <a:pt x="1714" y="2888"/>
                    </a:lnTo>
                    <a:lnTo>
                      <a:pt x="1726" y="2884"/>
                    </a:lnTo>
                    <a:lnTo>
                      <a:pt x="1738" y="2880"/>
                    </a:lnTo>
                    <a:lnTo>
                      <a:pt x="1751" y="2876"/>
                    </a:lnTo>
                    <a:lnTo>
                      <a:pt x="1763" y="2872"/>
                    </a:lnTo>
                    <a:lnTo>
                      <a:pt x="1775" y="2869"/>
                    </a:lnTo>
                    <a:lnTo>
                      <a:pt x="1790" y="2860"/>
                    </a:lnTo>
                    <a:lnTo>
                      <a:pt x="1810" y="2841"/>
                    </a:lnTo>
                    <a:lnTo>
                      <a:pt x="1836" y="2820"/>
                    </a:lnTo>
                    <a:lnTo>
                      <a:pt x="1862" y="2794"/>
                    </a:lnTo>
                    <a:lnTo>
                      <a:pt x="1887" y="2770"/>
                    </a:lnTo>
                    <a:lnTo>
                      <a:pt x="1908" y="2750"/>
                    </a:lnTo>
                    <a:lnTo>
                      <a:pt x="1923" y="2736"/>
                    </a:lnTo>
                    <a:lnTo>
                      <a:pt x="1929" y="2730"/>
                    </a:lnTo>
                    <a:lnTo>
                      <a:pt x="1933" y="2711"/>
                    </a:lnTo>
                    <a:lnTo>
                      <a:pt x="1937" y="2688"/>
                    </a:lnTo>
                    <a:lnTo>
                      <a:pt x="1940" y="2665"/>
                    </a:lnTo>
                    <a:lnTo>
                      <a:pt x="1946" y="2643"/>
                    </a:lnTo>
                    <a:lnTo>
                      <a:pt x="1949" y="2633"/>
                    </a:lnTo>
                    <a:lnTo>
                      <a:pt x="1954" y="2624"/>
                    </a:lnTo>
                    <a:lnTo>
                      <a:pt x="1959" y="2616"/>
                    </a:lnTo>
                    <a:lnTo>
                      <a:pt x="1965" y="2609"/>
                    </a:lnTo>
                    <a:lnTo>
                      <a:pt x="1973" y="2603"/>
                    </a:lnTo>
                    <a:lnTo>
                      <a:pt x="1982" y="2599"/>
                    </a:lnTo>
                    <a:lnTo>
                      <a:pt x="1993" y="2597"/>
                    </a:lnTo>
                    <a:lnTo>
                      <a:pt x="2005" y="2598"/>
                    </a:lnTo>
                    <a:lnTo>
                      <a:pt x="2011" y="2598"/>
                    </a:lnTo>
                    <a:lnTo>
                      <a:pt x="2017" y="2601"/>
                    </a:lnTo>
                    <a:lnTo>
                      <a:pt x="2023" y="2603"/>
                    </a:lnTo>
                    <a:lnTo>
                      <a:pt x="2028" y="2606"/>
                    </a:lnTo>
                    <a:lnTo>
                      <a:pt x="2039" y="2616"/>
                    </a:lnTo>
                    <a:lnTo>
                      <a:pt x="2049" y="2626"/>
                    </a:lnTo>
                    <a:lnTo>
                      <a:pt x="2062" y="2636"/>
                    </a:lnTo>
                    <a:lnTo>
                      <a:pt x="2074" y="2645"/>
                    </a:lnTo>
                    <a:lnTo>
                      <a:pt x="2082" y="2649"/>
                    </a:lnTo>
                    <a:lnTo>
                      <a:pt x="2090" y="2651"/>
                    </a:lnTo>
                    <a:lnTo>
                      <a:pt x="2099" y="2653"/>
                    </a:lnTo>
                    <a:lnTo>
                      <a:pt x="2110" y="2653"/>
                    </a:lnTo>
                    <a:lnTo>
                      <a:pt x="2127" y="2653"/>
                    </a:lnTo>
                    <a:lnTo>
                      <a:pt x="2142" y="2653"/>
                    </a:lnTo>
                    <a:lnTo>
                      <a:pt x="2156" y="2653"/>
                    </a:lnTo>
                    <a:lnTo>
                      <a:pt x="2167" y="2653"/>
                    </a:lnTo>
                    <a:lnTo>
                      <a:pt x="2176" y="2653"/>
                    </a:lnTo>
                    <a:lnTo>
                      <a:pt x="2184" y="2653"/>
                    </a:lnTo>
                    <a:lnTo>
                      <a:pt x="2189" y="2653"/>
                    </a:lnTo>
                    <a:lnTo>
                      <a:pt x="2193" y="2653"/>
                    </a:lnTo>
                    <a:lnTo>
                      <a:pt x="2200" y="2655"/>
                    </a:lnTo>
                    <a:lnTo>
                      <a:pt x="2207" y="2656"/>
                    </a:lnTo>
                    <a:lnTo>
                      <a:pt x="2214" y="2659"/>
                    </a:lnTo>
                    <a:lnTo>
                      <a:pt x="2220" y="2663"/>
                    </a:lnTo>
                    <a:lnTo>
                      <a:pt x="2231" y="2672"/>
                    </a:lnTo>
                    <a:lnTo>
                      <a:pt x="2242" y="2683"/>
                    </a:lnTo>
                    <a:lnTo>
                      <a:pt x="2252" y="2695"/>
                    </a:lnTo>
                    <a:lnTo>
                      <a:pt x="2263" y="2706"/>
                    </a:lnTo>
                    <a:lnTo>
                      <a:pt x="2269" y="2712"/>
                    </a:lnTo>
                    <a:lnTo>
                      <a:pt x="2276" y="2716"/>
                    </a:lnTo>
                    <a:lnTo>
                      <a:pt x="2283" y="2720"/>
                    </a:lnTo>
                    <a:lnTo>
                      <a:pt x="2291" y="2723"/>
                    </a:lnTo>
                    <a:lnTo>
                      <a:pt x="2301" y="2728"/>
                    </a:lnTo>
                    <a:lnTo>
                      <a:pt x="2311" y="2731"/>
                    </a:lnTo>
                    <a:lnTo>
                      <a:pt x="2323" y="2734"/>
                    </a:lnTo>
                    <a:lnTo>
                      <a:pt x="2334" y="2736"/>
                    </a:lnTo>
                    <a:lnTo>
                      <a:pt x="2357" y="2737"/>
                    </a:lnTo>
                    <a:lnTo>
                      <a:pt x="2381" y="2738"/>
                    </a:lnTo>
                    <a:lnTo>
                      <a:pt x="2404" y="2739"/>
                    </a:lnTo>
                    <a:lnTo>
                      <a:pt x="2427" y="2742"/>
                    </a:lnTo>
                    <a:lnTo>
                      <a:pt x="2439" y="2744"/>
                    </a:lnTo>
                    <a:lnTo>
                      <a:pt x="2450" y="2747"/>
                    </a:lnTo>
                    <a:lnTo>
                      <a:pt x="2461" y="2752"/>
                    </a:lnTo>
                    <a:lnTo>
                      <a:pt x="2472" y="2758"/>
                    </a:lnTo>
                    <a:lnTo>
                      <a:pt x="2481" y="2763"/>
                    </a:lnTo>
                    <a:lnTo>
                      <a:pt x="2489" y="2769"/>
                    </a:lnTo>
                    <a:lnTo>
                      <a:pt x="2496" y="2776"/>
                    </a:lnTo>
                    <a:lnTo>
                      <a:pt x="2502" y="2783"/>
                    </a:lnTo>
                    <a:lnTo>
                      <a:pt x="2512" y="2798"/>
                    </a:lnTo>
                    <a:lnTo>
                      <a:pt x="2519" y="2813"/>
                    </a:lnTo>
                    <a:lnTo>
                      <a:pt x="2527" y="2828"/>
                    </a:lnTo>
                    <a:lnTo>
                      <a:pt x="2535" y="2841"/>
                    </a:lnTo>
                    <a:lnTo>
                      <a:pt x="2541" y="2847"/>
                    </a:lnTo>
                    <a:lnTo>
                      <a:pt x="2546" y="2853"/>
                    </a:lnTo>
                    <a:lnTo>
                      <a:pt x="2553" y="2859"/>
                    </a:lnTo>
                    <a:lnTo>
                      <a:pt x="2561" y="2862"/>
                    </a:lnTo>
                    <a:lnTo>
                      <a:pt x="2573" y="2867"/>
                    </a:lnTo>
                    <a:lnTo>
                      <a:pt x="2583" y="2870"/>
                    </a:lnTo>
                    <a:lnTo>
                      <a:pt x="2594" y="2871"/>
                    </a:lnTo>
                    <a:lnTo>
                      <a:pt x="2603" y="2872"/>
                    </a:lnTo>
                    <a:lnTo>
                      <a:pt x="2611" y="2872"/>
                    </a:lnTo>
                    <a:lnTo>
                      <a:pt x="2619" y="2871"/>
                    </a:lnTo>
                    <a:lnTo>
                      <a:pt x="2627" y="2869"/>
                    </a:lnTo>
                    <a:lnTo>
                      <a:pt x="2634" y="2867"/>
                    </a:lnTo>
                    <a:lnTo>
                      <a:pt x="2650" y="2862"/>
                    </a:lnTo>
                    <a:lnTo>
                      <a:pt x="2665" y="2858"/>
                    </a:lnTo>
                    <a:lnTo>
                      <a:pt x="2673" y="2856"/>
                    </a:lnTo>
                    <a:lnTo>
                      <a:pt x="2682" y="2855"/>
                    </a:lnTo>
                    <a:lnTo>
                      <a:pt x="2691" y="2855"/>
                    </a:lnTo>
                    <a:lnTo>
                      <a:pt x="2701" y="2855"/>
                    </a:lnTo>
                    <a:lnTo>
                      <a:pt x="2713" y="2858"/>
                    </a:lnTo>
                    <a:lnTo>
                      <a:pt x="2724" y="2860"/>
                    </a:lnTo>
                    <a:lnTo>
                      <a:pt x="2735" y="2862"/>
                    </a:lnTo>
                    <a:lnTo>
                      <a:pt x="2745" y="2866"/>
                    </a:lnTo>
                    <a:lnTo>
                      <a:pt x="2765" y="2874"/>
                    </a:lnTo>
                    <a:lnTo>
                      <a:pt x="2786" y="2883"/>
                    </a:lnTo>
                    <a:lnTo>
                      <a:pt x="2806" y="2891"/>
                    </a:lnTo>
                    <a:lnTo>
                      <a:pt x="2827" y="2898"/>
                    </a:lnTo>
                    <a:lnTo>
                      <a:pt x="2839" y="2900"/>
                    </a:lnTo>
                    <a:lnTo>
                      <a:pt x="2850" y="2902"/>
                    </a:lnTo>
                    <a:lnTo>
                      <a:pt x="2863" y="2903"/>
                    </a:lnTo>
                    <a:lnTo>
                      <a:pt x="2876" y="2905"/>
                    </a:lnTo>
                    <a:lnTo>
                      <a:pt x="2895" y="2907"/>
                    </a:lnTo>
                    <a:lnTo>
                      <a:pt x="2912" y="2909"/>
                    </a:lnTo>
                    <a:lnTo>
                      <a:pt x="2927" y="2914"/>
                    </a:lnTo>
                    <a:lnTo>
                      <a:pt x="2941" y="2919"/>
                    </a:lnTo>
                    <a:lnTo>
                      <a:pt x="2952" y="2926"/>
                    </a:lnTo>
                    <a:lnTo>
                      <a:pt x="2963" y="2934"/>
                    </a:lnTo>
                    <a:lnTo>
                      <a:pt x="2972" y="2942"/>
                    </a:lnTo>
                    <a:lnTo>
                      <a:pt x="2980" y="2950"/>
                    </a:lnTo>
                    <a:lnTo>
                      <a:pt x="2995" y="2969"/>
                    </a:lnTo>
                    <a:lnTo>
                      <a:pt x="3009" y="2987"/>
                    </a:lnTo>
                    <a:lnTo>
                      <a:pt x="3015" y="2997"/>
                    </a:lnTo>
                    <a:lnTo>
                      <a:pt x="3023" y="3005"/>
                    </a:lnTo>
                    <a:lnTo>
                      <a:pt x="3033" y="3015"/>
                    </a:lnTo>
                    <a:lnTo>
                      <a:pt x="3043" y="3023"/>
                    </a:lnTo>
                    <a:lnTo>
                      <a:pt x="3328" y="3079"/>
                    </a:lnTo>
                    <a:lnTo>
                      <a:pt x="3336" y="3078"/>
                    </a:lnTo>
                    <a:lnTo>
                      <a:pt x="3343" y="3075"/>
                    </a:lnTo>
                    <a:lnTo>
                      <a:pt x="3351" y="3073"/>
                    </a:lnTo>
                    <a:lnTo>
                      <a:pt x="3358" y="3069"/>
                    </a:lnTo>
                    <a:lnTo>
                      <a:pt x="3365" y="3063"/>
                    </a:lnTo>
                    <a:lnTo>
                      <a:pt x="3371" y="3057"/>
                    </a:lnTo>
                    <a:lnTo>
                      <a:pt x="3378" y="3049"/>
                    </a:lnTo>
                    <a:lnTo>
                      <a:pt x="3383" y="3041"/>
                    </a:lnTo>
                    <a:lnTo>
                      <a:pt x="3395" y="3024"/>
                    </a:lnTo>
                    <a:lnTo>
                      <a:pt x="3405" y="3003"/>
                    </a:lnTo>
                    <a:lnTo>
                      <a:pt x="3416" y="2983"/>
                    </a:lnTo>
                    <a:lnTo>
                      <a:pt x="3426" y="2960"/>
                    </a:lnTo>
                    <a:lnTo>
                      <a:pt x="3437" y="2938"/>
                    </a:lnTo>
                    <a:lnTo>
                      <a:pt x="3449" y="2916"/>
                    </a:lnTo>
                    <a:lnTo>
                      <a:pt x="3461" y="2897"/>
                    </a:lnTo>
                    <a:lnTo>
                      <a:pt x="3475" y="2878"/>
                    </a:lnTo>
                    <a:lnTo>
                      <a:pt x="3483" y="2870"/>
                    </a:lnTo>
                    <a:lnTo>
                      <a:pt x="3491" y="2863"/>
                    </a:lnTo>
                    <a:lnTo>
                      <a:pt x="3499" y="2858"/>
                    </a:lnTo>
                    <a:lnTo>
                      <a:pt x="3508" y="2852"/>
                    </a:lnTo>
                    <a:lnTo>
                      <a:pt x="3519" y="2847"/>
                    </a:lnTo>
                    <a:lnTo>
                      <a:pt x="3528" y="2844"/>
                    </a:lnTo>
                    <a:lnTo>
                      <a:pt x="3539" y="2843"/>
                    </a:lnTo>
                    <a:lnTo>
                      <a:pt x="3551" y="2841"/>
                    </a:lnTo>
                    <a:lnTo>
                      <a:pt x="3559" y="2843"/>
                    </a:lnTo>
                    <a:lnTo>
                      <a:pt x="3567" y="2845"/>
                    </a:lnTo>
                    <a:lnTo>
                      <a:pt x="3574" y="2848"/>
                    </a:lnTo>
                    <a:lnTo>
                      <a:pt x="3580" y="2853"/>
                    </a:lnTo>
                    <a:lnTo>
                      <a:pt x="3584" y="2858"/>
                    </a:lnTo>
                    <a:lnTo>
                      <a:pt x="3589" y="2863"/>
                    </a:lnTo>
                    <a:lnTo>
                      <a:pt x="3593" y="2870"/>
                    </a:lnTo>
                    <a:lnTo>
                      <a:pt x="3597" y="2876"/>
                    </a:lnTo>
                    <a:lnTo>
                      <a:pt x="3604" y="2890"/>
                    </a:lnTo>
                    <a:lnTo>
                      <a:pt x="3610" y="2900"/>
                    </a:lnTo>
                    <a:lnTo>
                      <a:pt x="3614" y="2905"/>
                    </a:lnTo>
                    <a:lnTo>
                      <a:pt x="3619" y="2908"/>
                    </a:lnTo>
                    <a:lnTo>
                      <a:pt x="3622" y="2910"/>
                    </a:lnTo>
                    <a:lnTo>
                      <a:pt x="3628" y="2911"/>
                    </a:lnTo>
                    <a:lnTo>
                      <a:pt x="3638" y="2910"/>
                    </a:lnTo>
                    <a:lnTo>
                      <a:pt x="3647" y="2908"/>
                    </a:lnTo>
                    <a:lnTo>
                      <a:pt x="3656" y="2903"/>
                    </a:lnTo>
                    <a:lnTo>
                      <a:pt x="3666" y="2898"/>
                    </a:lnTo>
                    <a:lnTo>
                      <a:pt x="3674" y="2892"/>
                    </a:lnTo>
                    <a:lnTo>
                      <a:pt x="3683" y="2884"/>
                    </a:lnTo>
                    <a:lnTo>
                      <a:pt x="3690" y="2876"/>
                    </a:lnTo>
                    <a:lnTo>
                      <a:pt x="3698" y="2868"/>
                    </a:lnTo>
                    <a:lnTo>
                      <a:pt x="3713" y="2851"/>
                    </a:lnTo>
                    <a:lnTo>
                      <a:pt x="3726" y="2835"/>
                    </a:lnTo>
                    <a:lnTo>
                      <a:pt x="3733" y="2828"/>
                    </a:lnTo>
                    <a:lnTo>
                      <a:pt x="3740" y="2822"/>
                    </a:lnTo>
                    <a:lnTo>
                      <a:pt x="3746" y="2817"/>
                    </a:lnTo>
                    <a:lnTo>
                      <a:pt x="3753" y="2814"/>
                    </a:lnTo>
                    <a:lnTo>
                      <a:pt x="3762" y="2812"/>
                    </a:lnTo>
                    <a:lnTo>
                      <a:pt x="3770" y="2811"/>
                    </a:lnTo>
                    <a:lnTo>
                      <a:pt x="3778" y="2809"/>
                    </a:lnTo>
                    <a:lnTo>
                      <a:pt x="3786" y="2811"/>
                    </a:lnTo>
                    <a:lnTo>
                      <a:pt x="3801" y="2812"/>
                    </a:lnTo>
                    <a:lnTo>
                      <a:pt x="3816" y="2815"/>
                    </a:lnTo>
                    <a:lnTo>
                      <a:pt x="3829" y="2817"/>
                    </a:lnTo>
                    <a:lnTo>
                      <a:pt x="3844" y="2821"/>
                    </a:lnTo>
                    <a:lnTo>
                      <a:pt x="3852" y="2822"/>
                    </a:lnTo>
                    <a:lnTo>
                      <a:pt x="3860" y="2822"/>
                    </a:lnTo>
                    <a:lnTo>
                      <a:pt x="3868" y="2822"/>
                    </a:lnTo>
                    <a:lnTo>
                      <a:pt x="3878" y="2821"/>
                    </a:lnTo>
                    <a:lnTo>
                      <a:pt x="3891" y="2817"/>
                    </a:lnTo>
                    <a:lnTo>
                      <a:pt x="3904" y="2813"/>
                    </a:lnTo>
                    <a:lnTo>
                      <a:pt x="3915" y="2807"/>
                    </a:lnTo>
                    <a:lnTo>
                      <a:pt x="3928" y="2800"/>
                    </a:lnTo>
                    <a:lnTo>
                      <a:pt x="3951" y="2784"/>
                    </a:lnTo>
                    <a:lnTo>
                      <a:pt x="3974" y="2767"/>
                    </a:lnTo>
                    <a:lnTo>
                      <a:pt x="3996" y="2749"/>
                    </a:lnTo>
                    <a:lnTo>
                      <a:pt x="4017" y="2730"/>
                    </a:lnTo>
                    <a:lnTo>
                      <a:pt x="4028" y="2722"/>
                    </a:lnTo>
                    <a:lnTo>
                      <a:pt x="4038" y="2715"/>
                    </a:lnTo>
                    <a:lnTo>
                      <a:pt x="4048" y="2708"/>
                    </a:lnTo>
                    <a:lnTo>
                      <a:pt x="4059" y="2703"/>
                    </a:lnTo>
                    <a:lnTo>
                      <a:pt x="4070" y="2687"/>
                    </a:lnTo>
                    <a:lnTo>
                      <a:pt x="4079" y="2671"/>
                    </a:lnTo>
                    <a:lnTo>
                      <a:pt x="4086" y="2652"/>
                    </a:lnTo>
                    <a:lnTo>
                      <a:pt x="4093" y="2633"/>
                    </a:lnTo>
                    <a:lnTo>
                      <a:pt x="4098" y="2613"/>
                    </a:lnTo>
                    <a:lnTo>
                      <a:pt x="4102" y="2591"/>
                    </a:lnTo>
                    <a:lnTo>
                      <a:pt x="4107" y="2571"/>
                    </a:lnTo>
                    <a:lnTo>
                      <a:pt x="4110" y="2549"/>
                    </a:lnTo>
                    <a:lnTo>
                      <a:pt x="4117" y="2507"/>
                    </a:lnTo>
                    <a:lnTo>
                      <a:pt x="4126" y="2465"/>
                    </a:lnTo>
                    <a:lnTo>
                      <a:pt x="4132" y="2446"/>
                    </a:lnTo>
                    <a:lnTo>
                      <a:pt x="4139" y="2427"/>
                    </a:lnTo>
                    <a:lnTo>
                      <a:pt x="4147" y="2411"/>
                    </a:lnTo>
                    <a:lnTo>
                      <a:pt x="4156" y="2395"/>
                    </a:lnTo>
                    <a:lnTo>
                      <a:pt x="4163" y="2393"/>
                    </a:lnTo>
                    <a:lnTo>
                      <a:pt x="4177" y="2387"/>
                    </a:lnTo>
                    <a:lnTo>
                      <a:pt x="4196" y="2382"/>
                    </a:lnTo>
                    <a:lnTo>
                      <a:pt x="4222" y="2375"/>
                    </a:lnTo>
                    <a:lnTo>
                      <a:pt x="4282" y="2359"/>
                    </a:lnTo>
                    <a:lnTo>
                      <a:pt x="4352" y="2341"/>
                    </a:lnTo>
                    <a:lnTo>
                      <a:pt x="4422" y="2325"/>
                    </a:lnTo>
                    <a:lnTo>
                      <a:pt x="4484" y="2312"/>
                    </a:lnTo>
                    <a:lnTo>
                      <a:pt x="4531" y="2302"/>
                    </a:lnTo>
                    <a:lnTo>
                      <a:pt x="4553" y="2298"/>
                    </a:lnTo>
                    <a:lnTo>
                      <a:pt x="4566" y="2299"/>
                    </a:lnTo>
                    <a:lnTo>
                      <a:pt x="4577" y="2301"/>
                    </a:lnTo>
                    <a:lnTo>
                      <a:pt x="4588" y="2305"/>
                    </a:lnTo>
                    <a:lnTo>
                      <a:pt x="4598" y="2309"/>
                    </a:lnTo>
                    <a:lnTo>
                      <a:pt x="4617" y="2321"/>
                    </a:lnTo>
                    <a:lnTo>
                      <a:pt x="4635" y="2333"/>
                    </a:lnTo>
                    <a:lnTo>
                      <a:pt x="4645" y="2339"/>
                    </a:lnTo>
                    <a:lnTo>
                      <a:pt x="4654" y="2346"/>
                    </a:lnTo>
                    <a:lnTo>
                      <a:pt x="4664" y="2352"/>
                    </a:lnTo>
                    <a:lnTo>
                      <a:pt x="4674" y="2357"/>
                    </a:lnTo>
                    <a:lnTo>
                      <a:pt x="4686" y="2362"/>
                    </a:lnTo>
                    <a:lnTo>
                      <a:pt x="4699" y="2366"/>
                    </a:lnTo>
                    <a:lnTo>
                      <a:pt x="4712" y="2368"/>
                    </a:lnTo>
                    <a:lnTo>
                      <a:pt x="4727" y="2368"/>
                    </a:lnTo>
                    <a:lnTo>
                      <a:pt x="4751" y="2368"/>
                    </a:lnTo>
                    <a:lnTo>
                      <a:pt x="4772" y="2368"/>
                    </a:lnTo>
                    <a:lnTo>
                      <a:pt x="4790" y="2368"/>
                    </a:lnTo>
                    <a:lnTo>
                      <a:pt x="4805" y="2368"/>
                    </a:lnTo>
                    <a:lnTo>
                      <a:pt x="4819" y="2368"/>
                    </a:lnTo>
                    <a:lnTo>
                      <a:pt x="4832" y="2368"/>
                    </a:lnTo>
                    <a:lnTo>
                      <a:pt x="4842" y="2368"/>
                    </a:lnTo>
                    <a:lnTo>
                      <a:pt x="4852" y="2368"/>
                    </a:lnTo>
                    <a:lnTo>
                      <a:pt x="4877" y="2370"/>
                    </a:lnTo>
                    <a:lnTo>
                      <a:pt x="4901" y="2375"/>
                    </a:lnTo>
                    <a:lnTo>
                      <a:pt x="4926" y="2380"/>
                    </a:lnTo>
                    <a:lnTo>
                      <a:pt x="4950" y="2388"/>
                    </a:lnTo>
                    <a:lnTo>
                      <a:pt x="4997" y="2407"/>
                    </a:lnTo>
                    <a:lnTo>
                      <a:pt x="5046" y="2426"/>
                    </a:lnTo>
                    <a:lnTo>
                      <a:pt x="5071" y="2437"/>
                    </a:lnTo>
                    <a:lnTo>
                      <a:pt x="5096" y="2446"/>
                    </a:lnTo>
                    <a:lnTo>
                      <a:pt x="5123" y="2455"/>
                    </a:lnTo>
                    <a:lnTo>
                      <a:pt x="5150" y="2463"/>
                    </a:lnTo>
                    <a:lnTo>
                      <a:pt x="5179" y="2470"/>
                    </a:lnTo>
                    <a:lnTo>
                      <a:pt x="5208" y="2474"/>
                    </a:lnTo>
                    <a:lnTo>
                      <a:pt x="5239" y="2478"/>
                    </a:lnTo>
                    <a:lnTo>
                      <a:pt x="5271" y="2479"/>
                    </a:lnTo>
                    <a:lnTo>
                      <a:pt x="5248" y="2414"/>
                    </a:lnTo>
                    <a:lnTo>
                      <a:pt x="5228" y="2351"/>
                    </a:lnTo>
                    <a:lnTo>
                      <a:pt x="5218" y="2320"/>
                    </a:lnTo>
                    <a:lnTo>
                      <a:pt x="5210" y="2290"/>
                    </a:lnTo>
                    <a:lnTo>
                      <a:pt x="5202" y="2259"/>
                    </a:lnTo>
                    <a:lnTo>
                      <a:pt x="5195" y="2229"/>
                    </a:lnTo>
                    <a:lnTo>
                      <a:pt x="5188" y="2200"/>
                    </a:lnTo>
                    <a:lnTo>
                      <a:pt x="5182" y="2171"/>
                    </a:lnTo>
                    <a:lnTo>
                      <a:pt x="5178" y="2141"/>
                    </a:lnTo>
                    <a:lnTo>
                      <a:pt x="5173" y="2110"/>
                    </a:lnTo>
                    <a:lnTo>
                      <a:pt x="5170" y="2080"/>
                    </a:lnTo>
                    <a:lnTo>
                      <a:pt x="5167" y="2049"/>
                    </a:lnTo>
                    <a:lnTo>
                      <a:pt x="5166" y="2017"/>
                    </a:lnTo>
                    <a:lnTo>
                      <a:pt x="5166" y="1985"/>
                    </a:lnTo>
                    <a:lnTo>
                      <a:pt x="5165" y="1974"/>
                    </a:lnTo>
                    <a:lnTo>
                      <a:pt x="5164" y="1965"/>
                    </a:lnTo>
                    <a:lnTo>
                      <a:pt x="5161" y="1956"/>
                    </a:lnTo>
                    <a:lnTo>
                      <a:pt x="5157" y="1947"/>
                    </a:lnTo>
                    <a:lnTo>
                      <a:pt x="5148" y="1930"/>
                    </a:lnTo>
                    <a:lnTo>
                      <a:pt x="5138" y="1915"/>
                    </a:lnTo>
                    <a:lnTo>
                      <a:pt x="5126" y="1900"/>
                    </a:lnTo>
                    <a:lnTo>
                      <a:pt x="5116" y="1886"/>
                    </a:lnTo>
                    <a:lnTo>
                      <a:pt x="5111" y="1879"/>
                    </a:lnTo>
                    <a:lnTo>
                      <a:pt x="5108" y="1872"/>
                    </a:lnTo>
                    <a:lnTo>
                      <a:pt x="5106" y="1867"/>
                    </a:lnTo>
                    <a:lnTo>
                      <a:pt x="5103" y="1860"/>
                    </a:lnTo>
                    <a:lnTo>
                      <a:pt x="5098" y="1845"/>
                    </a:lnTo>
                    <a:lnTo>
                      <a:pt x="5094" y="1831"/>
                    </a:lnTo>
                    <a:lnTo>
                      <a:pt x="5091" y="1817"/>
                    </a:lnTo>
                    <a:lnTo>
                      <a:pt x="5090" y="1804"/>
                    </a:lnTo>
                    <a:lnTo>
                      <a:pt x="5090" y="1790"/>
                    </a:lnTo>
                    <a:lnTo>
                      <a:pt x="5091" y="1776"/>
                    </a:lnTo>
                    <a:lnTo>
                      <a:pt x="5092" y="1762"/>
                    </a:lnTo>
                    <a:lnTo>
                      <a:pt x="5094" y="1749"/>
                    </a:lnTo>
                    <a:lnTo>
                      <a:pt x="5099" y="1721"/>
                    </a:lnTo>
                    <a:lnTo>
                      <a:pt x="5104" y="1693"/>
                    </a:lnTo>
                    <a:lnTo>
                      <a:pt x="5107" y="1680"/>
                    </a:lnTo>
                    <a:lnTo>
                      <a:pt x="5109" y="1665"/>
                    </a:lnTo>
                    <a:lnTo>
                      <a:pt x="5110" y="1651"/>
                    </a:lnTo>
                    <a:lnTo>
                      <a:pt x="5110" y="1637"/>
                    </a:lnTo>
                    <a:lnTo>
                      <a:pt x="5102" y="1634"/>
                    </a:lnTo>
                    <a:lnTo>
                      <a:pt x="5094" y="1632"/>
                    </a:lnTo>
                    <a:lnTo>
                      <a:pt x="5086" y="1629"/>
                    </a:lnTo>
                    <a:lnTo>
                      <a:pt x="5078" y="1627"/>
                    </a:lnTo>
                    <a:lnTo>
                      <a:pt x="5070" y="1626"/>
                    </a:lnTo>
                    <a:lnTo>
                      <a:pt x="5061" y="1623"/>
                    </a:lnTo>
                    <a:lnTo>
                      <a:pt x="5051" y="1623"/>
                    </a:lnTo>
                    <a:lnTo>
                      <a:pt x="5040" y="1622"/>
                    </a:lnTo>
                    <a:lnTo>
                      <a:pt x="5031" y="1623"/>
                    </a:lnTo>
                    <a:lnTo>
                      <a:pt x="5022" y="1625"/>
                    </a:lnTo>
                    <a:lnTo>
                      <a:pt x="5012" y="1628"/>
                    </a:lnTo>
                    <a:lnTo>
                      <a:pt x="5000" y="1632"/>
                    </a:lnTo>
                    <a:lnTo>
                      <a:pt x="4977" y="1640"/>
                    </a:lnTo>
                    <a:lnTo>
                      <a:pt x="4952" y="1650"/>
                    </a:lnTo>
                    <a:lnTo>
                      <a:pt x="4924" y="1659"/>
                    </a:lnTo>
                    <a:lnTo>
                      <a:pt x="4896" y="1667"/>
                    </a:lnTo>
                    <a:lnTo>
                      <a:pt x="4881" y="1669"/>
                    </a:lnTo>
                    <a:lnTo>
                      <a:pt x="4865" y="1672"/>
                    </a:lnTo>
                    <a:lnTo>
                      <a:pt x="4849" y="1672"/>
                    </a:lnTo>
                    <a:lnTo>
                      <a:pt x="4832" y="1672"/>
                    </a:lnTo>
                    <a:lnTo>
                      <a:pt x="4814" y="1671"/>
                    </a:lnTo>
                    <a:lnTo>
                      <a:pt x="4798" y="1669"/>
                    </a:lnTo>
                    <a:lnTo>
                      <a:pt x="4782" y="1666"/>
                    </a:lnTo>
                    <a:lnTo>
                      <a:pt x="4767" y="1661"/>
                    </a:lnTo>
                    <a:lnTo>
                      <a:pt x="4752" y="1657"/>
                    </a:lnTo>
                    <a:lnTo>
                      <a:pt x="4739" y="1650"/>
                    </a:lnTo>
                    <a:lnTo>
                      <a:pt x="4725" y="1643"/>
                    </a:lnTo>
                    <a:lnTo>
                      <a:pt x="4711" y="1636"/>
                    </a:lnTo>
                    <a:lnTo>
                      <a:pt x="4699" y="1627"/>
                    </a:lnTo>
                    <a:lnTo>
                      <a:pt x="4686" y="1618"/>
                    </a:lnTo>
                    <a:lnTo>
                      <a:pt x="4674" y="1609"/>
                    </a:lnTo>
                    <a:lnTo>
                      <a:pt x="4663" y="1599"/>
                    </a:lnTo>
                    <a:lnTo>
                      <a:pt x="4639" y="1578"/>
                    </a:lnTo>
                    <a:lnTo>
                      <a:pt x="4617" y="1557"/>
                    </a:lnTo>
                    <a:lnTo>
                      <a:pt x="4594" y="1535"/>
                    </a:lnTo>
                    <a:lnTo>
                      <a:pt x="4571" y="1515"/>
                    </a:lnTo>
                    <a:lnTo>
                      <a:pt x="4548" y="1495"/>
                    </a:lnTo>
                    <a:lnTo>
                      <a:pt x="4523" y="1478"/>
                    </a:lnTo>
                    <a:lnTo>
                      <a:pt x="4511" y="1470"/>
                    </a:lnTo>
                    <a:lnTo>
                      <a:pt x="4498" y="1463"/>
                    </a:lnTo>
                    <a:lnTo>
                      <a:pt x="4484" y="1457"/>
                    </a:lnTo>
                    <a:lnTo>
                      <a:pt x="4469" y="1451"/>
                    </a:lnTo>
                    <a:lnTo>
                      <a:pt x="4455" y="1447"/>
                    </a:lnTo>
                    <a:lnTo>
                      <a:pt x="4439" y="1445"/>
                    </a:lnTo>
                    <a:lnTo>
                      <a:pt x="4423" y="1442"/>
                    </a:lnTo>
                    <a:lnTo>
                      <a:pt x="4407" y="1441"/>
                    </a:lnTo>
                    <a:lnTo>
                      <a:pt x="4407" y="1379"/>
                    </a:lnTo>
                    <a:lnTo>
                      <a:pt x="4420" y="1361"/>
                    </a:lnTo>
                    <a:lnTo>
                      <a:pt x="4434" y="1344"/>
                    </a:lnTo>
                    <a:lnTo>
                      <a:pt x="4447" y="1328"/>
                    </a:lnTo>
                    <a:lnTo>
                      <a:pt x="4462" y="1312"/>
                    </a:lnTo>
                    <a:lnTo>
                      <a:pt x="4477" y="1298"/>
                    </a:lnTo>
                    <a:lnTo>
                      <a:pt x="4494" y="1284"/>
                    </a:lnTo>
                    <a:lnTo>
                      <a:pt x="4513" y="1271"/>
                    </a:lnTo>
                    <a:lnTo>
                      <a:pt x="4532" y="1261"/>
                    </a:lnTo>
                    <a:lnTo>
                      <a:pt x="4529" y="1251"/>
                    </a:lnTo>
                    <a:lnTo>
                      <a:pt x="4524" y="1242"/>
                    </a:lnTo>
                    <a:lnTo>
                      <a:pt x="4520" y="1234"/>
                    </a:lnTo>
                    <a:lnTo>
                      <a:pt x="4514" y="1226"/>
                    </a:lnTo>
                    <a:lnTo>
                      <a:pt x="4500" y="1211"/>
                    </a:lnTo>
                    <a:lnTo>
                      <a:pt x="4485" y="1196"/>
                    </a:lnTo>
                    <a:lnTo>
                      <a:pt x="4451" y="1170"/>
                    </a:lnTo>
                    <a:lnTo>
                      <a:pt x="4415" y="1146"/>
                    </a:lnTo>
                    <a:lnTo>
                      <a:pt x="4398" y="1135"/>
                    </a:lnTo>
                    <a:lnTo>
                      <a:pt x="4382" y="1121"/>
                    </a:lnTo>
                    <a:lnTo>
                      <a:pt x="4367" y="1107"/>
                    </a:lnTo>
                    <a:lnTo>
                      <a:pt x="4355" y="1094"/>
                    </a:lnTo>
                    <a:lnTo>
                      <a:pt x="4349" y="1086"/>
                    </a:lnTo>
                    <a:lnTo>
                      <a:pt x="4343" y="1076"/>
                    </a:lnTo>
                    <a:lnTo>
                      <a:pt x="4340" y="1068"/>
                    </a:lnTo>
                    <a:lnTo>
                      <a:pt x="4336" y="1059"/>
                    </a:lnTo>
                    <a:lnTo>
                      <a:pt x="4333" y="1049"/>
                    </a:lnTo>
                    <a:lnTo>
                      <a:pt x="4332" y="1039"/>
                    </a:lnTo>
                    <a:lnTo>
                      <a:pt x="4330" y="1028"/>
                    </a:lnTo>
                    <a:lnTo>
                      <a:pt x="4330" y="1017"/>
                    </a:lnTo>
                    <a:lnTo>
                      <a:pt x="4332" y="1006"/>
                    </a:lnTo>
                    <a:lnTo>
                      <a:pt x="4333" y="997"/>
                    </a:lnTo>
                    <a:lnTo>
                      <a:pt x="4336" y="989"/>
                    </a:lnTo>
                    <a:lnTo>
                      <a:pt x="4341" y="981"/>
                    </a:lnTo>
                    <a:lnTo>
                      <a:pt x="4350" y="966"/>
                    </a:lnTo>
                    <a:lnTo>
                      <a:pt x="4361" y="953"/>
                    </a:lnTo>
                    <a:lnTo>
                      <a:pt x="4373" y="938"/>
                    </a:lnTo>
                    <a:lnTo>
                      <a:pt x="4383" y="920"/>
                    </a:lnTo>
                    <a:lnTo>
                      <a:pt x="4388" y="911"/>
                    </a:lnTo>
                    <a:lnTo>
                      <a:pt x="4390" y="901"/>
                    </a:lnTo>
                    <a:lnTo>
                      <a:pt x="4392" y="889"/>
                    </a:lnTo>
                    <a:lnTo>
                      <a:pt x="4394" y="878"/>
                    </a:lnTo>
                    <a:lnTo>
                      <a:pt x="4394" y="868"/>
                    </a:lnTo>
                    <a:lnTo>
                      <a:pt x="4394" y="860"/>
                    </a:lnTo>
                    <a:lnTo>
                      <a:pt x="4392" y="850"/>
                    </a:lnTo>
                    <a:lnTo>
                      <a:pt x="4390" y="844"/>
                    </a:lnTo>
                    <a:lnTo>
                      <a:pt x="4388" y="836"/>
                    </a:lnTo>
                    <a:lnTo>
                      <a:pt x="4386" y="829"/>
                    </a:lnTo>
                    <a:lnTo>
                      <a:pt x="4382" y="823"/>
                    </a:lnTo>
                    <a:lnTo>
                      <a:pt x="4378" y="816"/>
                    </a:lnTo>
                    <a:lnTo>
                      <a:pt x="4369" y="806"/>
                    </a:lnTo>
                    <a:lnTo>
                      <a:pt x="4359" y="795"/>
                    </a:lnTo>
                    <a:lnTo>
                      <a:pt x="4348" y="786"/>
                    </a:lnTo>
                    <a:lnTo>
                      <a:pt x="4335" y="777"/>
                    </a:lnTo>
                    <a:lnTo>
                      <a:pt x="4309" y="758"/>
                    </a:lnTo>
                    <a:lnTo>
                      <a:pt x="4282" y="737"/>
                    </a:lnTo>
                    <a:lnTo>
                      <a:pt x="4270" y="724"/>
                    </a:lnTo>
                    <a:lnTo>
                      <a:pt x="4259" y="709"/>
                    </a:lnTo>
                    <a:lnTo>
                      <a:pt x="4254" y="703"/>
                    </a:lnTo>
                    <a:lnTo>
                      <a:pt x="4249" y="695"/>
                    </a:lnTo>
                    <a:lnTo>
                      <a:pt x="4245" y="685"/>
                    </a:lnTo>
                    <a:lnTo>
                      <a:pt x="4240" y="675"/>
                    </a:lnTo>
                    <a:lnTo>
                      <a:pt x="4215" y="695"/>
                    </a:lnTo>
                    <a:lnTo>
                      <a:pt x="4185" y="716"/>
                    </a:lnTo>
                    <a:lnTo>
                      <a:pt x="4169" y="729"/>
                    </a:lnTo>
                    <a:lnTo>
                      <a:pt x="4152" y="740"/>
                    </a:lnTo>
                    <a:lnTo>
                      <a:pt x="4134" y="752"/>
                    </a:lnTo>
                    <a:lnTo>
                      <a:pt x="4116" y="762"/>
                    </a:lnTo>
                    <a:lnTo>
                      <a:pt x="4098" y="773"/>
                    </a:lnTo>
                    <a:lnTo>
                      <a:pt x="4079" y="782"/>
                    </a:lnTo>
                    <a:lnTo>
                      <a:pt x="4060" y="789"/>
                    </a:lnTo>
                    <a:lnTo>
                      <a:pt x="4040" y="793"/>
                    </a:lnTo>
                    <a:lnTo>
                      <a:pt x="4030" y="794"/>
                    </a:lnTo>
                    <a:lnTo>
                      <a:pt x="4021" y="795"/>
                    </a:lnTo>
                    <a:lnTo>
                      <a:pt x="4011" y="797"/>
                    </a:lnTo>
                    <a:lnTo>
                      <a:pt x="4000" y="795"/>
                    </a:lnTo>
                    <a:lnTo>
                      <a:pt x="3991" y="795"/>
                    </a:lnTo>
                    <a:lnTo>
                      <a:pt x="3981" y="793"/>
                    </a:lnTo>
                    <a:lnTo>
                      <a:pt x="3972" y="791"/>
                    </a:lnTo>
                    <a:lnTo>
                      <a:pt x="3961" y="787"/>
                    </a:lnTo>
                    <a:lnTo>
                      <a:pt x="3958" y="801"/>
                    </a:lnTo>
                    <a:lnTo>
                      <a:pt x="3956" y="813"/>
                    </a:lnTo>
                    <a:lnTo>
                      <a:pt x="3954" y="823"/>
                    </a:lnTo>
                    <a:lnTo>
                      <a:pt x="3956" y="833"/>
                    </a:lnTo>
                    <a:lnTo>
                      <a:pt x="3956" y="844"/>
                    </a:lnTo>
                    <a:lnTo>
                      <a:pt x="3957" y="855"/>
                    </a:lnTo>
                    <a:lnTo>
                      <a:pt x="3957" y="868"/>
                    </a:lnTo>
                    <a:lnTo>
                      <a:pt x="3954" y="885"/>
                    </a:lnTo>
                    <a:lnTo>
                      <a:pt x="3945" y="878"/>
                    </a:lnTo>
                    <a:lnTo>
                      <a:pt x="3935" y="871"/>
                    </a:lnTo>
                    <a:lnTo>
                      <a:pt x="3925" y="862"/>
                    </a:lnTo>
                    <a:lnTo>
                      <a:pt x="3914" y="850"/>
                    </a:lnTo>
                    <a:lnTo>
                      <a:pt x="3904" y="839"/>
                    </a:lnTo>
                    <a:lnTo>
                      <a:pt x="3893" y="826"/>
                    </a:lnTo>
                    <a:lnTo>
                      <a:pt x="3882" y="813"/>
                    </a:lnTo>
                    <a:lnTo>
                      <a:pt x="3873" y="799"/>
                    </a:lnTo>
                    <a:lnTo>
                      <a:pt x="3863" y="784"/>
                    </a:lnTo>
                    <a:lnTo>
                      <a:pt x="3855" y="768"/>
                    </a:lnTo>
                    <a:lnTo>
                      <a:pt x="3847" y="752"/>
                    </a:lnTo>
                    <a:lnTo>
                      <a:pt x="3839" y="737"/>
                    </a:lnTo>
                    <a:lnTo>
                      <a:pt x="3833" y="721"/>
                    </a:lnTo>
                    <a:lnTo>
                      <a:pt x="3828" y="706"/>
                    </a:lnTo>
                    <a:lnTo>
                      <a:pt x="3825" y="690"/>
                    </a:lnTo>
                    <a:lnTo>
                      <a:pt x="3823" y="675"/>
                    </a:lnTo>
                    <a:lnTo>
                      <a:pt x="3807" y="675"/>
                    </a:lnTo>
                    <a:lnTo>
                      <a:pt x="3792" y="674"/>
                    </a:lnTo>
                    <a:lnTo>
                      <a:pt x="3779" y="670"/>
                    </a:lnTo>
                    <a:lnTo>
                      <a:pt x="3766" y="667"/>
                    </a:lnTo>
                    <a:lnTo>
                      <a:pt x="3755" y="662"/>
                    </a:lnTo>
                    <a:lnTo>
                      <a:pt x="3745" y="657"/>
                    </a:lnTo>
                    <a:lnTo>
                      <a:pt x="3735" y="651"/>
                    </a:lnTo>
                    <a:lnTo>
                      <a:pt x="3726" y="644"/>
                    </a:lnTo>
                    <a:lnTo>
                      <a:pt x="3718" y="637"/>
                    </a:lnTo>
                    <a:lnTo>
                      <a:pt x="3710" y="629"/>
                    </a:lnTo>
                    <a:lnTo>
                      <a:pt x="3702" y="620"/>
                    </a:lnTo>
                    <a:lnTo>
                      <a:pt x="3695" y="612"/>
                    </a:lnTo>
                    <a:lnTo>
                      <a:pt x="3683" y="594"/>
                    </a:lnTo>
                    <a:lnTo>
                      <a:pt x="3670" y="574"/>
                    </a:lnTo>
                    <a:lnTo>
                      <a:pt x="3657" y="556"/>
                    </a:lnTo>
                    <a:lnTo>
                      <a:pt x="3643" y="537"/>
                    </a:lnTo>
                    <a:lnTo>
                      <a:pt x="3636" y="529"/>
                    </a:lnTo>
                    <a:lnTo>
                      <a:pt x="3628" y="520"/>
                    </a:lnTo>
                    <a:lnTo>
                      <a:pt x="3619" y="512"/>
                    </a:lnTo>
                    <a:lnTo>
                      <a:pt x="3609" y="505"/>
                    </a:lnTo>
                    <a:lnTo>
                      <a:pt x="3600" y="498"/>
                    </a:lnTo>
                    <a:lnTo>
                      <a:pt x="3589" y="493"/>
                    </a:lnTo>
                    <a:lnTo>
                      <a:pt x="3577" y="487"/>
                    </a:lnTo>
                    <a:lnTo>
                      <a:pt x="3565" y="482"/>
                    </a:lnTo>
                    <a:lnTo>
                      <a:pt x="3551" y="479"/>
                    </a:lnTo>
                    <a:lnTo>
                      <a:pt x="3536" y="475"/>
                    </a:lnTo>
                    <a:lnTo>
                      <a:pt x="3520" y="474"/>
                    </a:lnTo>
                    <a:lnTo>
                      <a:pt x="3502" y="473"/>
                    </a:lnTo>
                    <a:lnTo>
                      <a:pt x="3488" y="472"/>
                    </a:lnTo>
                    <a:lnTo>
                      <a:pt x="3476" y="470"/>
                    </a:lnTo>
                    <a:lnTo>
                      <a:pt x="3465" y="465"/>
                    </a:lnTo>
                    <a:lnTo>
                      <a:pt x="3455" y="459"/>
                    </a:lnTo>
                    <a:lnTo>
                      <a:pt x="3445" y="453"/>
                    </a:lnTo>
                    <a:lnTo>
                      <a:pt x="3437" y="446"/>
                    </a:lnTo>
                    <a:lnTo>
                      <a:pt x="3430" y="436"/>
                    </a:lnTo>
                    <a:lnTo>
                      <a:pt x="3424" y="427"/>
                    </a:lnTo>
                    <a:lnTo>
                      <a:pt x="3418" y="417"/>
                    </a:lnTo>
                    <a:lnTo>
                      <a:pt x="3413" y="406"/>
                    </a:lnTo>
                    <a:lnTo>
                      <a:pt x="3409" y="394"/>
                    </a:lnTo>
                    <a:lnTo>
                      <a:pt x="3404" y="383"/>
                    </a:lnTo>
                    <a:lnTo>
                      <a:pt x="3397" y="357"/>
                    </a:lnTo>
                    <a:lnTo>
                      <a:pt x="3390" y="332"/>
                    </a:lnTo>
                    <a:lnTo>
                      <a:pt x="3383" y="306"/>
                    </a:lnTo>
                    <a:lnTo>
                      <a:pt x="3377" y="282"/>
                    </a:lnTo>
                    <a:lnTo>
                      <a:pt x="3372" y="269"/>
                    </a:lnTo>
                    <a:lnTo>
                      <a:pt x="3367" y="259"/>
                    </a:lnTo>
                    <a:lnTo>
                      <a:pt x="3363" y="247"/>
                    </a:lnTo>
                    <a:lnTo>
                      <a:pt x="3357" y="238"/>
                    </a:lnTo>
                    <a:lnTo>
                      <a:pt x="3350" y="229"/>
                    </a:lnTo>
                    <a:lnTo>
                      <a:pt x="3343" y="220"/>
                    </a:lnTo>
                    <a:lnTo>
                      <a:pt x="3335" y="213"/>
                    </a:lnTo>
                    <a:lnTo>
                      <a:pt x="3326" y="207"/>
                    </a:lnTo>
                    <a:lnTo>
                      <a:pt x="3316" y="201"/>
                    </a:lnTo>
                    <a:lnTo>
                      <a:pt x="3305" y="198"/>
                    </a:lnTo>
                    <a:lnTo>
                      <a:pt x="3293" y="196"/>
                    </a:lnTo>
                    <a:lnTo>
                      <a:pt x="3279" y="194"/>
                    </a:lnTo>
                    <a:lnTo>
                      <a:pt x="3279" y="182"/>
                    </a:lnTo>
                    <a:lnTo>
                      <a:pt x="3279" y="170"/>
                    </a:lnTo>
                    <a:lnTo>
                      <a:pt x="3279" y="158"/>
                    </a:lnTo>
                    <a:lnTo>
                      <a:pt x="3278" y="146"/>
                    </a:lnTo>
                    <a:lnTo>
                      <a:pt x="3278" y="135"/>
                    </a:lnTo>
                    <a:lnTo>
                      <a:pt x="3276" y="122"/>
                    </a:lnTo>
                    <a:lnTo>
                      <a:pt x="3275" y="111"/>
                    </a:lnTo>
                    <a:lnTo>
                      <a:pt x="3272" y="97"/>
                    </a:lnTo>
                    <a:lnTo>
                      <a:pt x="3236" y="126"/>
                    </a:lnTo>
                    <a:lnTo>
                      <a:pt x="3205" y="152"/>
                    </a:lnTo>
                    <a:lnTo>
                      <a:pt x="3176" y="177"/>
                    </a:lnTo>
                    <a:lnTo>
                      <a:pt x="3148" y="203"/>
                    </a:lnTo>
                    <a:lnTo>
                      <a:pt x="3135" y="214"/>
                    </a:lnTo>
                    <a:lnTo>
                      <a:pt x="3121" y="224"/>
                    </a:lnTo>
                    <a:lnTo>
                      <a:pt x="3106" y="236"/>
                    </a:lnTo>
                    <a:lnTo>
                      <a:pt x="3090" y="246"/>
                    </a:lnTo>
                    <a:lnTo>
                      <a:pt x="3073" y="256"/>
                    </a:lnTo>
                    <a:lnTo>
                      <a:pt x="3056" y="267"/>
                    </a:lnTo>
                    <a:lnTo>
                      <a:pt x="3036" y="276"/>
                    </a:lnTo>
                    <a:lnTo>
                      <a:pt x="3014" y="285"/>
                    </a:lnTo>
                    <a:lnTo>
                      <a:pt x="3006" y="272"/>
                    </a:lnTo>
                    <a:lnTo>
                      <a:pt x="2997" y="261"/>
                    </a:lnTo>
                    <a:lnTo>
                      <a:pt x="2987" y="252"/>
                    </a:lnTo>
                    <a:lnTo>
                      <a:pt x="2976" y="245"/>
                    </a:lnTo>
                    <a:lnTo>
                      <a:pt x="2965" y="239"/>
                    </a:lnTo>
                    <a:lnTo>
                      <a:pt x="2952" y="235"/>
                    </a:lnTo>
                    <a:lnTo>
                      <a:pt x="2941" y="230"/>
                    </a:lnTo>
                    <a:lnTo>
                      <a:pt x="2927" y="228"/>
                    </a:lnTo>
                    <a:lnTo>
                      <a:pt x="2901" y="222"/>
                    </a:lnTo>
                    <a:lnTo>
                      <a:pt x="2873" y="216"/>
                    </a:lnTo>
                    <a:lnTo>
                      <a:pt x="2859" y="213"/>
                    </a:lnTo>
                    <a:lnTo>
                      <a:pt x="2846" y="208"/>
                    </a:lnTo>
                    <a:lnTo>
                      <a:pt x="2833" y="203"/>
                    </a:lnTo>
                    <a:lnTo>
                      <a:pt x="2819" y="194"/>
                    </a:lnTo>
                    <a:lnTo>
                      <a:pt x="2811" y="201"/>
                    </a:lnTo>
                    <a:lnTo>
                      <a:pt x="2802" y="208"/>
                    </a:lnTo>
                    <a:lnTo>
                      <a:pt x="2792" y="215"/>
                    </a:lnTo>
                    <a:lnTo>
                      <a:pt x="2779" y="222"/>
                    </a:lnTo>
                    <a:lnTo>
                      <a:pt x="2753" y="236"/>
                    </a:lnTo>
                    <a:lnTo>
                      <a:pt x="2722" y="252"/>
                    </a:lnTo>
                    <a:lnTo>
                      <a:pt x="2690" y="268"/>
                    </a:lnTo>
                    <a:lnTo>
                      <a:pt x="2655" y="284"/>
                    </a:lnTo>
                    <a:lnTo>
                      <a:pt x="2621" y="302"/>
                    </a:lnTo>
                    <a:lnTo>
                      <a:pt x="2588" y="322"/>
                    </a:lnTo>
                    <a:lnTo>
                      <a:pt x="2572" y="332"/>
                    </a:lnTo>
                    <a:lnTo>
                      <a:pt x="2557" y="344"/>
                    </a:lnTo>
                    <a:lnTo>
                      <a:pt x="2542" y="354"/>
                    </a:lnTo>
                    <a:lnTo>
                      <a:pt x="2528" y="365"/>
                    </a:lnTo>
                    <a:lnTo>
                      <a:pt x="2514" y="378"/>
                    </a:lnTo>
                    <a:lnTo>
                      <a:pt x="2503" y="391"/>
                    </a:lnTo>
                    <a:lnTo>
                      <a:pt x="2493" y="403"/>
                    </a:lnTo>
                    <a:lnTo>
                      <a:pt x="2482" y="416"/>
                    </a:lnTo>
                    <a:lnTo>
                      <a:pt x="2474" y="431"/>
                    </a:lnTo>
                    <a:lnTo>
                      <a:pt x="2469" y="445"/>
                    </a:lnTo>
                    <a:lnTo>
                      <a:pt x="2464" y="459"/>
                    </a:lnTo>
                    <a:lnTo>
                      <a:pt x="2462" y="475"/>
                    </a:lnTo>
                    <a:lnTo>
                      <a:pt x="2461" y="492"/>
                    </a:lnTo>
                    <a:lnTo>
                      <a:pt x="2462" y="508"/>
                    </a:lnTo>
                    <a:lnTo>
                      <a:pt x="2465" y="525"/>
                    </a:lnTo>
                    <a:lnTo>
                      <a:pt x="2472" y="543"/>
                    </a:lnTo>
                    <a:lnTo>
                      <a:pt x="2458" y="537"/>
                    </a:lnTo>
                    <a:lnTo>
                      <a:pt x="2446" y="532"/>
                    </a:lnTo>
                    <a:lnTo>
                      <a:pt x="2434" y="524"/>
                    </a:lnTo>
                    <a:lnTo>
                      <a:pt x="2424" y="516"/>
                    </a:lnTo>
                    <a:lnTo>
                      <a:pt x="2419" y="511"/>
                    </a:lnTo>
                    <a:lnTo>
                      <a:pt x="2415" y="505"/>
                    </a:lnTo>
                    <a:lnTo>
                      <a:pt x="2411" y="501"/>
                    </a:lnTo>
                    <a:lnTo>
                      <a:pt x="2408" y="494"/>
                    </a:lnTo>
                    <a:lnTo>
                      <a:pt x="2405" y="488"/>
                    </a:lnTo>
                    <a:lnTo>
                      <a:pt x="2403" y="481"/>
                    </a:lnTo>
                    <a:lnTo>
                      <a:pt x="2402" y="474"/>
                    </a:lnTo>
                    <a:lnTo>
                      <a:pt x="2402" y="466"/>
                    </a:lnTo>
                    <a:lnTo>
                      <a:pt x="2403" y="454"/>
                    </a:lnTo>
                    <a:lnTo>
                      <a:pt x="2407" y="439"/>
                    </a:lnTo>
                    <a:lnTo>
                      <a:pt x="2410" y="422"/>
                    </a:lnTo>
                    <a:lnTo>
                      <a:pt x="2415" y="404"/>
                    </a:lnTo>
                    <a:lnTo>
                      <a:pt x="2427" y="365"/>
                    </a:lnTo>
                    <a:lnTo>
                      <a:pt x="2441" y="326"/>
                    </a:lnTo>
                    <a:lnTo>
                      <a:pt x="2449" y="308"/>
                    </a:lnTo>
                    <a:lnTo>
                      <a:pt x="2457" y="290"/>
                    </a:lnTo>
                    <a:lnTo>
                      <a:pt x="2465" y="272"/>
                    </a:lnTo>
                    <a:lnTo>
                      <a:pt x="2473" y="258"/>
                    </a:lnTo>
                    <a:lnTo>
                      <a:pt x="2481" y="245"/>
                    </a:lnTo>
                    <a:lnTo>
                      <a:pt x="2490" y="235"/>
                    </a:lnTo>
                    <a:lnTo>
                      <a:pt x="2494" y="231"/>
                    </a:lnTo>
                    <a:lnTo>
                      <a:pt x="2498" y="228"/>
                    </a:lnTo>
                    <a:lnTo>
                      <a:pt x="2502" y="224"/>
                    </a:lnTo>
                    <a:lnTo>
                      <a:pt x="2506" y="223"/>
                    </a:lnTo>
                    <a:lnTo>
                      <a:pt x="2520" y="219"/>
                    </a:lnTo>
                    <a:lnTo>
                      <a:pt x="2534" y="215"/>
                    </a:lnTo>
                    <a:lnTo>
                      <a:pt x="2548" y="213"/>
                    </a:lnTo>
                    <a:lnTo>
                      <a:pt x="2561" y="212"/>
                    </a:lnTo>
                    <a:lnTo>
                      <a:pt x="2588" y="211"/>
                    </a:lnTo>
                    <a:lnTo>
                      <a:pt x="2613" y="209"/>
                    </a:lnTo>
                    <a:lnTo>
                      <a:pt x="2624" y="209"/>
                    </a:lnTo>
                    <a:lnTo>
                      <a:pt x="2637" y="208"/>
                    </a:lnTo>
                    <a:lnTo>
                      <a:pt x="2649" y="207"/>
                    </a:lnTo>
                    <a:lnTo>
                      <a:pt x="2661" y="205"/>
                    </a:lnTo>
                    <a:lnTo>
                      <a:pt x="2673" y="200"/>
                    </a:lnTo>
                    <a:lnTo>
                      <a:pt x="2684" y="196"/>
                    </a:lnTo>
                    <a:lnTo>
                      <a:pt x="2697" y="189"/>
                    </a:lnTo>
                    <a:lnTo>
                      <a:pt x="2708" y="181"/>
                    </a:lnTo>
                    <a:lnTo>
                      <a:pt x="2819" y="112"/>
                    </a:lnTo>
                    <a:lnTo>
                      <a:pt x="2834" y="112"/>
                    </a:lnTo>
                    <a:lnTo>
                      <a:pt x="2851" y="114"/>
                    </a:lnTo>
                    <a:lnTo>
                      <a:pt x="2871" y="118"/>
                    </a:lnTo>
                    <a:lnTo>
                      <a:pt x="2893" y="122"/>
                    </a:lnTo>
                    <a:lnTo>
                      <a:pt x="2916" y="126"/>
                    </a:lnTo>
                    <a:lnTo>
                      <a:pt x="2940" y="130"/>
                    </a:lnTo>
                    <a:lnTo>
                      <a:pt x="2964" y="134"/>
                    </a:lnTo>
                    <a:lnTo>
                      <a:pt x="2988" y="136"/>
                    </a:lnTo>
                    <a:lnTo>
                      <a:pt x="3012" y="137"/>
                    </a:lnTo>
                    <a:lnTo>
                      <a:pt x="3035" y="137"/>
                    </a:lnTo>
                    <a:lnTo>
                      <a:pt x="3046" y="136"/>
                    </a:lnTo>
                    <a:lnTo>
                      <a:pt x="3057" y="134"/>
                    </a:lnTo>
                    <a:lnTo>
                      <a:pt x="3067" y="131"/>
                    </a:lnTo>
                    <a:lnTo>
                      <a:pt x="3076" y="129"/>
                    </a:lnTo>
                    <a:lnTo>
                      <a:pt x="3085" y="126"/>
                    </a:lnTo>
                    <a:lnTo>
                      <a:pt x="3093" y="121"/>
                    </a:lnTo>
                    <a:lnTo>
                      <a:pt x="3100" y="116"/>
                    </a:lnTo>
                    <a:lnTo>
                      <a:pt x="3107" y="110"/>
                    </a:lnTo>
                    <a:lnTo>
                      <a:pt x="3114" y="103"/>
                    </a:lnTo>
                    <a:lnTo>
                      <a:pt x="3119" y="96"/>
                    </a:lnTo>
                    <a:lnTo>
                      <a:pt x="3123" y="87"/>
                    </a:lnTo>
                    <a:lnTo>
                      <a:pt x="3125" y="76"/>
                    </a:lnTo>
                    <a:lnTo>
                      <a:pt x="2819" y="69"/>
                    </a:lnTo>
                    <a:lnTo>
                      <a:pt x="2803" y="63"/>
                    </a:lnTo>
                    <a:lnTo>
                      <a:pt x="2788" y="58"/>
                    </a:lnTo>
                    <a:lnTo>
                      <a:pt x="2772" y="55"/>
                    </a:lnTo>
                    <a:lnTo>
                      <a:pt x="2756" y="52"/>
                    </a:lnTo>
                    <a:lnTo>
                      <a:pt x="2725" y="50"/>
                    </a:lnTo>
                    <a:lnTo>
                      <a:pt x="2694" y="48"/>
                    </a:lnTo>
                    <a:lnTo>
                      <a:pt x="2679" y="47"/>
                    </a:lnTo>
                    <a:lnTo>
                      <a:pt x="2665" y="44"/>
                    </a:lnTo>
                    <a:lnTo>
                      <a:pt x="2651" y="42"/>
                    </a:lnTo>
                    <a:lnTo>
                      <a:pt x="2637" y="37"/>
                    </a:lnTo>
                    <a:lnTo>
                      <a:pt x="2624" y="32"/>
                    </a:lnTo>
                    <a:lnTo>
                      <a:pt x="2612" y="24"/>
                    </a:lnTo>
                    <a:lnTo>
                      <a:pt x="2606" y="19"/>
                    </a:lnTo>
                    <a:lnTo>
                      <a:pt x="2600" y="13"/>
                    </a:lnTo>
                    <a:lnTo>
                      <a:pt x="2595" y="6"/>
                    </a:lnTo>
                    <a:lnTo>
                      <a:pt x="2590" y="0"/>
                    </a:lnTo>
                    <a:lnTo>
                      <a:pt x="2579" y="11"/>
                    </a:lnTo>
                    <a:lnTo>
                      <a:pt x="2568" y="22"/>
                    </a:lnTo>
                    <a:lnTo>
                      <a:pt x="2558" y="34"/>
                    </a:lnTo>
                    <a:lnTo>
                      <a:pt x="2549" y="47"/>
                    </a:lnTo>
                    <a:lnTo>
                      <a:pt x="2532" y="71"/>
                    </a:lnTo>
                    <a:lnTo>
                      <a:pt x="2517" y="96"/>
                    </a:lnTo>
                    <a:lnTo>
                      <a:pt x="2504" y="122"/>
                    </a:lnTo>
                    <a:lnTo>
                      <a:pt x="2491" y="149"/>
                    </a:lnTo>
                    <a:lnTo>
                      <a:pt x="2481" y="175"/>
                    </a:lnTo>
                    <a:lnTo>
                      <a:pt x="2471" y="203"/>
                    </a:lnTo>
                    <a:lnTo>
                      <a:pt x="2450" y="259"/>
                    </a:lnTo>
                    <a:lnTo>
                      <a:pt x="2428" y="316"/>
                    </a:lnTo>
                    <a:lnTo>
                      <a:pt x="2416" y="345"/>
                    </a:lnTo>
                    <a:lnTo>
                      <a:pt x="2401" y="375"/>
                    </a:lnTo>
                    <a:lnTo>
                      <a:pt x="2385" y="403"/>
                    </a:lnTo>
                    <a:lnTo>
                      <a:pt x="2366" y="432"/>
                    </a:lnTo>
                    <a:lnTo>
                      <a:pt x="2314" y="471"/>
                    </a:lnTo>
                    <a:lnTo>
                      <a:pt x="2259" y="510"/>
                    </a:lnTo>
                    <a:lnTo>
                      <a:pt x="2231" y="531"/>
                    </a:lnTo>
                    <a:lnTo>
                      <a:pt x="2205" y="551"/>
                    </a:lnTo>
                    <a:lnTo>
                      <a:pt x="2178" y="574"/>
                    </a:lnTo>
                    <a:lnTo>
                      <a:pt x="2153" y="597"/>
                    </a:lnTo>
                    <a:lnTo>
                      <a:pt x="2130" y="622"/>
                    </a:lnTo>
                    <a:lnTo>
                      <a:pt x="2107" y="649"/>
                    </a:lnTo>
                    <a:lnTo>
                      <a:pt x="2097" y="662"/>
                    </a:lnTo>
                    <a:lnTo>
                      <a:pt x="2087" y="677"/>
                    </a:lnTo>
                    <a:lnTo>
                      <a:pt x="2078" y="692"/>
                    </a:lnTo>
                    <a:lnTo>
                      <a:pt x="2068" y="708"/>
                    </a:lnTo>
                    <a:lnTo>
                      <a:pt x="2060" y="724"/>
                    </a:lnTo>
                    <a:lnTo>
                      <a:pt x="2052" y="742"/>
                    </a:lnTo>
                    <a:lnTo>
                      <a:pt x="2044" y="759"/>
                    </a:lnTo>
                    <a:lnTo>
                      <a:pt x="2039" y="777"/>
                    </a:lnTo>
                    <a:lnTo>
                      <a:pt x="2032" y="795"/>
                    </a:lnTo>
                    <a:lnTo>
                      <a:pt x="2027" y="815"/>
                    </a:lnTo>
                    <a:lnTo>
                      <a:pt x="2023" y="836"/>
                    </a:lnTo>
                    <a:lnTo>
                      <a:pt x="2019" y="856"/>
                    </a:lnTo>
                    <a:lnTo>
                      <a:pt x="2016" y="853"/>
                    </a:lnTo>
                    <a:lnTo>
                      <a:pt x="2012" y="847"/>
                    </a:lnTo>
                    <a:lnTo>
                      <a:pt x="2009" y="841"/>
                    </a:lnTo>
                    <a:lnTo>
                      <a:pt x="2006" y="834"/>
                    </a:lnTo>
                    <a:lnTo>
                      <a:pt x="2003" y="818"/>
                    </a:lnTo>
                    <a:lnTo>
                      <a:pt x="2001" y="801"/>
                    </a:lnTo>
                    <a:lnTo>
                      <a:pt x="2000" y="782"/>
                    </a:lnTo>
                    <a:lnTo>
                      <a:pt x="1998" y="762"/>
                    </a:lnTo>
                    <a:lnTo>
                      <a:pt x="1998" y="743"/>
                    </a:lnTo>
                    <a:lnTo>
                      <a:pt x="1998" y="724"/>
                    </a:lnTo>
                    <a:lnTo>
                      <a:pt x="1915" y="724"/>
                    </a:lnTo>
                    <a:lnTo>
                      <a:pt x="1890" y="737"/>
                    </a:lnTo>
                    <a:lnTo>
                      <a:pt x="1859" y="752"/>
                    </a:lnTo>
                    <a:lnTo>
                      <a:pt x="1822" y="770"/>
                    </a:lnTo>
                    <a:lnTo>
                      <a:pt x="1782" y="787"/>
                    </a:lnTo>
                    <a:lnTo>
                      <a:pt x="1762" y="795"/>
                    </a:lnTo>
                    <a:lnTo>
                      <a:pt x="1742" y="803"/>
                    </a:lnTo>
                    <a:lnTo>
                      <a:pt x="1721" y="810"/>
                    </a:lnTo>
                    <a:lnTo>
                      <a:pt x="1702" y="816"/>
                    </a:lnTo>
                    <a:lnTo>
                      <a:pt x="1682" y="822"/>
                    </a:lnTo>
                    <a:lnTo>
                      <a:pt x="1663" y="825"/>
                    </a:lnTo>
                    <a:lnTo>
                      <a:pt x="1645" y="828"/>
                    </a:lnTo>
                    <a:lnTo>
                      <a:pt x="1629" y="829"/>
                    </a:lnTo>
                    <a:lnTo>
                      <a:pt x="1621" y="829"/>
                    </a:lnTo>
                    <a:lnTo>
                      <a:pt x="1614" y="826"/>
                    </a:lnTo>
                    <a:lnTo>
                      <a:pt x="1607" y="824"/>
                    </a:lnTo>
                    <a:lnTo>
                      <a:pt x="1601" y="821"/>
                    </a:lnTo>
                    <a:lnTo>
                      <a:pt x="1588" y="814"/>
                    </a:lnTo>
                    <a:lnTo>
                      <a:pt x="1577" y="805"/>
                    </a:lnTo>
                    <a:lnTo>
                      <a:pt x="1565" y="795"/>
                    </a:lnTo>
                    <a:lnTo>
                      <a:pt x="1552" y="787"/>
                    </a:lnTo>
                    <a:lnTo>
                      <a:pt x="1546" y="785"/>
                    </a:lnTo>
                    <a:lnTo>
                      <a:pt x="1539" y="782"/>
                    </a:lnTo>
                    <a:lnTo>
                      <a:pt x="1532" y="781"/>
                    </a:lnTo>
                    <a:lnTo>
                      <a:pt x="1525" y="781"/>
                    </a:lnTo>
                    <a:lnTo>
                      <a:pt x="1510" y="781"/>
                    </a:lnTo>
                    <a:lnTo>
                      <a:pt x="1496" y="782"/>
                    </a:lnTo>
                    <a:lnTo>
                      <a:pt x="1484" y="785"/>
                    </a:lnTo>
                    <a:lnTo>
                      <a:pt x="1472" y="791"/>
                    </a:lnTo>
                    <a:lnTo>
                      <a:pt x="1462" y="797"/>
                    </a:lnTo>
                    <a:lnTo>
                      <a:pt x="1452" y="803"/>
                    </a:lnTo>
                    <a:lnTo>
                      <a:pt x="1442" y="813"/>
                    </a:lnTo>
                    <a:lnTo>
                      <a:pt x="1434" y="822"/>
                    </a:lnTo>
                    <a:lnTo>
                      <a:pt x="1426" y="832"/>
                    </a:lnTo>
                    <a:lnTo>
                      <a:pt x="1419" y="842"/>
                    </a:lnTo>
                    <a:lnTo>
                      <a:pt x="1413" y="855"/>
                    </a:lnTo>
                    <a:lnTo>
                      <a:pt x="1407" y="867"/>
                    </a:lnTo>
                    <a:lnTo>
                      <a:pt x="1395" y="893"/>
                    </a:lnTo>
                    <a:lnTo>
                      <a:pt x="1384" y="919"/>
                    </a:lnTo>
                    <a:lnTo>
                      <a:pt x="1375" y="946"/>
                    </a:lnTo>
                    <a:lnTo>
                      <a:pt x="1364" y="972"/>
                    </a:lnTo>
                    <a:lnTo>
                      <a:pt x="1354" y="996"/>
                    </a:lnTo>
                    <a:lnTo>
                      <a:pt x="1344" y="1017"/>
                    </a:lnTo>
                    <a:lnTo>
                      <a:pt x="1337" y="1026"/>
                    </a:lnTo>
                    <a:lnTo>
                      <a:pt x="1331" y="1035"/>
                    </a:lnTo>
                    <a:lnTo>
                      <a:pt x="1324" y="1042"/>
                    </a:lnTo>
                    <a:lnTo>
                      <a:pt x="1316" y="1049"/>
                    </a:lnTo>
                    <a:lnTo>
                      <a:pt x="1308" y="1053"/>
                    </a:lnTo>
                    <a:lnTo>
                      <a:pt x="1300" y="1057"/>
                    </a:lnTo>
                    <a:lnTo>
                      <a:pt x="1291" y="1058"/>
                    </a:lnTo>
                    <a:lnTo>
                      <a:pt x="1281" y="1058"/>
                    </a:lnTo>
                    <a:lnTo>
                      <a:pt x="1277" y="1059"/>
                    </a:lnTo>
                    <a:lnTo>
                      <a:pt x="1274" y="1059"/>
                    </a:lnTo>
                    <a:lnTo>
                      <a:pt x="1268" y="1060"/>
                    </a:lnTo>
                    <a:lnTo>
                      <a:pt x="1264" y="1062"/>
                    </a:lnTo>
                    <a:lnTo>
                      <a:pt x="1258" y="1062"/>
                    </a:lnTo>
                    <a:lnTo>
                      <a:pt x="1253" y="1062"/>
                    </a:lnTo>
                    <a:lnTo>
                      <a:pt x="1249" y="1060"/>
                    </a:lnTo>
                    <a:lnTo>
                      <a:pt x="1246" y="1058"/>
                    </a:lnTo>
                    <a:lnTo>
                      <a:pt x="1239" y="1072"/>
                    </a:lnTo>
                    <a:lnTo>
                      <a:pt x="1234" y="1088"/>
                    </a:lnTo>
                    <a:lnTo>
                      <a:pt x="1229" y="1107"/>
                    </a:lnTo>
                    <a:lnTo>
                      <a:pt x="1225" y="1128"/>
                    </a:lnTo>
                    <a:lnTo>
                      <a:pt x="1215" y="1174"/>
                    </a:lnTo>
                    <a:lnTo>
                      <a:pt x="1207" y="1222"/>
                    </a:lnTo>
                    <a:lnTo>
                      <a:pt x="1198" y="1269"/>
                    </a:lnTo>
                    <a:lnTo>
                      <a:pt x="1188" y="1312"/>
                    </a:lnTo>
                    <a:lnTo>
                      <a:pt x="1182" y="1329"/>
                    </a:lnTo>
                    <a:lnTo>
                      <a:pt x="1176" y="1345"/>
                    </a:lnTo>
                    <a:lnTo>
                      <a:pt x="1173" y="1351"/>
                    </a:lnTo>
                    <a:lnTo>
                      <a:pt x="1170" y="1356"/>
                    </a:lnTo>
                    <a:lnTo>
                      <a:pt x="1166" y="1361"/>
                    </a:lnTo>
                    <a:lnTo>
                      <a:pt x="1163" y="1365"/>
                    </a:lnTo>
                    <a:lnTo>
                      <a:pt x="1148" y="1355"/>
                    </a:lnTo>
                    <a:lnTo>
                      <a:pt x="1127" y="1341"/>
                    </a:lnTo>
                    <a:lnTo>
                      <a:pt x="1102" y="1325"/>
                    </a:lnTo>
                    <a:lnTo>
                      <a:pt x="1073" y="1308"/>
                    </a:lnTo>
                    <a:lnTo>
                      <a:pt x="1045" y="1293"/>
                    </a:lnTo>
                    <a:lnTo>
                      <a:pt x="1017" y="1279"/>
                    </a:lnTo>
                    <a:lnTo>
                      <a:pt x="1004" y="1275"/>
                    </a:lnTo>
                    <a:lnTo>
                      <a:pt x="993" y="1271"/>
                    </a:lnTo>
                    <a:lnTo>
                      <a:pt x="983" y="1268"/>
                    </a:lnTo>
                    <a:lnTo>
                      <a:pt x="975" y="1268"/>
                    </a:lnTo>
                    <a:lnTo>
                      <a:pt x="969" y="1267"/>
                    </a:lnTo>
                    <a:lnTo>
                      <a:pt x="965" y="1267"/>
                    </a:lnTo>
                    <a:lnTo>
                      <a:pt x="961" y="1268"/>
                    </a:lnTo>
                    <a:lnTo>
                      <a:pt x="957" y="1270"/>
                    </a:lnTo>
                    <a:lnTo>
                      <a:pt x="951" y="1276"/>
                    </a:lnTo>
                    <a:lnTo>
                      <a:pt x="944" y="1283"/>
                    </a:lnTo>
                    <a:lnTo>
                      <a:pt x="938" y="1290"/>
                    </a:lnTo>
                    <a:lnTo>
                      <a:pt x="932" y="1295"/>
                    </a:lnTo>
                    <a:lnTo>
                      <a:pt x="929" y="1299"/>
                    </a:lnTo>
                    <a:lnTo>
                      <a:pt x="926" y="1301"/>
                    </a:lnTo>
                    <a:lnTo>
                      <a:pt x="923" y="1302"/>
                    </a:lnTo>
                    <a:lnTo>
                      <a:pt x="918" y="1302"/>
                    </a:lnTo>
                    <a:lnTo>
                      <a:pt x="914" y="1301"/>
                    </a:lnTo>
                    <a:lnTo>
                      <a:pt x="907" y="1297"/>
                    </a:lnTo>
                    <a:lnTo>
                      <a:pt x="899" y="1289"/>
                    </a:lnTo>
                    <a:lnTo>
                      <a:pt x="890" y="1279"/>
                    </a:lnTo>
                    <a:lnTo>
                      <a:pt x="868" y="1254"/>
                    </a:lnTo>
                    <a:lnTo>
                      <a:pt x="845" y="1226"/>
                    </a:lnTo>
                    <a:lnTo>
                      <a:pt x="823" y="1196"/>
                    </a:lnTo>
                    <a:lnTo>
                      <a:pt x="804" y="1167"/>
                    </a:lnTo>
                    <a:lnTo>
                      <a:pt x="797" y="1154"/>
                    </a:lnTo>
                    <a:lnTo>
                      <a:pt x="791" y="1144"/>
                    </a:lnTo>
                    <a:lnTo>
                      <a:pt x="788" y="1135"/>
                    </a:lnTo>
                    <a:lnTo>
                      <a:pt x="787" y="1128"/>
                    </a:lnTo>
                    <a:lnTo>
                      <a:pt x="662" y="1128"/>
                    </a:lnTo>
                    <a:lnTo>
                      <a:pt x="626" y="1148"/>
                    </a:lnTo>
                    <a:lnTo>
                      <a:pt x="595" y="1164"/>
                    </a:lnTo>
                    <a:lnTo>
                      <a:pt x="565" y="1176"/>
                    </a:lnTo>
                    <a:lnTo>
                      <a:pt x="538" y="1188"/>
                    </a:lnTo>
                    <a:lnTo>
                      <a:pt x="510" y="1197"/>
                    </a:lnTo>
                    <a:lnTo>
                      <a:pt x="483" y="1207"/>
                    </a:lnTo>
                    <a:lnTo>
                      <a:pt x="454" y="1216"/>
                    </a:lnTo>
                    <a:lnTo>
                      <a:pt x="424" y="1226"/>
                    </a:lnTo>
                    <a:lnTo>
                      <a:pt x="404" y="1246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20" name="Freeform 539"/>
              <p:cNvSpPr>
                <a:spLocks/>
              </p:cNvSpPr>
              <p:nvPr/>
            </p:nvSpPr>
            <p:spPr bwMode="auto">
              <a:xfrm>
                <a:off x="1165" y="665"/>
                <a:ext cx="716" cy="739"/>
              </a:xfrm>
              <a:custGeom>
                <a:avLst/>
                <a:gdLst>
                  <a:gd name="T0" fmla="*/ 22 w 3880"/>
                  <a:gd name="T1" fmla="*/ 23 h 4005"/>
                  <a:gd name="T2" fmla="*/ 22 w 3880"/>
                  <a:gd name="T3" fmla="*/ 22 h 4005"/>
                  <a:gd name="T4" fmla="*/ 23 w 3880"/>
                  <a:gd name="T5" fmla="*/ 21 h 4005"/>
                  <a:gd name="T6" fmla="*/ 22 w 3880"/>
                  <a:gd name="T7" fmla="*/ 20 h 4005"/>
                  <a:gd name="T8" fmla="*/ 21 w 3880"/>
                  <a:gd name="T9" fmla="*/ 19 h 4005"/>
                  <a:gd name="T10" fmla="*/ 21 w 3880"/>
                  <a:gd name="T11" fmla="*/ 18 h 4005"/>
                  <a:gd name="T12" fmla="*/ 23 w 3880"/>
                  <a:gd name="T13" fmla="*/ 17 h 4005"/>
                  <a:gd name="T14" fmla="*/ 23 w 3880"/>
                  <a:gd name="T15" fmla="*/ 16 h 4005"/>
                  <a:gd name="T16" fmla="*/ 21 w 3880"/>
                  <a:gd name="T17" fmla="*/ 16 h 4005"/>
                  <a:gd name="T18" fmla="*/ 22 w 3880"/>
                  <a:gd name="T19" fmla="*/ 15 h 4005"/>
                  <a:gd name="T20" fmla="*/ 23 w 3880"/>
                  <a:gd name="T21" fmla="*/ 13 h 4005"/>
                  <a:gd name="T22" fmla="*/ 24 w 3880"/>
                  <a:gd name="T23" fmla="*/ 11 h 4005"/>
                  <a:gd name="T24" fmla="*/ 23 w 3880"/>
                  <a:gd name="T25" fmla="*/ 10 h 4005"/>
                  <a:gd name="T26" fmla="*/ 21 w 3880"/>
                  <a:gd name="T27" fmla="*/ 11 h 4005"/>
                  <a:gd name="T28" fmla="*/ 20 w 3880"/>
                  <a:gd name="T29" fmla="*/ 10 h 4005"/>
                  <a:gd name="T30" fmla="*/ 17 w 3880"/>
                  <a:gd name="T31" fmla="*/ 10 h 4005"/>
                  <a:gd name="T32" fmla="*/ 16 w 3880"/>
                  <a:gd name="T33" fmla="*/ 11 h 4005"/>
                  <a:gd name="T34" fmla="*/ 16 w 3880"/>
                  <a:gd name="T35" fmla="*/ 9 h 4005"/>
                  <a:gd name="T36" fmla="*/ 16 w 3880"/>
                  <a:gd name="T37" fmla="*/ 8 h 4005"/>
                  <a:gd name="T38" fmla="*/ 13 w 3880"/>
                  <a:gd name="T39" fmla="*/ 9 h 4005"/>
                  <a:gd name="T40" fmla="*/ 15 w 3880"/>
                  <a:gd name="T41" fmla="*/ 7 h 4005"/>
                  <a:gd name="T42" fmla="*/ 14 w 3880"/>
                  <a:gd name="T43" fmla="*/ 6 h 4005"/>
                  <a:gd name="T44" fmla="*/ 14 w 3880"/>
                  <a:gd name="T45" fmla="*/ 4 h 4005"/>
                  <a:gd name="T46" fmla="*/ 13 w 3880"/>
                  <a:gd name="T47" fmla="*/ 4 h 4005"/>
                  <a:gd name="T48" fmla="*/ 10 w 3880"/>
                  <a:gd name="T49" fmla="*/ 3 h 4005"/>
                  <a:gd name="T50" fmla="*/ 8 w 3880"/>
                  <a:gd name="T51" fmla="*/ 4 h 4005"/>
                  <a:gd name="T52" fmla="*/ 8 w 3880"/>
                  <a:gd name="T53" fmla="*/ 3 h 4005"/>
                  <a:gd name="T54" fmla="*/ 5 w 3880"/>
                  <a:gd name="T55" fmla="*/ 2 h 4005"/>
                  <a:gd name="T56" fmla="*/ 3 w 3880"/>
                  <a:gd name="T57" fmla="*/ 2 h 4005"/>
                  <a:gd name="T58" fmla="*/ 2 w 3880"/>
                  <a:gd name="T59" fmla="*/ 2 h 4005"/>
                  <a:gd name="T60" fmla="*/ 1 w 3880"/>
                  <a:gd name="T61" fmla="*/ 2 h 4005"/>
                  <a:gd name="T62" fmla="*/ 1 w 3880"/>
                  <a:gd name="T63" fmla="*/ 0 h 4005"/>
                  <a:gd name="T64" fmla="*/ 0 w 3880"/>
                  <a:gd name="T65" fmla="*/ 2 h 4005"/>
                  <a:gd name="T66" fmla="*/ 0 w 3880"/>
                  <a:gd name="T67" fmla="*/ 3 h 4005"/>
                  <a:gd name="T68" fmla="*/ 1 w 3880"/>
                  <a:gd name="T69" fmla="*/ 3 h 4005"/>
                  <a:gd name="T70" fmla="*/ 3 w 3880"/>
                  <a:gd name="T71" fmla="*/ 3 h 4005"/>
                  <a:gd name="T72" fmla="*/ 4 w 3880"/>
                  <a:gd name="T73" fmla="*/ 5 h 4005"/>
                  <a:gd name="T74" fmla="*/ 5 w 3880"/>
                  <a:gd name="T75" fmla="*/ 7 h 4005"/>
                  <a:gd name="T76" fmla="*/ 6 w 3880"/>
                  <a:gd name="T77" fmla="*/ 9 h 4005"/>
                  <a:gd name="T78" fmla="*/ 5 w 3880"/>
                  <a:gd name="T79" fmla="*/ 10 h 4005"/>
                  <a:gd name="T80" fmla="*/ 3 w 3880"/>
                  <a:gd name="T81" fmla="*/ 10 h 4005"/>
                  <a:gd name="T82" fmla="*/ 3 w 3880"/>
                  <a:gd name="T83" fmla="*/ 11 h 4005"/>
                  <a:gd name="T84" fmla="*/ 4 w 3880"/>
                  <a:gd name="T85" fmla="*/ 11 h 4005"/>
                  <a:gd name="T86" fmla="*/ 6 w 3880"/>
                  <a:gd name="T87" fmla="*/ 11 h 4005"/>
                  <a:gd name="T88" fmla="*/ 5 w 3880"/>
                  <a:gd name="T89" fmla="*/ 12 h 4005"/>
                  <a:gd name="T90" fmla="*/ 5 w 3880"/>
                  <a:gd name="T91" fmla="*/ 13 h 4005"/>
                  <a:gd name="T92" fmla="*/ 6 w 3880"/>
                  <a:gd name="T93" fmla="*/ 14 h 4005"/>
                  <a:gd name="T94" fmla="*/ 6 w 3880"/>
                  <a:gd name="T95" fmla="*/ 15 h 4005"/>
                  <a:gd name="T96" fmla="*/ 5 w 3880"/>
                  <a:gd name="T97" fmla="*/ 17 h 4005"/>
                  <a:gd name="T98" fmla="*/ 6 w 3880"/>
                  <a:gd name="T99" fmla="*/ 17 h 4005"/>
                  <a:gd name="T100" fmla="*/ 9 w 3880"/>
                  <a:gd name="T101" fmla="*/ 19 h 4005"/>
                  <a:gd name="T102" fmla="*/ 11 w 3880"/>
                  <a:gd name="T103" fmla="*/ 20 h 4005"/>
                  <a:gd name="T104" fmla="*/ 12 w 3880"/>
                  <a:gd name="T105" fmla="*/ 22 h 4005"/>
                  <a:gd name="T106" fmla="*/ 13 w 3880"/>
                  <a:gd name="T107" fmla="*/ 21 h 4005"/>
                  <a:gd name="T108" fmla="*/ 14 w 3880"/>
                  <a:gd name="T109" fmla="*/ 21 h 4005"/>
                  <a:gd name="T110" fmla="*/ 14 w 3880"/>
                  <a:gd name="T111" fmla="*/ 21 h 4005"/>
                  <a:gd name="T112" fmla="*/ 15 w 3880"/>
                  <a:gd name="T113" fmla="*/ 21 h 4005"/>
                  <a:gd name="T114" fmla="*/ 16 w 3880"/>
                  <a:gd name="T115" fmla="*/ 20 h 4005"/>
                  <a:gd name="T116" fmla="*/ 16 w 3880"/>
                  <a:gd name="T117" fmla="*/ 20 h 4005"/>
                  <a:gd name="T118" fmla="*/ 16 w 3880"/>
                  <a:gd name="T119" fmla="*/ 22 h 4005"/>
                  <a:gd name="T120" fmla="*/ 17 w 3880"/>
                  <a:gd name="T121" fmla="*/ 24 h 4005"/>
                  <a:gd name="T122" fmla="*/ 20 w 3880"/>
                  <a:gd name="T123" fmla="*/ 25 h 40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880"/>
                  <a:gd name="T187" fmla="*/ 0 h 4005"/>
                  <a:gd name="T188" fmla="*/ 3880 w 3880"/>
                  <a:gd name="T189" fmla="*/ 4005 h 400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880" h="4005">
                    <a:moveTo>
                      <a:pt x="3184" y="3879"/>
                    </a:moveTo>
                    <a:lnTo>
                      <a:pt x="3194" y="3869"/>
                    </a:lnTo>
                    <a:lnTo>
                      <a:pt x="3205" y="3858"/>
                    </a:lnTo>
                    <a:lnTo>
                      <a:pt x="3215" y="3847"/>
                    </a:lnTo>
                    <a:lnTo>
                      <a:pt x="3223" y="3836"/>
                    </a:lnTo>
                    <a:lnTo>
                      <a:pt x="3240" y="3814"/>
                    </a:lnTo>
                    <a:lnTo>
                      <a:pt x="3256" y="3792"/>
                    </a:lnTo>
                    <a:lnTo>
                      <a:pt x="3272" y="3771"/>
                    </a:lnTo>
                    <a:lnTo>
                      <a:pt x="3292" y="3748"/>
                    </a:lnTo>
                    <a:lnTo>
                      <a:pt x="3303" y="3737"/>
                    </a:lnTo>
                    <a:lnTo>
                      <a:pt x="3316" y="3726"/>
                    </a:lnTo>
                    <a:lnTo>
                      <a:pt x="3329" y="3715"/>
                    </a:lnTo>
                    <a:lnTo>
                      <a:pt x="3343" y="3705"/>
                    </a:lnTo>
                    <a:lnTo>
                      <a:pt x="3359" y="3696"/>
                    </a:lnTo>
                    <a:lnTo>
                      <a:pt x="3377" y="3689"/>
                    </a:lnTo>
                    <a:lnTo>
                      <a:pt x="3394" y="3683"/>
                    </a:lnTo>
                    <a:lnTo>
                      <a:pt x="3411" y="3678"/>
                    </a:lnTo>
                    <a:lnTo>
                      <a:pt x="3419" y="3674"/>
                    </a:lnTo>
                    <a:lnTo>
                      <a:pt x="3426" y="3670"/>
                    </a:lnTo>
                    <a:lnTo>
                      <a:pt x="3434" y="3665"/>
                    </a:lnTo>
                    <a:lnTo>
                      <a:pt x="3441" y="3660"/>
                    </a:lnTo>
                    <a:lnTo>
                      <a:pt x="3447" y="3654"/>
                    </a:lnTo>
                    <a:lnTo>
                      <a:pt x="3452" y="3647"/>
                    </a:lnTo>
                    <a:lnTo>
                      <a:pt x="3458" y="3639"/>
                    </a:lnTo>
                    <a:lnTo>
                      <a:pt x="3463" y="3628"/>
                    </a:lnTo>
                    <a:lnTo>
                      <a:pt x="3465" y="3620"/>
                    </a:lnTo>
                    <a:lnTo>
                      <a:pt x="3467" y="3612"/>
                    </a:lnTo>
                    <a:lnTo>
                      <a:pt x="3470" y="3604"/>
                    </a:lnTo>
                    <a:lnTo>
                      <a:pt x="3470" y="3596"/>
                    </a:lnTo>
                    <a:lnTo>
                      <a:pt x="3470" y="3580"/>
                    </a:lnTo>
                    <a:lnTo>
                      <a:pt x="3470" y="3565"/>
                    </a:lnTo>
                    <a:lnTo>
                      <a:pt x="3471" y="3557"/>
                    </a:lnTo>
                    <a:lnTo>
                      <a:pt x="3472" y="3550"/>
                    </a:lnTo>
                    <a:lnTo>
                      <a:pt x="3474" y="3543"/>
                    </a:lnTo>
                    <a:lnTo>
                      <a:pt x="3476" y="3538"/>
                    </a:lnTo>
                    <a:lnTo>
                      <a:pt x="3481" y="3532"/>
                    </a:lnTo>
                    <a:lnTo>
                      <a:pt x="3487" y="3526"/>
                    </a:lnTo>
                    <a:lnTo>
                      <a:pt x="3495" y="3522"/>
                    </a:lnTo>
                    <a:lnTo>
                      <a:pt x="3504" y="3517"/>
                    </a:lnTo>
                    <a:lnTo>
                      <a:pt x="3511" y="3519"/>
                    </a:lnTo>
                    <a:lnTo>
                      <a:pt x="3518" y="3522"/>
                    </a:lnTo>
                    <a:lnTo>
                      <a:pt x="3523" y="3523"/>
                    </a:lnTo>
                    <a:lnTo>
                      <a:pt x="3528" y="3523"/>
                    </a:lnTo>
                    <a:lnTo>
                      <a:pt x="3534" y="3524"/>
                    </a:lnTo>
                    <a:lnTo>
                      <a:pt x="3539" y="3524"/>
                    </a:lnTo>
                    <a:lnTo>
                      <a:pt x="3545" y="3524"/>
                    </a:lnTo>
                    <a:lnTo>
                      <a:pt x="3553" y="3524"/>
                    </a:lnTo>
                    <a:lnTo>
                      <a:pt x="3557" y="3524"/>
                    </a:lnTo>
                    <a:lnTo>
                      <a:pt x="3561" y="3522"/>
                    </a:lnTo>
                    <a:lnTo>
                      <a:pt x="3566" y="3519"/>
                    </a:lnTo>
                    <a:lnTo>
                      <a:pt x="3570" y="3517"/>
                    </a:lnTo>
                    <a:lnTo>
                      <a:pt x="3580" y="3508"/>
                    </a:lnTo>
                    <a:lnTo>
                      <a:pt x="3588" y="3498"/>
                    </a:lnTo>
                    <a:lnTo>
                      <a:pt x="3596" y="3485"/>
                    </a:lnTo>
                    <a:lnTo>
                      <a:pt x="3603" y="3470"/>
                    </a:lnTo>
                    <a:lnTo>
                      <a:pt x="3609" y="3454"/>
                    </a:lnTo>
                    <a:lnTo>
                      <a:pt x="3616" y="3437"/>
                    </a:lnTo>
                    <a:lnTo>
                      <a:pt x="3628" y="3404"/>
                    </a:lnTo>
                    <a:lnTo>
                      <a:pt x="3636" y="3371"/>
                    </a:lnTo>
                    <a:lnTo>
                      <a:pt x="3642" y="3345"/>
                    </a:lnTo>
                    <a:lnTo>
                      <a:pt x="3643" y="3329"/>
                    </a:lnTo>
                    <a:lnTo>
                      <a:pt x="3643" y="3311"/>
                    </a:lnTo>
                    <a:lnTo>
                      <a:pt x="3639" y="3292"/>
                    </a:lnTo>
                    <a:lnTo>
                      <a:pt x="3637" y="3283"/>
                    </a:lnTo>
                    <a:lnTo>
                      <a:pt x="3635" y="3275"/>
                    </a:lnTo>
                    <a:lnTo>
                      <a:pt x="3631" y="3266"/>
                    </a:lnTo>
                    <a:lnTo>
                      <a:pt x="3628" y="3259"/>
                    </a:lnTo>
                    <a:lnTo>
                      <a:pt x="3623" y="3251"/>
                    </a:lnTo>
                    <a:lnTo>
                      <a:pt x="3619" y="3245"/>
                    </a:lnTo>
                    <a:lnTo>
                      <a:pt x="3614" y="3240"/>
                    </a:lnTo>
                    <a:lnTo>
                      <a:pt x="3608" y="3234"/>
                    </a:lnTo>
                    <a:lnTo>
                      <a:pt x="3601" y="3230"/>
                    </a:lnTo>
                    <a:lnTo>
                      <a:pt x="3596" y="3227"/>
                    </a:lnTo>
                    <a:lnTo>
                      <a:pt x="3588" y="3226"/>
                    </a:lnTo>
                    <a:lnTo>
                      <a:pt x="3581" y="3225"/>
                    </a:lnTo>
                    <a:lnTo>
                      <a:pt x="3561" y="3219"/>
                    </a:lnTo>
                    <a:lnTo>
                      <a:pt x="3534" y="3207"/>
                    </a:lnTo>
                    <a:lnTo>
                      <a:pt x="3499" y="3193"/>
                    </a:lnTo>
                    <a:lnTo>
                      <a:pt x="3463" y="3173"/>
                    </a:lnTo>
                    <a:lnTo>
                      <a:pt x="3445" y="3163"/>
                    </a:lnTo>
                    <a:lnTo>
                      <a:pt x="3428" y="3152"/>
                    </a:lnTo>
                    <a:lnTo>
                      <a:pt x="3413" y="3141"/>
                    </a:lnTo>
                    <a:lnTo>
                      <a:pt x="3400" y="3129"/>
                    </a:lnTo>
                    <a:lnTo>
                      <a:pt x="3388" y="3118"/>
                    </a:lnTo>
                    <a:lnTo>
                      <a:pt x="3379" y="3107"/>
                    </a:lnTo>
                    <a:lnTo>
                      <a:pt x="3376" y="3102"/>
                    </a:lnTo>
                    <a:lnTo>
                      <a:pt x="3373" y="3096"/>
                    </a:lnTo>
                    <a:lnTo>
                      <a:pt x="3372" y="3090"/>
                    </a:lnTo>
                    <a:lnTo>
                      <a:pt x="3372" y="3085"/>
                    </a:lnTo>
                    <a:lnTo>
                      <a:pt x="3372" y="3077"/>
                    </a:lnTo>
                    <a:lnTo>
                      <a:pt x="3373" y="3069"/>
                    </a:lnTo>
                    <a:lnTo>
                      <a:pt x="3374" y="3062"/>
                    </a:lnTo>
                    <a:lnTo>
                      <a:pt x="3376" y="3056"/>
                    </a:lnTo>
                    <a:lnTo>
                      <a:pt x="3380" y="3046"/>
                    </a:lnTo>
                    <a:lnTo>
                      <a:pt x="3386" y="3035"/>
                    </a:lnTo>
                    <a:lnTo>
                      <a:pt x="3390" y="3025"/>
                    </a:lnTo>
                    <a:lnTo>
                      <a:pt x="3395" y="3014"/>
                    </a:lnTo>
                    <a:lnTo>
                      <a:pt x="3397" y="3007"/>
                    </a:lnTo>
                    <a:lnTo>
                      <a:pt x="3398" y="3000"/>
                    </a:lnTo>
                    <a:lnTo>
                      <a:pt x="3400" y="2991"/>
                    </a:lnTo>
                    <a:lnTo>
                      <a:pt x="3400" y="2980"/>
                    </a:lnTo>
                    <a:lnTo>
                      <a:pt x="3400" y="2973"/>
                    </a:lnTo>
                    <a:lnTo>
                      <a:pt x="3398" y="2967"/>
                    </a:lnTo>
                    <a:lnTo>
                      <a:pt x="3396" y="2960"/>
                    </a:lnTo>
                    <a:lnTo>
                      <a:pt x="3394" y="2953"/>
                    </a:lnTo>
                    <a:lnTo>
                      <a:pt x="3388" y="2940"/>
                    </a:lnTo>
                    <a:lnTo>
                      <a:pt x="3382" y="2929"/>
                    </a:lnTo>
                    <a:lnTo>
                      <a:pt x="3376" y="2917"/>
                    </a:lnTo>
                    <a:lnTo>
                      <a:pt x="3370" y="2905"/>
                    </a:lnTo>
                    <a:lnTo>
                      <a:pt x="3367" y="2898"/>
                    </a:lnTo>
                    <a:lnTo>
                      <a:pt x="3366" y="2891"/>
                    </a:lnTo>
                    <a:lnTo>
                      <a:pt x="3365" y="2884"/>
                    </a:lnTo>
                    <a:lnTo>
                      <a:pt x="3365" y="2876"/>
                    </a:lnTo>
                    <a:lnTo>
                      <a:pt x="3365" y="2865"/>
                    </a:lnTo>
                    <a:lnTo>
                      <a:pt x="3366" y="2854"/>
                    </a:lnTo>
                    <a:lnTo>
                      <a:pt x="3370" y="2845"/>
                    </a:lnTo>
                    <a:lnTo>
                      <a:pt x="3373" y="2836"/>
                    </a:lnTo>
                    <a:lnTo>
                      <a:pt x="3378" y="2829"/>
                    </a:lnTo>
                    <a:lnTo>
                      <a:pt x="3384" y="2821"/>
                    </a:lnTo>
                    <a:lnTo>
                      <a:pt x="3389" y="2814"/>
                    </a:lnTo>
                    <a:lnTo>
                      <a:pt x="3396" y="2808"/>
                    </a:lnTo>
                    <a:lnTo>
                      <a:pt x="3404" y="2804"/>
                    </a:lnTo>
                    <a:lnTo>
                      <a:pt x="3412" y="2798"/>
                    </a:lnTo>
                    <a:lnTo>
                      <a:pt x="3421" y="2793"/>
                    </a:lnTo>
                    <a:lnTo>
                      <a:pt x="3431" y="2790"/>
                    </a:lnTo>
                    <a:lnTo>
                      <a:pt x="3451" y="2783"/>
                    </a:lnTo>
                    <a:lnTo>
                      <a:pt x="3473" y="2778"/>
                    </a:lnTo>
                    <a:lnTo>
                      <a:pt x="3519" y="2769"/>
                    </a:lnTo>
                    <a:lnTo>
                      <a:pt x="3565" y="2761"/>
                    </a:lnTo>
                    <a:lnTo>
                      <a:pt x="3586" y="2757"/>
                    </a:lnTo>
                    <a:lnTo>
                      <a:pt x="3607" y="2752"/>
                    </a:lnTo>
                    <a:lnTo>
                      <a:pt x="3617" y="2749"/>
                    </a:lnTo>
                    <a:lnTo>
                      <a:pt x="3627" y="2745"/>
                    </a:lnTo>
                    <a:lnTo>
                      <a:pt x="3635" y="2742"/>
                    </a:lnTo>
                    <a:lnTo>
                      <a:pt x="3643" y="2737"/>
                    </a:lnTo>
                    <a:lnTo>
                      <a:pt x="3639" y="2734"/>
                    </a:lnTo>
                    <a:lnTo>
                      <a:pt x="3633" y="2730"/>
                    </a:lnTo>
                    <a:lnTo>
                      <a:pt x="3628" y="2727"/>
                    </a:lnTo>
                    <a:lnTo>
                      <a:pt x="3621" y="2725"/>
                    </a:lnTo>
                    <a:lnTo>
                      <a:pt x="3607" y="2719"/>
                    </a:lnTo>
                    <a:lnTo>
                      <a:pt x="3593" y="2714"/>
                    </a:lnTo>
                    <a:lnTo>
                      <a:pt x="3581" y="2709"/>
                    </a:lnTo>
                    <a:lnTo>
                      <a:pt x="3569" y="2702"/>
                    </a:lnTo>
                    <a:lnTo>
                      <a:pt x="3566" y="2697"/>
                    </a:lnTo>
                    <a:lnTo>
                      <a:pt x="3562" y="2692"/>
                    </a:lnTo>
                    <a:lnTo>
                      <a:pt x="3560" y="2688"/>
                    </a:lnTo>
                    <a:lnTo>
                      <a:pt x="3560" y="2681"/>
                    </a:lnTo>
                    <a:lnTo>
                      <a:pt x="3560" y="2675"/>
                    </a:lnTo>
                    <a:lnTo>
                      <a:pt x="3561" y="2668"/>
                    </a:lnTo>
                    <a:lnTo>
                      <a:pt x="3564" y="2662"/>
                    </a:lnTo>
                    <a:lnTo>
                      <a:pt x="3566" y="2656"/>
                    </a:lnTo>
                    <a:lnTo>
                      <a:pt x="3573" y="2642"/>
                    </a:lnTo>
                    <a:lnTo>
                      <a:pt x="3582" y="2629"/>
                    </a:lnTo>
                    <a:lnTo>
                      <a:pt x="3590" y="2618"/>
                    </a:lnTo>
                    <a:lnTo>
                      <a:pt x="3598" y="2606"/>
                    </a:lnTo>
                    <a:lnTo>
                      <a:pt x="3605" y="2595"/>
                    </a:lnTo>
                    <a:lnTo>
                      <a:pt x="3608" y="2584"/>
                    </a:lnTo>
                    <a:lnTo>
                      <a:pt x="3604" y="2587"/>
                    </a:lnTo>
                    <a:lnTo>
                      <a:pt x="3598" y="2589"/>
                    </a:lnTo>
                    <a:lnTo>
                      <a:pt x="3592" y="2592"/>
                    </a:lnTo>
                    <a:lnTo>
                      <a:pt x="3586" y="2594"/>
                    </a:lnTo>
                    <a:lnTo>
                      <a:pt x="3581" y="2597"/>
                    </a:lnTo>
                    <a:lnTo>
                      <a:pt x="3574" y="2600"/>
                    </a:lnTo>
                    <a:lnTo>
                      <a:pt x="3567" y="2602"/>
                    </a:lnTo>
                    <a:lnTo>
                      <a:pt x="3560" y="2604"/>
                    </a:lnTo>
                    <a:lnTo>
                      <a:pt x="3554" y="2597"/>
                    </a:lnTo>
                    <a:lnTo>
                      <a:pt x="3550" y="2590"/>
                    </a:lnTo>
                    <a:lnTo>
                      <a:pt x="3546" y="2582"/>
                    </a:lnTo>
                    <a:lnTo>
                      <a:pt x="3543" y="2575"/>
                    </a:lnTo>
                    <a:lnTo>
                      <a:pt x="3539" y="2567"/>
                    </a:lnTo>
                    <a:lnTo>
                      <a:pt x="3537" y="2557"/>
                    </a:lnTo>
                    <a:lnTo>
                      <a:pt x="3535" y="2547"/>
                    </a:lnTo>
                    <a:lnTo>
                      <a:pt x="3531" y="2535"/>
                    </a:lnTo>
                    <a:lnTo>
                      <a:pt x="3502" y="2535"/>
                    </a:lnTo>
                    <a:lnTo>
                      <a:pt x="3473" y="2533"/>
                    </a:lnTo>
                    <a:lnTo>
                      <a:pt x="3459" y="2532"/>
                    </a:lnTo>
                    <a:lnTo>
                      <a:pt x="3447" y="2530"/>
                    </a:lnTo>
                    <a:lnTo>
                      <a:pt x="3435" y="2526"/>
                    </a:lnTo>
                    <a:lnTo>
                      <a:pt x="3425" y="2522"/>
                    </a:lnTo>
                    <a:lnTo>
                      <a:pt x="3416" y="2517"/>
                    </a:lnTo>
                    <a:lnTo>
                      <a:pt x="3406" y="2510"/>
                    </a:lnTo>
                    <a:lnTo>
                      <a:pt x="3400" y="2501"/>
                    </a:lnTo>
                    <a:lnTo>
                      <a:pt x="3394" y="2491"/>
                    </a:lnTo>
                    <a:lnTo>
                      <a:pt x="3389" y="2479"/>
                    </a:lnTo>
                    <a:lnTo>
                      <a:pt x="3386" y="2465"/>
                    </a:lnTo>
                    <a:lnTo>
                      <a:pt x="3385" y="2449"/>
                    </a:lnTo>
                    <a:lnTo>
                      <a:pt x="3386" y="2431"/>
                    </a:lnTo>
                    <a:lnTo>
                      <a:pt x="3386" y="2418"/>
                    </a:lnTo>
                    <a:lnTo>
                      <a:pt x="3387" y="2408"/>
                    </a:lnTo>
                    <a:lnTo>
                      <a:pt x="3388" y="2398"/>
                    </a:lnTo>
                    <a:lnTo>
                      <a:pt x="3390" y="2389"/>
                    </a:lnTo>
                    <a:lnTo>
                      <a:pt x="3393" y="2381"/>
                    </a:lnTo>
                    <a:lnTo>
                      <a:pt x="3395" y="2374"/>
                    </a:lnTo>
                    <a:lnTo>
                      <a:pt x="3398" y="2367"/>
                    </a:lnTo>
                    <a:lnTo>
                      <a:pt x="3403" y="2361"/>
                    </a:lnTo>
                    <a:lnTo>
                      <a:pt x="3406" y="2355"/>
                    </a:lnTo>
                    <a:lnTo>
                      <a:pt x="3412" y="2351"/>
                    </a:lnTo>
                    <a:lnTo>
                      <a:pt x="3417" y="2347"/>
                    </a:lnTo>
                    <a:lnTo>
                      <a:pt x="3421" y="2344"/>
                    </a:lnTo>
                    <a:lnTo>
                      <a:pt x="3433" y="2338"/>
                    </a:lnTo>
                    <a:lnTo>
                      <a:pt x="3445" y="2334"/>
                    </a:lnTo>
                    <a:lnTo>
                      <a:pt x="3472" y="2327"/>
                    </a:lnTo>
                    <a:lnTo>
                      <a:pt x="3500" y="2321"/>
                    </a:lnTo>
                    <a:lnTo>
                      <a:pt x="3514" y="2317"/>
                    </a:lnTo>
                    <a:lnTo>
                      <a:pt x="3528" y="2313"/>
                    </a:lnTo>
                    <a:lnTo>
                      <a:pt x="3541" y="2306"/>
                    </a:lnTo>
                    <a:lnTo>
                      <a:pt x="3553" y="2298"/>
                    </a:lnTo>
                    <a:lnTo>
                      <a:pt x="3561" y="2291"/>
                    </a:lnTo>
                    <a:lnTo>
                      <a:pt x="3568" y="2284"/>
                    </a:lnTo>
                    <a:lnTo>
                      <a:pt x="3575" y="2277"/>
                    </a:lnTo>
                    <a:lnTo>
                      <a:pt x="3581" y="2269"/>
                    </a:lnTo>
                    <a:lnTo>
                      <a:pt x="3590" y="2252"/>
                    </a:lnTo>
                    <a:lnTo>
                      <a:pt x="3598" y="2236"/>
                    </a:lnTo>
                    <a:lnTo>
                      <a:pt x="3606" y="2219"/>
                    </a:lnTo>
                    <a:lnTo>
                      <a:pt x="3615" y="2203"/>
                    </a:lnTo>
                    <a:lnTo>
                      <a:pt x="3621" y="2195"/>
                    </a:lnTo>
                    <a:lnTo>
                      <a:pt x="3628" y="2187"/>
                    </a:lnTo>
                    <a:lnTo>
                      <a:pt x="3635" y="2180"/>
                    </a:lnTo>
                    <a:lnTo>
                      <a:pt x="3643" y="2173"/>
                    </a:lnTo>
                    <a:lnTo>
                      <a:pt x="3679" y="2151"/>
                    </a:lnTo>
                    <a:lnTo>
                      <a:pt x="3714" y="2132"/>
                    </a:lnTo>
                    <a:lnTo>
                      <a:pt x="3730" y="2122"/>
                    </a:lnTo>
                    <a:lnTo>
                      <a:pt x="3746" y="2113"/>
                    </a:lnTo>
                    <a:lnTo>
                      <a:pt x="3761" y="2103"/>
                    </a:lnTo>
                    <a:lnTo>
                      <a:pt x="3775" y="2093"/>
                    </a:lnTo>
                    <a:lnTo>
                      <a:pt x="3787" y="2081"/>
                    </a:lnTo>
                    <a:lnTo>
                      <a:pt x="3799" y="2069"/>
                    </a:lnTo>
                    <a:lnTo>
                      <a:pt x="3809" y="2054"/>
                    </a:lnTo>
                    <a:lnTo>
                      <a:pt x="3818" y="2038"/>
                    </a:lnTo>
                    <a:lnTo>
                      <a:pt x="3826" y="2019"/>
                    </a:lnTo>
                    <a:lnTo>
                      <a:pt x="3832" y="1999"/>
                    </a:lnTo>
                    <a:lnTo>
                      <a:pt x="3836" y="1976"/>
                    </a:lnTo>
                    <a:lnTo>
                      <a:pt x="3839" y="1950"/>
                    </a:lnTo>
                    <a:lnTo>
                      <a:pt x="3836" y="1919"/>
                    </a:lnTo>
                    <a:lnTo>
                      <a:pt x="3834" y="1891"/>
                    </a:lnTo>
                    <a:lnTo>
                      <a:pt x="3830" y="1862"/>
                    </a:lnTo>
                    <a:lnTo>
                      <a:pt x="3824" y="1835"/>
                    </a:lnTo>
                    <a:lnTo>
                      <a:pt x="3819" y="1807"/>
                    </a:lnTo>
                    <a:lnTo>
                      <a:pt x="3815" y="1780"/>
                    </a:lnTo>
                    <a:lnTo>
                      <a:pt x="3811" y="1751"/>
                    </a:lnTo>
                    <a:lnTo>
                      <a:pt x="3810" y="1720"/>
                    </a:lnTo>
                    <a:lnTo>
                      <a:pt x="3812" y="1714"/>
                    </a:lnTo>
                    <a:lnTo>
                      <a:pt x="3815" y="1707"/>
                    </a:lnTo>
                    <a:lnTo>
                      <a:pt x="3817" y="1702"/>
                    </a:lnTo>
                    <a:lnTo>
                      <a:pt x="3820" y="1696"/>
                    </a:lnTo>
                    <a:lnTo>
                      <a:pt x="3828" y="1684"/>
                    </a:lnTo>
                    <a:lnTo>
                      <a:pt x="3838" y="1673"/>
                    </a:lnTo>
                    <a:lnTo>
                      <a:pt x="3848" y="1663"/>
                    </a:lnTo>
                    <a:lnTo>
                      <a:pt x="3858" y="1653"/>
                    </a:lnTo>
                    <a:lnTo>
                      <a:pt x="3870" y="1644"/>
                    </a:lnTo>
                    <a:lnTo>
                      <a:pt x="3880" y="1636"/>
                    </a:lnTo>
                    <a:lnTo>
                      <a:pt x="3875" y="1634"/>
                    </a:lnTo>
                    <a:lnTo>
                      <a:pt x="3869" y="1632"/>
                    </a:lnTo>
                    <a:lnTo>
                      <a:pt x="3858" y="1630"/>
                    </a:lnTo>
                    <a:lnTo>
                      <a:pt x="3846" y="1628"/>
                    </a:lnTo>
                    <a:lnTo>
                      <a:pt x="3815" y="1626"/>
                    </a:lnTo>
                    <a:lnTo>
                      <a:pt x="3778" y="1625"/>
                    </a:lnTo>
                    <a:lnTo>
                      <a:pt x="3739" y="1624"/>
                    </a:lnTo>
                    <a:lnTo>
                      <a:pt x="3699" y="1622"/>
                    </a:lnTo>
                    <a:lnTo>
                      <a:pt x="3661" y="1622"/>
                    </a:lnTo>
                    <a:lnTo>
                      <a:pt x="3629" y="1622"/>
                    </a:lnTo>
                    <a:lnTo>
                      <a:pt x="3619" y="1624"/>
                    </a:lnTo>
                    <a:lnTo>
                      <a:pt x="3609" y="1625"/>
                    </a:lnTo>
                    <a:lnTo>
                      <a:pt x="3600" y="1627"/>
                    </a:lnTo>
                    <a:lnTo>
                      <a:pt x="3591" y="1630"/>
                    </a:lnTo>
                    <a:lnTo>
                      <a:pt x="3582" y="1635"/>
                    </a:lnTo>
                    <a:lnTo>
                      <a:pt x="3574" y="1640"/>
                    </a:lnTo>
                    <a:lnTo>
                      <a:pt x="3566" y="1645"/>
                    </a:lnTo>
                    <a:lnTo>
                      <a:pt x="3559" y="1652"/>
                    </a:lnTo>
                    <a:lnTo>
                      <a:pt x="3544" y="1666"/>
                    </a:lnTo>
                    <a:lnTo>
                      <a:pt x="3529" y="1682"/>
                    </a:lnTo>
                    <a:lnTo>
                      <a:pt x="3515" y="1699"/>
                    </a:lnTo>
                    <a:lnTo>
                      <a:pt x="3502" y="1716"/>
                    </a:lnTo>
                    <a:lnTo>
                      <a:pt x="3487" y="1734"/>
                    </a:lnTo>
                    <a:lnTo>
                      <a:pt x="3472" y="1751"/>
                    </a:lnTo>
                    <a:lnTo>
                      <a:pt x="3457" y="1767"/>
                    </a:lnTo>
                    <a:lnTo>
                      <a:pt x="3440" y="1782"/>
                    </a:lnTo>
                    <a:lnTo>
                      <a:pt x="3432" y="1788"/>
                    </a:lnTo>
                    <a:lnTo>
                      <a:pt x="3423" y="1793"/>
                    </a:lnTo>
                    <a:lnTo>
                      <a:pt x="3412" y="1798"/>
                    </a:lnTo>
                    <a:lnTo>
                      <a:pt x="3403" y="1803"/>
                    </a:lnTo>
                    <a:lnTo>
                      <a:pt x="3393" y="1806"/>
                    </a:lnTo>
                    <a:lnTo>
                      <a:pt x="3381" y="1808"/>
                    </a:lnTo>
                    <a:lnTo>
                      <a:pt x="3370" y="1811"/>
                    </a:lnTo>
                    <a:lnTo>
                      <a:pt x="3357" y="1811"/>
                    </a:lnTo>
                    <a:lnTo>
                      <a:pt x="3338" y="1808"/>
                    </a:lnTo>
                    <a:lnTo>
                      <a:pt x="3318" y="1804"/>
                    </a:lnTo>
                    <a:lnTo>
                      <a:pt x="3301" y="1798"/>
                    </a:lnTo>
                    <a:lnTo>
                      <a:pt x="3285" y="1790"/>
                    </a:lnTo>
                    <a:lnTo>
                      <a:pt x="3269" y="1781"/>
                    </a:lnTo>
                    <a:lnTo>
                      <a:pt x="3254" y="1770"/>
                    </a:lnTo>
                    <a:lnTo>
                      <a:pt x="3240" y="1759"/>
                    </a:lnTo>
                    <a:lnTo>
                      <a:pt x="3226" y="1746"/>
                    </a:lnTo>
                    <a:lnTo>
                      <a:pt x="3200" y="1721"/>
                    </a:lnTo>
                    <a:lnTo>
                      <a:pt x="3175" y="1695"/>
                    </a:lnTo>
                    <a:lnTo>
                      <a:pt x="3162" y="1683"/>
                    </a:lnTo>
                    <a:lnTo>
                      <a:pt x="3149" y="1671"/>
                    </a:lnTo>
                    <a:lnTo>
                      <a:pt x="3135" y="1660"/>
                    </a:lnTo>
                    <a:lnTo>
                      <a:pt x="3121" y="1650"/>
                    </a:lnTo>
                    <a:lnTo>
                      <a:pt x="3099" y="1639"/>
                    </a:lnTo>
                    <a:lnTo>
                      <a:pt x="3076" y="1627"/>
                    </a:lnTo>
                    <a:lnTo>
                      <a:pt x="3054" y="1617"/>
                    </a:lnTo>
                    <a:lnTo>
                      <a:pt x="3033" y="1608"/>
                    </a:lnTo>
                    <a:lnTo>
                      <a:pt x="2988" y="1591"/>
                    </a:lnTo>
                    <a:lnTo>
                      <a:pt x="2944" y="1574"/>
                    </a:lnTo>
                    <a:lnTo>
                      <a:pt x="2923" y="1566"/>
                    </a:lnTo>
                    <a:lnTo>
                      <a:pt x="2901" y="1558"/>
                    </a:lnTo>
                    <a:lnTo>
                      <a:pt x="2879" y="1548"/>
                    </a:lnTo>
                    <a:lnTo>
                      <a:pt x="2857" y="1538"/>
                    </a:lnTo>
                    <a:lnTo>
                      <a:pt x="2837" y="1526"/>
                    </a:lnTo>
                    <a:lnTo>
                      <a:pt x="2815" y="1513"/>
                    </a:lnTo>
                    <a:lnTo>
                      <a:pt x="2794" y="1500"/>
                    </a:lnTo>
                    <a:lnTo>
                      <a:pt x="2772" y="1484"/>
                    </a:lnTo>
                    <a:lnTo>
                      <a:pt x="2753" y="1499"/>
                    </a:lnTo>
                    <a:lnTo>
                      <a:pt x="2730" y="1513"/>
                    </a:lnTo>
                    <a:lnTo>
                      <a:pt x="2706" y="1528"/>
                    </a:lnTo>
                    <a:lnTo>
                      <a:pt x="2682" y="1544"/>
                    </a:lnTo>
                    <a:lnTo>
                      <a:pt x="2658" y="1561"/>
                    </a:lnTo>
                    <a:lnTo>
                      <a:pt x="2637" y="1578"/>
                    </a:lnTo>
                    <a:lnTo>
                      <a:pt x="2627" y="1587"/>
                    </a:lnTo>
                    <a:lnTo>
                      <a:pt x="2619" y="1596"/>
                    </a:lnTo>
                    <a:lnTo>
                      <a:pt x="2612" y="1605"/>
                    </a:lnTo>
                    <a:lnTo>
                      <a:pt x="2606" y="1616"/>
                    </a:lnTo>
                    <a:lnTo>
                      <a:pt x="2597" y="1636"/>
                    </a:lnTo>
                    <a:lnTo>
                      <a:pt x="2590" y="1656"/>
                    </a:lnTo>
                    <a:lnTo>
                      <a:pt x="2584" y="1675"/>
                    </a:lnTo>
                    <a:lnTo>
                      <a:pt x="2580" y="1692"/>
                    </a:lnTo>
                    <a:lnTo>
                      <a:pt x="2574" y="1708"/>
                    </a:lnTo>
                    <a:lnTo>
                      <a:pt x="2566" y="1723"/>
                    </a:lnTo>
                    <a:lnTo>
                      <a:pt x="2561" y="1730"/>
                    </a:lnTo>
                    <a:lnTo>
                      <a:pt x="2557" y="1737"/>
                    </a:lnTo>
                    <a:lnTo>
                      <a:pt x="2550" y="1743"/>
                    </a:lnTo>
                    <a:lnTo>
                      <a:pt x="2543" y="1749"/>
                    </a:lnTo>
                    <a:lnTo>
                      <a:pt x="2541" y="1743"/>
                    </a:lnTo>
                    <a:lnTo>
                      <a:pt x="2537" y="1737"/>
                    </a:lnTo>
                    <a:lnTo>
                      <a:pt x="2535" y="1731"/>
                    </a:lnTo>
                    <a:lnTo>
                      <a:pt x="2534" y="1726"/>
                    </a:lnTo>
                    <a:lnTo>
                      <a:pt x="2532" y="1719"/>
                    </a:lnTo>
                    <a:lnTo>
                      <a:pt x="2531" y="1711"/>
                    </a:lnTo>
                    <a:lnTo>
                      <a:pt x="2529" y="1702"/>
                    </a:lnTo>
                    <a:lnTo>
                      <a:pt x="2529" y="1692"/>
                    </a:lnTo>
                    <a:lnTo>
                      <a:pt x="2529" y="1681"/>
                    </a:lnTo>
                    <a:lnTo>
                      <a:pt x="2531" y="1671"/>
                    </a:lnTo>
                    <a:lnTo>
                      <a:pt x="2533" y="1660"/>
                    </a:lnTo>
                    <a:lnTo>
                      <a:pt x="2535" y="1651"/>
                    </a:lnTo>
                    <a:lnTo>
                      <a:pt x="2541" y="1634"/>
                    </a:lnTo>
                    <a:lnTo>
                      <a:pt x="2548" y="1619"/>
                    </a:lnTo>
                    <a:lnTo>
                      <a:pt x="2555" y="1605"/>
                    </a:lnTo>
                    <a:lnTo>
                      <a:pt x="2561" y="1593"/>
                    </a:lnTo>
                    <a:lnTo>
                      <a:pt x="2567" y="1580"/>
                    </a:lnTo>
                    <a:lnTo>
                      <a:pt x="2571" y="1567"/>
                    </a:lnTo>
                    <a:lnTo>
                      <a:pt x="2571" y="1556"/>
                    </a:lnTo>
                    <a:lnTo>
                      <a:pt x="2571" y="1548"/>
                    </a:lnTo>
                    <a:lnTo>
                      <a:pt x="2571" y="1543"/>
                    </a:lnTo>
                    <a:lnTo>
                      <a:pt x="2571" y="1539"/>
                    </a:lnTo>
                    <a:lnTo>
                      <a:pt x="2571" y="1535"/>
                    </a:lnTo>
                    <a:lnTo>
                      <a:pt x="2571" y="1530"/>
                    </a:lnTo>
                    <a:lnTo>
                      <a:pt x="2571" y="1523"/>
                    </a:lnTo>
                    <a:lnTo>
                      <a:pt x="2571" y="1511"/>
                    </a:lnTo>
                    <a:lnTo>
                      <a:pt x="2572" y="1503"/>
                    </a:lnTo>
                    <a:lnTo>
                      <a:pt x="2575" y="1496"/>
                    </a:lnTo>
                    <a:lnTo>
                      <a:pt x="2580" y="1489"/>
                    </a:lnTo>
                    <a:lnTo>
                      <a:pt x="2584" y="1484"/>
                    </a:lnTo>
                    <a:lnTo>
                      <a:pt x="2590" y="1477"/>
                    </a:lnTo>
                    <a:lnTo>
                      <a:pt x="2595" y="1470"/>
                    </a:lnTo>
                    <a:lnTo>
                      <a:pt x="2597" y="1463"/>
                    </a:lnTo>
                    <a:lnTo>
                      <a:pt x="2599" y="1455"/>
                    </a:lnTo>
                    <a:lnTo>
                      <a:pt x="2598" y="1448"/>
                    </a:lnTo>
                    <a:lnTo>
                      <a:pt x="2596" y="1440"/>
                    </a:lnTo>
                    <a:lnTo>
                      <a:pt x="2591" y="1432"/>
                    </a:lnTo>
                    <a:lnTo>
                      <a:pt x="2587" y="1424"/>
                    </a:lnTo>
                    <a:lnTo>
                      <a:pt x="2580" y="1416"/>
                    </a:lnTo>
                    <a:lnTo>
                      <a:pt x="2573" y="1408"/>
                    </a:lnTo>
                    <a:lnTo>
                      <a:pt x="2565" y="1401"/>
                    </a:lnTo>
                    <a:lnTo>
                      <a:pt x="2557" y="1394"/>
                    </a:lnTo>
                    <a:lnTo>
                      <a:pt x="2540" y="1383"/>
                    </a:lnTo>
                    <a:lnTo>
                      <a:pt x="2523" y="1374"/>
                    </a:lnTo>
                    <a:lnTo>
                      <a:pt x="2514" y="1370"/>
                    </a:lnTo>
                    <a:lnTo>
                      <a:pt x="2506" y="1367"/>
                    </a:lnTo>
                    <a:lnTo>
                      <a:pt x="2500" y="1366"/>
                    </a:lnTo>
                    <a:lnTo>
                      <a:pt x="2494" y="1364"/>
                    </a:lnTo>
                    <a:lnTo>
                      <a:pt x="2472" y="1366"/>
                    </a:lnTo>
                    <a:lnTo>
                      <a:pt x="2451" y="1368"/>
                    </a:lnTo>
                    <a:lnTo>
                      <a:pt x="2432" y="1371"/>
                    </a:lnTo>
                    <a:lnTo>
                      <a:pt x="2411" y="1375"/>
                    </a:lnTo>
                    <a:lnTo>
                      <a:pt x="2373" y="1385"/>
                    </a:lnTo>
                    <a:lnTo>
                      <a:pt x="2334" y="1397"/>
                    </a:lnTo>
                    <a:lnTo>
                      <a:pt x="2295" y="1408"/>
                    </a:lnTo>
                    <a:lnTo>
                      <a:pt x="2254" y="1418"/>
                    </a:lnTo>
                    <a:lnTo>
                      <a:pt x="2232" y="1422"/>
                    </a:lnTo>
                    <a:lnTo>
                      <a:pt x="2210" y="1425"/>
                    </a:lnTo>
                    <a:lnTo>
                      <a:pt x="2185" y="1427"/>
                    </a:lnTo>
                    <a:lnTo>
                      <a:pt x="2160" y="1427"/>
                    </a:lnTo>
                    <a:lnTo>
                      <a:pt x="2157" y="1427"/>
                    </a:lnTo>
                    <a:lnTo>
                      <a:pt x="2153" y="1426"/>
                    </a:lnTo>
                    <a:lnTo>
                      <a:pt x="2150" y="1425"/>
                    </a:lnTo>
                    <a:lnTo>
                      <a:pt x="2145" y="1424"/>
                    </a:lnTo>
                    <a:lnTo>
                      <a:pt x="2141" y="1423"/>
                    </a:lnTo>
                    <a:lnTo>
                      <a:pt x="2136" y="1422"/>
                    </a:lnTo>
                    <a:lnTo>
                      <a:pt x="2130" y="1421"/>
                    </a:lnTo>
                    <a:lnTo>
                      <a:pt x="2126" y="1421"/>
                    </a:lnTo>
                    <a:lnTo>
                      <a:pt x="2135" y="1408"/>
                    </a:lnTo>
                    <a:lnTo>
                      <a:pt x="2145" y="1397"/>
                    </a:lnTo>
                    <a:lnTo>
                      <a:pt x="2156" y="1386"/>
                    </a:lnTo>
                    <a:lnTo>
                      <a:pt x="2166" y="1376"/>
                    </a:lnTo>
                    <a:lnTo>
                      <a:pt x="2188" y="1359"/>
                    </a:lnTo>
                    <a:lnTo>
                      <a:pt x="2208" y="1344"/>
                    </a:lnTo>
                    <a:lnTo>
                      <a:pt x="2251" y="1319"/>
                    </a:lnTo>
                    <a:lnTo>
                      <a:pt x="2290" y="1294"/>
                    </a:lnTo>
                    <a:lnTo>
                      <a:pt x="2299" y="1288"/>
                    </a:lnTo>
                    <a:lnTo>
                      <a:pt x="2308" y="1281"/>
                    </a:lnTo>
                    <a:lnTo>
                      <a:pt x="2316" y="1274"/>
                    </a:lnTo>
                    <a:lnTo>
                      <a:pt x="2324" y="1266"/>
                    </a:lnTo>
                    <a:lnTo>
                      <a:pt x="2332" y="1258"/>
                    </a:lnTo>
                    <a:lnTo>
                      <a:pt x="2339" y="1249"/>
                    </a:lnTo>
                    <a:lnTo>
                      <a:pt x="2346" y="1238"/>
                    </a:lnTo>
                    <a:lnTo>
                      <a:pt x="2352" y="1228"/>
                    </a:lnTo>
                    <a:lnTo>
                      <a:pt x="2357" y="1216"/>
                    </a:lnTo>
                    <a:lnTo>
                      <a:pt x="2362" y="1204"/>
                    </a:lnTo>
                    <a:lnTo>
                      <a:pt x="2365" y="1189"/>
                    </a:lnTo>
                    <a:lnTo>
                      <a:pt x="2370" y="1174"/>
                    </a:lnTo>
                    <a:lnTo>
                      <a:pt x="2372" y="1158"/>
                    </a:lnTo>
                    <a:lnTo>
                      <a:pt x="2375" y="1141"/>
                    </a:lnTo>
                    <a:lnTo>
                      <a:pt x="2376" y="1121"/>
                    </a:lnTo>
                    <a:lnTo>
                      <a:pt x="2376" y="1101"/>
                    </a:lnTo>
                    <a:lnTo>
                      <a:pt x="2377" y="1071"/>
                    </a:lnTo>
                    <a:lnTo>
                      <a:pt x="2377" y="1046"/>
                    </a:lnTo>
                    <a:lnTo>
                      <a:pt x="2377" y="1024"/>
                    </a:lnTo>
                    <a:lnTo>
                      <a:pt x="2376" y="1005"/>
                    </a:lnTo>
                    <a:lnTo>
                      <a:pt x="2372" y="991"/>
                    </a:lnTo>
                    <a:lnTo>
                      <a:pt x="2369" y="977"/>
                    </a:lnTo>
                    <a:lnTo>
                      <a:pt x="2367" y="972"/>
                    </a:lnTo>
                    <a:lnTo>
                      <a:pt x="2363" y="966"/>
                    </a:lnTo>
                    <a:lnTo>
                      <a:pt x="2360" y="962"/>
                    </a:lnTo>
                    <a:lnTo>
                      <a:pt x="2356" y="958"/>
                    </a:lnTo>
                    <a:lnTo>
                      <a:pt x="2347" y="952"/>
                    </a:lnTo>
                    <a:lnTo>
                      <a:pt x="2336" y="947"/>
                    </a:lnTo>
                    <a:lnTo>
                      <a:pt x="2322" y="942"/>
                    </a:lnTo>
                    <a:lnTo>
                      <a:pt x="2307" y="939"/>
                    </a:lnTo>
                    <a:lnTo>
                      <a:pt x="2267" y="933"/>
                    </a:lnTo>
                    <a:lnTo>
                      <a:pt x="2215" y="926"/>
                    </a:lnTo>
                    <a:lnTo>
                      <a:pt x="2229" y="916"/>
                    </a:lnTo>
                    <a:lnTo>
                      <a:pt x="2242" y="906"/>
                    </a:lnTo>
                    <a:lnTo>
                      <a:pt x="2255" y="896"/>
                    </a:lnTo>
                    <a:lnTo>
                      <a:pt x="2270" y="888"/>
                    </a:lnTo>
                    <a:lnTo>
                      <a:pt x="2278" y="884"/>
                    </a:lnTo>
                    <a:lnTo>
                      <a:pt x="2286" y="880"/>
                    </a:lnTo>
                    <a:lnTo>
                      <a:pt x="2295" y="878"/>
                    </a:lnTo>
                    <a:lnTo>
                      <a:pt x="2306" y="876"/>
                    </a:lnTo>
                    <a:lnTo>
                      <a:pt x="2317" y="874"/>
                    </a:lnTo>
                    <a:lnTo>
                      <a:pt x="2329" y="871"/>
                    </a:lnTo>
                    <a:lnTo>
                      <a:pt x="2341" y="871"/>
                    </a:lnTo>
                    <a:lnTo>
                      <a:pt x="2355" y="870"/>
                    </a:lnTo>
                    <a:lnTo>
                      <a:pt x="2341" y="838"/>
                    </a:lnTo>
                    <a:lnTo>
                      <a:pt x="2329" y="807"/>
                    </a:lnTo>
                    <a:lnTo>
                      <a:pt x="2314" y="779"/>
                    </a:lnTo>
                    <a:lnTo>
                      <a:pt x="2298" y="753"/>
                    </a:lnTo>
                    <a:lnTo>
                      <a:pt x="2289" y="740"/>
                    </a:lnTo>
                    <a:lnTo>
                      <a:pt x="2279" y="728"/>
                    </a:lnTo>
                    <a:lnTo>
                      <a:pt x="2269" y="716"/>
                    </a:lnTo>
                    <a:lnTo>
                      <a:pt x="2259" y="705"/>
                    </a:lnTo>
                    <a:lnTo>
                      <a:pt x="2247" y="693"/>
                    </a:lnTo>
                    <a:lnTo>
                      <a:pt x="2236" y="683"/>
                    </a:lnTo>
                    <a:lnTo>
                      <a:pt x="2223" y="672"/>
                    </a:lnTo>
                    <a:lnTo>
                      <a:pt x="2208" y="661"/>
                    </a:lnTo>
                    <a:lnTo>
                      <a:pt x="2204" y="671"/>
                    </a:lnTo>
                    <a:lnTo>
                      <a:pt x="2200" y="680"/>
                    </a:lnTo>
                    <a:lnTo>
                      <a:pt x="2196" y="690"/>
                    </a:lnTo>
                    <a:lnTo>
                      <a:pt x="2190" y="700"/>
                    </a:lnTo>
                    <a:lnTo>
                      <a:pt x="2187" y="705"/>
                    </a:lnTo>
                    <a:lnTo>
                      <a:pt x="2182" y="710"/>
                    </a:lnTo>
                    <a:lnTo>
                      <a:pt x="2177" y="714"/>
                    </a:lnTo>
                    <a:lnTo>
                      <a:pt x="2172" y="718"/>
                    </a:lnTo>
                    <a:lnTo>
                      <a:pt x="2165" y="720"/>
                    </a:lnTo>
                    <a:lnTo>
                      <a:pt x="2158" y="722"/>
                    </a:lnTo>
                    <a:lnTo>
                      <a:pt x="2149" y="723"/>
                    </a:lnTo>
                    <a:lnTo>
                      <a:pt x="2140" y="724"/>
                    </a:lnTo>
                    <a:lnTo>
                      <a:pt x="2124" y="722"/>
                    </a:lnTo>
                    <a:lnTo>
                      <a:pt x="2109" y="718"/>
                    </a:lnTo>
                    <a:lnTo>
                      <a:pt x="2096" y="713"/>
                    </a:lnTo>
                    <a:lnTo>
                      <a:pt x="2085" y="706"/>
                    </a:lnTo>
                    <a:lnTo>
                      <a:pt x="2074" y="698"/>
                    </a:lnTo>
                    <a:lnTo>
                      <a:pt x="2065" y="689"/>
                    </a:lnTo>
                    <a:lnTo>
                      <a:pt x="2056" y="680"/>
                    </a:lnTo>
                    <a:lnTo>
                      <a:pt x="2047" y="671"/>
                    </a:lnTo>
                    <a:lnTo>
                      <a:pt x="2029" y="651"/>
                    </a:lnTo>
                    <a:lnTo>
                      <a:pt x="2012" y="633"/>
                    </a:lnTo>
                    <a:lnTo>
                      <a:pt x="2002" y="624"/>
                    </a:lnTo>
                    <a:lnTo>
                      <a:pt x="1991" y="617"/>
                    </a:lnTo>
                    <a:lnTo>
                      <a:pt x="1979" y="611"/>
                    </a:lnTo>
                    <a:lnTo>
                      <a:pt x="1965" y="606"/>
                    </a:lnTo>
                    <a:lnTo>
                      <a:pt x="1927" y="590"/>
                    </a:lnTo>
                    <a:lnTo>
                      <a:pt x="1891" y="576"/>
                    </a:lnTo>
                    <a:lnTo>
                      <a:pt x="1856" y="563"/>
                    </a:lnTo>
                    <a:lnTo>
                      <a:pt x="1822" y="549"/>
                    </a:lnTo>
                    <a:lnTo>
                      <a:pt x="1789" y="535"/>
                    </a:lnTo>
                    <a:lnTo>
                      <a:pt x="1753" y="520"/>
                    </a:lnTo>
                    <a:lnTo>
                      <a:pt x="1718" y="504"/>
                    </a:lnTo>
                    <a:lnTo>
                      <a:pt x="1680" y="487"/>
                    </a:lnTo>
                    <a:lnTo>
                      <a:pt x="1659" y="490"/>
                    </a:lnTo>
                    <a:lnTo>
                      <a:pt x="1639" y="496"/>
                    </a:lnTo>
                    <a:lnTo>
                      <a:pt x="1619" y="502"/>
                    </a:lnTo>
                    <a:lnTo>
                      <a:pt x="1601" y="508"/>
                    </a:lnTo>
                    <a:lnTo>
                      <a:pt x="1583" y="513"/>
                    </a:lnTo>
                    <a:lnTo>
                      <a:pt x="1569" y="518"/>
                    </a:lnTo>
                    <a:lnTo>
                      <a:pt x="1557" y="521"/>
                    </a:lnTo>
                    <a:lnTo>
                      <a:pt x="1547" y="523"/>
                    </a:lnTo>
                    <a:lnTo>
                      <a:pt x="1541" y="523"/>
                    </a:lnTo>
                    <a:lnTo>
                      <a:pt x="1534" y="525"/>
                    </a:lnTo>
                    <a:lnTo>
                      <a:pt x="1525" y="528"/>
                    </a:lnTo>
                    <a:lnTo>
                      <a:pt x="1515" y="533"/>
                    </a:lnTo>
                    <a:lnTo>
                      <a:pt x="1492" y="544"/>
                    </a:lnTo>
                    <a:lnTo>
                      <a:pt x="1465" y="557"/>
                    </a:lnTo>
                    <a:lnTo>
                      <a:pt x="1438" y="570"/>
                    </a:lnTo>
                    <a:lnTo>
                      <a:pt x="1408" y="581"/>
                    </a:lnTo>
                    <a:lnTo>
                      <a:pt x="1394" y="586"/>
                    </a:lnTo>
                    <a:lnTo>
                      <a:pt x="1379" y="589"/>
                    </a:lnTo>
                    <a:lnTo>
                      <a:pt x="1366" y="591"/>
                    </a:lnTo>
                    <a:lnTo>
                      <a:pt x="1352" y="591"/>
                    </a:lnTo>
                    <a:lnTo>
                      <a:pt x="1348" y="591"/>
                    </a:lnTo>
                    <a:lnTo>
                      <a:pt x="1343" y="590"/>
                    </a:lnTo>
                    <a:lnTo>
                      <a:pt x="1336" y="589"/>
                    </a:lnTo>
                    <a:lnTo>
                      <a:pt x="1329" y="586"/>
                    </a:lnTo>
                    <a:lnTo>
                      <a:pt x="1322" y="582"/>
                    </a:lnTo>
                    <a:lnTo>
                      <a:pt x="1316" y="578"/>
                    </a:lnTo>
                    <a:lnTo>
                      <a:pt x="1314" y="574"/>
                    </a:lnTo>
                    <a:lnTo>
                      <a:pt x="1312" y="571"/>
                    </a:lnTo>
                    <a:lnTo>
                      <a:pt x="1311" y="567"/>
                    </a:lnTo>
                    <a:lnTo>
                      <a:pt x="1311" y="564"/>
                    </a:lnTo>
                    <a:lnTo>
                      <a:pt x="1311" y="550"/>
                    </a:lnTo>
                    <a:lnTo>
                      <a:pt x="1308" y="535"/>
                    </a:lnTo>
                    <a:lnTo>
                      <a:pt x="1306" y="523"/>
                    </a:lnTo>
                    <a:lnTo>
                      <a:pt x="1301" y="509"/>
                    </a:lnTo>
                    <a:lnTo>
                      <a:pt x="1297" y="496"/>
                    </a:lnTo>
                    <a:lnTo>
                      <a:pt x="1290" y="484"/>
                    </a:lnTo>
                    <a:lnTo>
                      <a:pt x="1283" y="473"/>
                    </a:lnTo>
                    <a:lnTo>
                      <a:pt x="1275" y="462"/>
                    </a:lnTo>
                    <a:lnTo>
                      <a:pt x="1266" y="453"/>
                    </a:lnTo>
                    <a:lnTo>
                      <a:pt x="1256" y="443"/>
                    </a:lnTo>
                    <a:lnTo>
                      <a:pt x="1244" y="437"/>
                    </a:lnTo>
                    <a:lnTo>
                      <a:pt x="1232" y="430"/>
                    </a:lnTo>
                    <a:lnTo>
                      <a:pt x="1218" y="425"/>
                    </a:lnTo>
                    <a:lnTo>
                      <a:pt x="1203" y="421"/>
                    </a:lnTo>
                    <a:lnTo>
                      <a:pt x="1188" y="418"/>
                    </a:lnTo>
                    <a:lnTo>
                      <a:pt x="1172" y="418"/>
                    </a:lnTo>
                    <a:lnTo>
                      <a:pt x="1142" y="417"/>
                    </a:lnTo>
                    <a:lnTo>
                      <a:pt x="1115" y="414"/>
                    </a:lnTo>
                    <a:lnTo>
                      <a:pt x="1088" y="410"/>
                    </a:lnTo>
                    <a:lnTo>
                      <a:pt x="1063" y="404"/>
                    </a:lnTo>
                    <a:lnTo>
                      <a:pt x="1039" y="399"/>
                    </a:lnTo>
                    <a:lnTo>
                      <a:pt x="1016" y="391"/>
                    </a:lnTo>
                    <a:lnTo>
                      <a:pt x="992" y="383"/>
                    </a:lnTo>
                    <a:lnTo>
                      <a:pt x="969" y="375"/>
                    </a:lnTo>
                    <a:lnTo>
                      <a:pt x="923" y="359"/>
                    </a:lnTo>
                    <a:lnTo>
                      <a:pt x="876" y="345"/>
                    </a:lnTo>
                    <a:lnTo>
                      <a:pt x="851" y="338"/>
                    </a:lnTo>
                    <a:lnTo>
                      <a:pt x="824" y="333"/>
                    </a:lnTo>
                    <a:lnTo>
                      <a:pt x="797" y="330"/>
                    </a:lnTo>
                    <a:lnTo>
                      <a:pt x="767" y="328"/>
                    </a:lnTo>
                    <a:lnTo>
                      <a:pt x="757" y="328"/>
                    </a:lnTo>
                    <a:lnTo>
                      <a:pt x="748" y="329"/>
                    </a:lnTo>
                    <a:lnTo>
                      <a:pt x="737" y="332"/>
                    </a:lnTo>
                    <a:lnTo>
                      <a:pt x="728" y="335"/>
                    </a:lnTo>
                    <a:lnTo>
                      <a:pt x="709" y="343"/>
                    </a:lnTo>
                    <a:lnTo>
                      <a:pt x="690" y="351"/>
                    </a:lnTo>
                    <a:lnTo>
                      <a:pt x="671" y="359"/>
                    </a:lnTo>
                    <a:lnTo>
                      <a:pt x="651" y="365"/>
                    </a:lnTo>
                    <a:lnTo>
                      <a:pt x="641" y="368"/>
                    </a:lnTo>
                    <a:lnTo>
                      <a:pt x="630" y="369"/>
                    </a:lnTo>
                    <a:lnTo>
                      <a:pt x="619" y="370"/>
                    </a:lnTo>
                    <a:lnTo>
                      <a:pt x="608" y="369"/>
                    </a:lnTo>
                    <a:lnTo>
                      <a:pt x="595" y="368"/>
                    </a:lnTo>
                    <a:lnTo>
                      <a:pt x="581" y="364"/>
                    </a:lnTo>
                    <a:lnTo>
                      <a:pt x="567" y="360"/>
                    </a:lnTo>
                    <a:lnTo>
                      <a:pt x="552" y="355"/>
                    </a:lnTo>
                    <a:lnTo>
                      <a:pt x="538" y="349"/>
                    </a:lnTo>
                    <a:lnTo>
                      <a:pt x="528" y="346"/>
                    </a:lnTo>
                    <a:lnTo>
                      <a:pt x="520" y="343"/>
                    </a:lnTo>
                    <a:lnTo>
                      <a:pt x="517" y="341"/>
                    </a:lnTo>
                    <a:lnTo>
                      <a:pt x="515" y="348"/>
                    </a:lnTo>
                    <a:lnTo>
                      <a:pt x="514" y="355"/>
                    </a:lnTo>
                    <a:lnTo>
                      <a:pt x="514" y="362"/>
                    </a:lnTo>
                    <a:lnTo>
                      <a:pt x="514" y="368"/>
                    </a:lnTo>
                    <a:lnTo>
                      <a:pt x="515" y="372"/>
                    </a:lnTo>
                    <a:lnTo>
                      <a:pt x="516" y="377"/>
                    </a:lnTo>
                    <a:lnTo>
                      <a:pt x="516" y="380"/>
                    </a:lnTo>
                    <a:lnTo>
                      <a:pt x="517" y="383"/>
                    </a:lnTo>
                    <a:lnTo>
                      <a:pt x="506" y="387"/>
                    </a:lnTo>
                    <a:lnTo>
                      <a:pt x="495" y="391"/>
                    </a:lnTo>
                    <a:lnTo>
                      <a:pt x="484" y="393"/>
                    </a:lnTo>
                    <a:lnTo>
                      <a:pt x="473" y="394"/>
                    </a:lnTo>
                    <a:lnTo>
                      <a:pt x="461" y="394"/>
                    </a:lnTo>
                    <a:lnTo>
                      <a:pt x="448" y="393"/>
                    </a:lnTo>
                    <a:lnTo>
                      <a:pt x="436" y="392"/>
                    </a:lnTo>
                    <a:lnTo>
                      <a:pt x="423" y="390"/>
                    </a:lnTo>
                    <a:lnTo>
                      <a:pt x="398" y="385"/>
                    </a:lnTo>
                    <a:lnTo>
                      <a:pt x="370" y="382"/>
                    </a:lnTo>
                    <a:lnTo>
                      <a:pt x="343" y="377"/>
                    </a:lnTo>
                    <a:lnTo>
                      <a:pt x="315" y="376"/>
                    </a:lnTo>
                    <a:lnTo>
                      <a:pt x="299" y="377"/>
                    </a:lnTo>
                    <a:lnTo>
                      <a:pt x="284" y="380"/>
                    </a:lnTo>
                    <a:lnTo>
                      <a:pt x="270" y="385"/>
                    </a:lnTo>
                    <a:lnTo>
                      <a:pt x="256" y="390"/>
                    </a:lnTo>
                    <a:lnTo>
                      <a:pt x="241" y="395"/>
                    </a:lnTo>
                    <a:lnTo>
                      <a:pt x="227" y="400"/>
                    </a:lnTo>
                    <a:lnTo>
                      <a:pt x="212" y="402"/>
                    </a:lnTo>
                    <a:lnTo>
                      <a:pt x="196" y="403"/>
                    </a:lnTo>
                    <a:lnTo>
                      <a:pt x="186" y="403"/>
                    </a:lnTo>
                    <a:lnTo>
                      <a:pt x="177" y="402"/>
                    </a:lnTo>
                    <a:lnTo>
                      <a:pt x="168" y="399"/>
                    </a:lnTo>
                    <a:lnTo>
                      <a:pt x="158" y="395"/>
                    </a:lnTo>
                    <a:lnTo>
                      <a:pt x="150" y="391"/>
                    </a:lnTo>
                    <a:lnTo>
                      <a:pt x="143" y="385"/>
                    </a:lnTo>
                    <a:lnTo>
                      <a:pt x="137" y="378"/>
                    </a:lnTo>
                    <a:lnTo>
                      <a:pt x="131" y="371"/>
                    </a:lnTo>
                    <a:lnTo>
                      <a:pt x="125" y="362"/>
                    </a:lnTo>
                    <a:lnTo>
                      <a:pt x="121" y="354"/>
                    </a:lnTo>
                    <a:lnTo>
                      <a:pt x="116" y="344"/>
                    </a:lnTo>
                    <a:lnTo>
                      <a:pt x="112" y="333"/>
                    </a:lnTo>
                    <a:lnTo>
                      <a:pt x="109" y="322"/>
                    </a:lnTo>
                    <a:lnTo>
                      <a:pt x="108" y="310"/>
                    </a:lnTo>
                    <a:lnTo>
                      <a:pt x="107" y="298"/>
                    </a:lnTo>
                    <a:lnTo>
                      <a:pt x="106" y="285"/>
                    </a:lnTo>
                    <a:lnTo>
                      <a:pt x="107" y="268"/>
                    </a:lnTo>
                    <a:lnTo>
                      <a:pt x="108" y="250"/>
                    </a:lnTo>
                    <a:lnTo>
                      <a:pt x="110" y="232"/>
                    </a:lnTo>
                    <a:lnTo>
                      <a:pt x="114" y="216"/>
                    </a:lnTo>
                    <a:lnTo>
                      <a:pt x="118" y="200"/>
                    </a:lnTo>
                    <a:lnTo>
                      <a:pt x="123" y="185"/>
                    </a:lnTo>
                    <a:lnTo>
                      <a:pt x="129" y="172"/>
                    </a:lnTo>
                    <a:lnTo>
                      <a:pt x="135" y="158"/>
                    </a:lnTo>
                    <a:lnTo>
                      <a:pt x="143" y="144"/>
                    </a:lnTo>
                    <a:lnTo>
                      <a:pt x="151" y="133"/>
                    </a:lnTo>
                    <a:lnTo>
                      <a:pt x="161" y="121"/>
                    </a:lnTo>
                    <a:lnTo>
                      <a:pt x="171" y="110"/>
                    </a:lnTo>
                    <a:lnTo>
                      <a:pt x="181" y="101"/>
                    </a:lnTo>
                    <a:lnTo>
                      <a:pt x="193" y="91"/>
                    </a:lnTo>
                    <a:lnTo>
                      <a:pt x="204" y="83"/>
                    </a:lnTo>
                    <a:lnTo>
                      <a:pt x="218" y="76"/>
                    </a:lnTo>
                    <a:lnTo>
                      <a:pt x="218" y="67"/>
                    </a:lnTo>
                    <a:lnTo>
                      <a:pt x="218" y="58"/>
                    </a:lnTo>
                    <a:lnTo>
                      <a:pt x="218" y="51"/>
                    </a:lnTo>
                    <a:lnTo>
                      <a:pt x="218" y="43"/>
                    </a:lnTo>
                    <a:lnTo>
                      <a:pt x="218" y="35"/>
                    </a:lnTo>
                    <a:lnTo>
                      <a:pt x="218" y="26"/>
                    </a:lnTo>
                    <a:lnTo>
                      <a:pt x="218" y="15"/>
                    </a:lnTo>
                    <a:lnTo>
                      <a:pt x="218" y="0"/>
                    </a:lnTo>
                    <a:lnTo>
                      <a:pt x="169" y="0"/>
                    </a:lnTo>
                    <a:lnTo>
                      <a:pt x="155" y="17"/>
                    </a:lnTo>
                    <a:lnTo>
                      <a:pt x="141" y="37"/>
                    </a:lnTo>
                    <a:lnTo>
                      <a:pt x="127" y="60"/>
                    </a:lnTo>
                    <a:lnTo>
                      <a:pt x="114" y="86"/>
                    </a:lnTo>
                    <a:lnTo>
                      <a:pt x="99" y="113"/>
                    </a:lnTo>
                    <a:lnTo>
                      <a:pt x="85" y="142"/>
                    </a:lnTo>
                    <a:lnTo>
                      <a:pt x="72" y="172"/>
                    </a:lnTo>
                    <a:lnTo>
                      <a:pt x="59" y="201"/>
                    </a:lnTo>
                    <a:lnTo>
                      <a:pt x="47" y="232"/>
                    </a:lnTo>
                    <a:lnTo>
                      <a:pt x="36" y="263"/>
                    </a:lnTo>
                    <a:lnTo>
                      <a:pt x="27" y="293"/>
                    </a:lnTo>
                    <a:lnTo>
                      <a:pt x="18" y="323"/>
                    </a:lnTo>
                    <a:lnTo>
                      <a:pt x="12" y="352"/>
                    </a:lnTo>
                    <a:lnTo>
                      <a:pt x="6" y="378"/>
                    </a:lnTo>
                    <a:lnTo>
                      <a:pt x="2" y="402"/>
                    </a:lnTo>
                    <a:lnTo>
                      <a:pt x="1" y="425"/>
                    </a:lnTo>
                    <a:lnTo>
                      <a:pt x="0" y="441"/>
                    </a:lnTo>
                    <a:lnTo>
                      <a:pt x="0" y="460"/>
                    </a:lnTo>
                    <a:lnTo>
                      <a:pt x="0" y="478"/>
                    </a:lnTo>
                    <a:lnTo>
                      <a:pt x="1" y="499"/>
                    </a:lnTo>
                    <a:lnTo>
                      <a:pt x="5" y="541"/>
                    </a:lnTo>
                    <a:lnTo>
                      <a:pt x="9" y="585"/>
                    </a:lnTo>
                    <a:lnTo>
                      <a:pt x="16" y="627"/>
                    </a:lnTo>
                    <a:lnTo>
                      <a:pt x="24" y="668"/>
                    </a:lnTo>
                    <a:lnTo>
                      <a:pt x="29" y="688"/>
                    </a:lnTo>
                    <a:lnTo>
                      <a:pt x="33" y="706"/>
                    </a:lnTo>
                    <a:lnTo>
                      <a:pt x="38" y="723"/>
                    </a:lnTo>
                    <a:lnTo>
                      <a:pt x="44" y="738"/>
                    </a:lnTo>
                    <a:lnTo>
                      <a:pt x="44" y="411"/>
                    </a:lnTo>
                    <a:lnTo>
                      <a:pt x="47" y="411"/>
                    </a:lnTo>
                    <a:lnTo>
                      <a:pt x="51" y="411"/>
                    </a:lnTo>
                    <a:lnTo>
                      <a:pt x="56" y="411"/>
                    </a:lnTo>
                    <a:lnTo>
                      <a:pt x="62" y="411"/>
                    </a:lnTo>
                    <a:lnTo>
                      <a:pt x="69" y="411"/>
                    </a:lnTo>
                    <a:lnTo>
                      <a:pt x="77" y="411"/>
                    </a:lnTo>
                    <a:lnTo>
                      <a:pt x="84" y="411"/>
                    </a:lnTo>
                    <a:lnTo>
                      <a:pt x="92" y="411"/>
                    </a:lnTo>
                    <a:lnTo>
                      <a:pt x="99" y="411"/>
                    </a:lnTo>
                    <a:lnTo>
                      <a:pt x="104" y="412"/>
                    </a:lnTo>
                    <a:lnTo>
                      <a:pt x="110" y="415"/>
                    </a:lnTo>
                    <a:lnTo>
                      <a:pt x="115" y="418"/>
                    </a:lnTo>
                    <a:lnTo>
                      <a:pt x="124" y="426"/>
                    </a:lnTo>
                    <a:lnTo>
                      <a:pt x="133" y="435"/>
                    </a:lnTo>
                    <a:lnTo>
                      <a:pt x="141" y="445"/>
                    </a:lnTo>
                    <a:lnTo>
                      <a:pt x="150" y="451"/>
                    </a:lnTo>
                    <a:lnTo>
                      <a:pt x="154" y="455"/>
                    </a:lnTo>
                    <a:lnTo>
                      <a:pt x="158" y="457"/>
                    </a:lnTo>
                    <a:lnTo>
                      <a:pt x="164" y="460"/>
                    </a:lnTo>
                    <a:lnTo>
                      <a:pt x="169" y="460"/>
                    </a:lnTo>
                    <a:lnTo>
                      <a:pt x="179" y="460"/>
                    </a:lnTo>
                    <a:lnTo>
                      <a:pt x="189" y="458"/>
                    </a:lnTo>
                    <a:lnTo>
                      <a:pt x="198" y="456"/>
                    </a:lnTo>
                    <a:lnTo>
                      <a:pt x="209" y="454"/>
                    </a:lnTo>
                    <a:lnTo>
                      <a:pt x="227" y="448"/>
                    </a:lnTo>
                    <a:lnTo>
                      <a:pt x="245" y="442"/>
                    </a:lnTo>
                    <a:lnTo>
                      <a:pt x="264" y="435"/>
                    </a:lnTo>
                    <a:lnTo>
                      <a:pt x="282" y="430"/>
                    </a:lnTo>
                    <a:lnTo>
                      <a:pt x="291" y="427"/>
                    </a:lnTo>
                    <a:lnTo>
                      <a:pt x="302" y="426"/>
                    </a:lnTo>
                    <a:lnTo>
                      <a:pt x="312" y="425"/>
                    </a:lnTo>
                    <a:lnTo>
                      <a:pt x="322" y="425"/>
                    </a:lnTo>
                    <a:lnTo>
                      <a:pt x="336" y="425"/>
                    </a:lnTo>
                    <a:lnTo>
                      <a:pt x="354" y="425"/>
                    </a:lnTo>
                    <a:lnTo>
                      <a:pt x="374" y="425"/>
                    </a:lnTo>
                    <a:lnTo>
                      <a:pt x="397" y="425"/>
                    </a:lnTo>
                    <a:lnTo>
                      <a:pt x="421" y="425"/>
                    </a:lnTo>
                    <a:lnTo>
                      <a:pt x="447" y="425"/>
                    </a:lnTo>
                    <a:lnTo>
                      <a:pt x="475" y="425"/>
                    </a:lnTo>
                    <a:lnTo>
                      <a:pt x="503" y="425"/>
                    </a:lnTo>
                    <a:lnTo>
                      <a:pt x="503" y="447"/>
                    </a:lnTo>
                    <a:lnTo>
                      <a:pt x="505" y="468"/>
                    </a:lnTo>
                    <a:lnTo>
                      <a:pt x="507" y="487"/>
                    </a:lnTo>
                    <a:lnTo>
                      <a:pt x="510" y="505"/>
                    </a:lnTo>
                    <a:lnTo>
                      <a:pt x="514" y="524"/>
                    </a:lnTo>
                    <a:lnTo>
                      <a:pt x="517" y="541"/>
                    </a:lnTo>
                    <a:lnTo>
                      <a:pt x="522" y="557"/>
                    </a:lnTo>
                    <a:lnTo>
                      <a:pt x="528" y="573"/>
                    </a:lnTo>
                    <a:lnTo>
                      <a:pt x="538" y="605"/>
                    </a:lnTo>
                    <a:lnTo>
                      <a:pt x="550" y="635"/>
                    </a:lnTo>
                    <a:lnTo>
                      <a:pt x="562" y="666"/>
                    </a:lnTo>
                    <a:lnTo>
                      <a:pt x="572" y="697"/>
                    </a:lnTo>
                    <a:lnTo>
                      <a:pt x="575" y="702"/>
                    </a:lnTo>
                    <a:lnTo>
                      <a:pt x="576" y="706"/>
                    </a:lnTo>
                    <a:lnTo>
                      <a:pt x="576" y="712"/>
                    </a:lnTo>
                    <a:lnTo>
                      <a:pt x="576" y="716"/>
                    </a:lnTo>
                    <a:lnTo>
                      <a:pt x="573" y="726"/>
                    </a:lnTo>
                    <a:lnTo>
                      <a:pt x="570" y="735"/>
                    </a:lnTo>
                    <a:lnTo>
                      <a:pt x="567" y="744"/>
                    </a:lnTo>
                    <a:lnTo>
                      <a:pt x="565" y="753"/>
                    </a:lnTo>
                    <a:lnTo>
                      <a:pt x="567" y="758"/>
                    </a:lnTo>
                    <a:lnTo>
                      <a:pt x="568" y="762"/>
                    </a:lnTo>
                    <a:lnTo>
                      <a:pt x="569" y="768"/>
                    </a:lnTo>
                    <a:lnTo>
                      <a:pt x="572" y="773"/>
                    </a:lnTo>
                    <a:lnTo>
                      <a:pt x="579" y="781"/>
                    </a:lnTo>
                    <a:lnTo>
                      <a:pt x="587" y="786"/>
                    </a:lnTo>
                    <a:lnTo>
                      <a:pt x="595" y="793"/>
                    </a:lnTo>
                    <a:lnTo>
                      <a:pt x="604" y="798"/>
                    </a:lnTo>
                    <a:lnTo>
                      <a:pt x="623" y="807"/>
                    </a:lnTo>
                    <a:lnTo>
                      <a:pt x="641" y="816"/>
                    </a:lnTo>
                    <a:lnTo>
                      <a:pt x="659" y="827"/>
                    </a:lnTo>
                    <a:lnTo>
                      <a:pt x="678" y="838"/>
                    </a:lnTo>
                    <a:lnTo>
                      <a:pt x="686" y="845"/>
                    </a:lnTo>
                    <a:lnTo>
                      <a:pt x="693" y="852"/>
                    </a:lnTo>
                    <a:lnTo>
                      <a:pt x="700" y="861"/>
                    </a:lnTo>
                    <a:lnTo>
                      <a:pt x="705" y="870"/>
                    </a:lnTo>
                    <a:lnTo>
                      <a:pt x="726" y="908"/>
                    </a:lnTo>
                    <a:lnTo>
                      <a:pt x="745" y="945"/>
                    </a:lnTo>
                    <a:lnTo>
                      <a:pt x="765" y="979"/>
                    </a:lnTo>
                    <a:lnTo>
                      <a:pt x="786" y="1012"/>
                    </a:lnTo>
                    <a:lnTo>
                      <a:pt x="805" y="1046"/>
                    </a:lnTo>
                    <a:lnTo>
                      <a:pt x="824" y="1079"/>
                    </a:lnTo>
                    <a:lnTo>
                      <a:pt x="844" y="1113"/>
                    </a:lnTo>
                    <a:lnTo>
                      <a:pt x="865" y="1149"/>
                    </a:lnTo>
                    <a:lnTo>
                      <a:pt x="872" y="1159"/>
                    </a:lnTo>
                    <a:lnTo>
                      <a:pt x="880" y="1171"/>
                    </a:lnTo>
                    <a:lnTo>
                      <a:pt x="889" y="1181"/>
                    </a:lnTo>
                    <a:lnTo>
                      <a:pt x="900" y="1191"/>
                    </a:lnTo>
                    <a:lnTo>
                      <a:pt x="923" y="1214"/>
                    </a:lnTo>
                    <a:lnTo>
                      <a:pt x="948" y="1237"/>
                    </a:lnTo>
                    <a:lnTo>
                      <a:pt x="961" y="1250"/>
                    </a:lnTo>
                    <a:lnTo>
                      <a:pt x="972" y="1262"/>
                    </a:lnTo>
                    <a:lnTo>
                      <a:pt x="983" y="1275"/>
                    </a:lnTo>
                    <a:lnTo>
                      <a:pt x="992" y="1289"/>
                    </a:lnTo>
                    <a:lnTo>
                      <a:pt x="1000" y="1304"/>
                    </a:lnTo>
                    <a:lnTo>
                      <a:pt x="1006" y="1319"/>
                    </a:lnTo>
                    <a:lnTo>
                      <a:pt x="1008" y="1327"/>
                    </a:lnTo>
                    <a:lnTo>
                      <a:pt x="1010" y="1335"/>
                    </a:lnTo>
                    <a:lnTo>
                      <a:pt x="1011" y="1343"/>
                    </a:lnTo>
                    <a:lnTo>
                      <a:pt x="1011" y="1351"/>
                    </a:lnTo>
                    <a:lnTo>
                      <a:pt x="1010" y="1358"/>
                    </a:lnTo>
                    <a:lnTo>
                      <a:pt x="1009" y="1364"/>
                    </a:lnTo>
                    <a:lnTo>
                      <a:pt x="1006" y="1371"/>
                    </a:lnTo>
                    <a:lnTo>
                      <a:pt x="1002" y="1378"/>
                    </a:lnTo>
                    <a:lnTo>
                      <a:pt x="998" y="1385"/>
                    </a:lnTo>
                    <a:lnTo>
                      <a:pt x="992" y="1392"/>
                    </a:lnTo>
                    <a:lnTo>
                      <a:pt x="985" y="1400"/>
                    </a:lnTo>
                    <a:lnTo>
                      <a:pt x="978" y="1407"/>
                    </a:lnTo>
                    <a:lnTo>
                      <a:pt x="962" y="1421"/>
                    </a:lnTo>
                    <a:lnTo>
                      <a:pt x="944" y="1434"/>
                    </a:lnTo>
                    <a:lnTo>
                      <a:pt x="923" y="1448"/>
                    </a:lnTo>
                    <a:lnTo>
                      <a:pt x="902" y="1461"/>
                    </a:lnTo>
                    <a:lnTo>
                      <a:pt x="881" y="1472"/>
                    </a:lnTo>
                    <a:lnTo>
                      <a:pt x="860" y="1484"/>
                    </a:lnTo>
                    <a:lnTo>
                      <a:pt x="839" y="1494"/>
                    </a:lnTo>
                    <a:lnTo>
                      <a:pt x="820" y="1502"/>
                    </a:lnTo>
                    <a:lnTo>
                      <a:pt x="803" y="1509"/>
                    </a:lnTo>
                    <a:lnTo>
                      <a:pt x="788" y="1513"/>
                    </a:lnTo>
                    <a:lnTo>
                      <a:pt x="776" y="1517"/>
                    </a:lnTo>
                    <a:lnTo>
                      <a:pt x="767" y="1518"/>
                    </a:lnTo>
                    <a:lnTo>
                      <a:pt x="759" y="1518"/>
                    </a:lnTo>
                    <a:lnTo>
                      <a:pt x="752" y="1518"/>
                    </a:lnTo>
                    <a:lnTo>
                      <a:pt x="744" y="1518"/>
                    </a:lnTo>
                    <a:lnTo>
                      <a:pt x="736" y="1518"/>
                    </a:lnTo>
                    <a:lnTo>
                      <a:pt x="728" y="1518"/>
                    </a:lnTo>
                    <a:lnTo>
                      <a:pt x="720" y="1518"/>
                    </a:lnTo>
                    <a:lnTo>
                      <a:pt x="712" y="1518"/>
                    </a:lnTo>
                    <a:lnTo>
                      <a:pt x="705" y="1518"/>
                    </a:lnTo>
                    <a:lnTo>
                      <a:pt x="693" y="1518"/>
                    </a:lnTo>
                    <a:lnTo>
                      <a:pt x="679" y="1518"/>
                    </a:lnTo>
                    <a:lnTo>
                      <a:pt x="663" y="1520"/>
                    </a:lnTo>
                    <a:lnTo>
                      <a:pt x="646" y="1524"/>
                    </a:lnTo>
                    <a:lnTo>
                      <a:pt x="607" y="1532"/>
                    </a:lnTo>
                    <a:lnTo>
                      <a:pt x="568" y="1543"/>
                    </a:lnTo>
                    <a:lnTo>
                      <a:pt x="548" y="1550"/>
                    </a:lnTo>
                    <a:lnTo>
                      <a:pt x="530" y="1557"/>
                    </a:lnTo>
                    <a:lnTo>
                      <a:pt x="513" y="1563"/>
                    </a:lnTo>
                    <a:lnTo>
                      <a:pt x="498" y="1570"/>
                    </a:lnTo>
                    <a:lnTo>
                      <a:pt x="484" y="1577"/>
                    </a:lnTo>
                    <a:lnTo>
                      <a:pt x="474" y="1583"/>
                    </a:lnTo>
                    <a:lnTo>
                      <a:pt x="466" y="1589"/>
                    </a:lnTo>
                    <a:lnTo>
                      <a:pt x="461" y="1595"/>
                    </a:lnTo>
                    <a:lnTo>
                      <a:pt x="469" y="1597"/>
                    </a:lnTo>
                    <a:lnTo>
                      <a:pt x="476" y="1600"/>
                    </a:lnTo>
                    <a:lnTo>
                      <a:pt x="482" y="1603"/>
                    </a:lnTo>
                    <a:lnTo>
                      <a:pt x="489" y="1605"/>
                    </a:lnTo>
                    <a:lnTo>
                      <a:pt x="494" y="1608"/>
                    </a:lnTo>
                    <a:lnTo>
                      <a:pt x="499" y="1611"/>
                    </a:lnTo>
                    <a:lnTo>
                      <a:pt x="505" y="1613"/>
                    </a:lnTo>
                    <a:lnTo>
                      <a:pt x="510" y="1616"/>
                    </a:lnTo>
                    <a:lnTo>
                      <a:pt x="508" y="1624"/>
                    </a:lnTo>
                    <a:lnTo>
                      <a:pt x="506" y="1629"/>
                    </a:lnTo>
                    <a:lnTo>
                      <a:pt x="503" y="1636"/>
                    </a:lnTo>
                    <a:lnTo>
                      <a:pt x="501" y="1641"/>
                    </a:lnTo>
                    <a:lnTo>
                      <a:pt x="498" y="1645"/>
                    </a:lnTo>
                    <a:lnTo>
                      <a:pt x="493" y="1650"/>
                    </a:lnTo>
                    <a:lnTo>
                      <a:pt x="489" y="1653"/>
                    </a:lnTo>
                    <a:lnTo>
                      <a:pt x="484" y="1656"/>
                    </a:lnTo>
                    <a:lnTo>
                      <a:pt x="473" y="1660"/>
                    </a:lnTo>
                    <a:lnTo>
                      <a:pt x="459" y="1663"/>
                    </a:lnTo>
                    <a:lnTo>
                      <a:pt x="444" y="1664"/>
                    </a:lnTo>
                    <a:lnTo>
                      <a:pt x="427" y="1665"/>
                    </a:lnTo>
                    <a:lnTo>
                      <a:pt x="420" y="1755"/>
                    </a:lnTo>
                    <a:lnTo>
                      <a:pt x="434" y="1770"/>
                    </a:lnTo>
                    <a:lnTo>
                      <a:pt x="446" y="1784"/>
                    </a:lnTo>
                    <a:lnTo>
                      <a:pt x="458" y="1798"/>
                    </a:lnTo>
                    <a:lnTo>
                      <a:pt x="468" y="1811"/>
                    </a:lnTo>
                    <a:lnTo>
                      <a:pt x="478" y="1824"/>
                    </a:lnTo>
                    <a:lnTo>
                      <a:pt x="490" y="1837"/>
                    </a:lnTo>
                    <a:lnTo>
                      <a:pt x="502" y="1852"/>
                    </a:lnTo>
                    <a:lnTo>
                      <a:pt x="517" y="1867"/>
                    </a:lnTo>
                    <a:lnTo>
                      <a:pt x="521" y="1859"/>
                    </a:lnTo>
                    <a:lnTo>
                      <a:pt x="524" y="1851"/>
                    </a:lnTo>
                    <a:lnTo>
                      <a:pt x="529" y="1844"/>
                    </a:lnTo>
                    <a:lnTo>
                      <a:pt x="533" y="1837"/>
                    </a:lnTo>
                    <a:lnTo>
                      <a:pt x="544" y="1825"/>
                    </a:lnTo>
                    <a:lnTo>
                      <a:pt x="556" y="1816"/>
                    </a:lnTo>
                    <a:lnTo>
                      <a:pt x="569" y="1807"/>
                    </a:lnTo>
                    <a:lnTo>
                      <a:pt x="584" y="1800"/>
                    </a:lnTo>
                    <a:lnTo>
                      <a:pt x="600" y="1794"/>
                    </a:lnTo>
                    <a:lnTo>
                      <a:pt x="616" y="1790"/>
                    </a:lnTo>
                    <a:lnTo>
                      <a:pt x="651" y="1782"/>
                    </a:lnTo>
                    <a:lnTo>
                      <a:pt x="689" y="1774"/>
                    </a:lnTo>
                    <a:lnTo>
                      <a:pt x="709" y="1770"/>
                    </a:lnTo>
                    <a:lnTo>
                      <a:pt x="728" y="1766"/>
                    </a:lnTo>
                    <a:lnTo>
                      <a:pt x="748" y="1761"/>
                    </a:lnTo>
                    <a:lnTo>
                      <a:pt x="767" y="1755"/>
                    </a:lnTo>
                    <a:lnTo>
                      <a:pt x="768" y="1760"/>
                    </a:lnTo>
                    <a:lnTo>
                      <a:pt x="772" y="1766"/>
                    </a:lnTo>
                    <a:lnTo>
                      <a:pt x="777" y="1770"/>
                    </a:lnTo>
                    <a:lnTo>
                      <a:pt x="784" y="1774"/>
                    </a:lnTo>
                    <a:lnTo>
                      <a:pt x="791" y="1777"/>
                    </a:lnTo>
                    <a:lnTo>
                      <a:pt x="799" y="1781"/>
                    </a:lnTo>
                    <a:lnTo>
                      <a:pt x="808" y="1782"/>
                    </a:lnTo>
                    <a:lnTo>
                      <a:pt x="816" y="1783"/>
                    </a:lnTo>
                    <a:lnTo>
                      <a:pt x="821" y="1783"/>
                    </a:lnTo>
                    <a:lnTo>
                      <a:pt x="827" y="1782"/>
                    </a:lnTo>
                    <a:lnTo>
                      <a:pt x="833" y="1780"/>
                    </a:lnTo>
                    <a:lnTo>
                      <a:pt x="838" y="1777"/>
                    </a:lnTo>
                    <a:lnTo>
                      <a:pt x="850" y="1772"/>
                    </a:lnTo>
                    <a:lnTo>
                      <a:pt x="861" y="1765"/>
                    </a:lnTo>
                    <a:lnTo>
                      <a:pt x="873" y="1758"/>
                    </a:lnTo>
                    <a:lnTo>
                      <a:pt x="885" y="1751"/>
                    </a:lnTo>
                    <a:lnTo>
                      <a:pt x="896" y="1745"/>
                    </a:lnTo>
                    <a:lnTo>
                      <a:pt x="907" y="1741"/>
                    </a:lnTo>
                    <a:lnTo>
                      <a:pt x="900" y="1741"/>
                    </a:lnTo>
                    <a:lnTo>
                      <a:pt x="897" y="1754"/>
                    </a:lnTo>
                    <a:lnTo>
                      <a:pt x="892" y="1767"/>
                    </a:lnTo>
                    <a:lnTo>
                      <a:pt x="888" y="1780"/>
                    </a:lnTo>
                    <a:lnTo>
                      <a:pt x="882" y="1792"/>
                    </a:lnTo>
                    <a:lnTo>
                      <a:pt x="875" y="1805"/>
                    </a:lnTo>
                    <a:lnTo>
                      <a:pt x="868" y="1816"/>
                    </a:lnTo>
                    <a:lnTo>
                      <a:pt x="859" y="1827"/>
                    </a:lnTo>
                    <a:lnTo>
                      <a:pt x="850" y="1837"/>
                    </a:lnTo>
                    <a:lnTo>
                      <a:pt x="841" y="1846"/>
                    </a:lnTo>
                    <a:lnTo>
                      <a:pt x="830" y="1854"/>
                    </a:lnTo>
                    <a:lnTo>
                      <a:pt x="819" y="1862"/>
                    </a:lnTo>
                    <a:lnTo>
                      <a:pt x="807" y="1868"/>
                    </a:lnTo>
                    <a:lnTo>
                      <a:pt x="795" y="1874"/>
                    </a:lnTo>
                    <a:lnTo>
                      <a:pt x="781" y="1877"/>
                    </a:lnTo>
                    <a:lnTo>
                      <a:pt x="767" y="1879"/>
                    </a:lnTo>
                    <a:lnTo>
                      <a:pt x="753" y="1880"/>
                    </a:lnTo>
                    <a:lnTo>
                      <a:pt x="753" y="1895"/>
                    </a:lnTo>
                    <a:lnTo>
                      <a:pt x="751" y="1910"/>
                    </a:lnTo>
                    <a:lnTo>
                      <a:pt x="749" y="1924"/>
                    </a:lnTo>
                    <a:lnTo>
                      <a:pt x="744" y="1938"/>
                    </a:lnTo>
                    <a:lnTo>
                      <a:pt x="735" y="1964"/>
                    </a:lnTo>
                    <a:lnTo>
                      <a:pt x="725" y="1987"/>
                    </a:lnTo>
                    <a:lnTo>
                      <a:pt x="713" y="2010"/>
                    </a:lnTo>
                    <a:lnTo>
                      <a:pt x="704" y="2031"/>
                    </a:lnTo>
                    <a:lnTo>
                      <a:pt x="700" y="2040"/>
                    </a:lnTo>
                    <a:lnTo>
                      <a:pt x="696" y="2050"/>
                    </a:lnTo>
                    <a:lnTo>
                      <a:pt x="693" y="2059"/>
                    </a:lnTo>
                    <a:lnTo>
                      <a:pt x="691" y="2069"/>
                    </a:lnTo>
                    <a:lnTo>
                      <a:pt x="691" y="2077"/>
                    </a:lnTo>
                    <a:lnTo>
                      <a:pt x="693" y="2086"/>
                    </a:lnTo>
                    <a:lnTo>
                      <a:pt x="696" y="2094"/>
                    </a:lnTo>
                    <a:lnTo>
                      <a:pt x="700" y="2103"/>
                    </a:lnTo>
                    <a:lnTo>
                      <a:pt x="703" y="2113"/>
                    </a:lnTo>
                    <a:lnTo>
                      <a:pt x="708" y="2122"/>
                    </a:lnTo>
                    <a:lnTo>
                      <a:pt x="713" y="2132"/>
                    </a:lnTo>
                    <a:lnTo>
                      <a:pt x="719" y="2140"/>
                    </a:lnTo>
                    <a:lnTo>
                      <a:pt x="725" y="2148"/>
                    </a:lnTo>
                    <a:lnTo>
                      <a:pt x="730" y="2156"/>
                    </a:lnTo>
                    <a:lnTo>
                      <a:pt x="737" y="2163"/>
                    </a:lnTo>
                    <a:lnTo>
                      <a:pt x="744" y="2168"/>
                    </a:lnTo>
                    <a:lnTo>
                      <a:pt x="750" y="2173"/>
                    </a:lnTo>
                    <a:lnTo>
                      <a:pt x="756" y="2176"/>
                    </a:lnTo>
                    <a:lnTo>
                      <a:pt x="763" y="2179"/>
                    </a:lnTo>
                    <a:lnTo>
                      <a:pt x="767" y="2180"/>
                    </a:lnTo>
                    <a:lnTo>
                      <a:pt x="776" y="2180"/>
                    </a:lnTo>
                    <a:lnTo>
                      <a:pt x="784" y="2179"/>
                    </a:lnTo>
                    <a:lnTo>
                      <a:pt x="792" y="2178"/>
                    </a:lnTo>
                    <a:lnTo>
                      <a:pt x="800" y="2175"/>
                    </a:lnTo>
                    <a:lnTo>
                      <a:pt x="814" y="2171"/>
                    </a:lnTo>
                    <a:lnTo>
                      <a:pt x="828" y="2165"/>
                    </a:lnTo>
                    <a:lnTo>
                      <a:pt x="843" y="2159"/>
                    </a:lnTo>
                    <a:lnTo>
                      <a:pt x="860" y="2153"/>
                    </a:lnTo>
                    <a:lnTo>
                      <a:pt x="878" y="2149"/>
                    </a:lnTo>
                    <a:lnTo>
                      <a:pt x="900" y="2145"/>
                    </a:lnTo>
                    <a:lnTo>
                      <a:pt x="908" y="2163"/>
                    </a:lnTo>
                    <a:lnTo>
                      <a:pt x="919" y="2179"/>
                    </a:lnTo>
                    <a:lnTo>
                      <a:pt x="929" y="2196"/>
                    </a:lnTo>
                    <a:lnTo>
                      <a:pt x="939" y="2213"/>
                    </a:lnTo>
                    <a:lnTo>
                      <a:pt x="944" y="2222"/>
                    </a:lnTo>
                    <a:lnTo>
                      <a:pt x="948" y="2233"/>
                    </a:lnTo>
                    <a:lnTo>
                      <a:pt x="952" y="2243"/>
                    </a:lnTo>
                    <a:lnTo>
                      <a:pt x="955" y="2254"/>
                    </a:lnTo>
                    <a:lnTo>
                      <a:pt x="959" y="2267"/>
                    </a:lnTo>
                    <a:lnTo>
                      <a:pt x="961" y="2281"/>
                    </a:lnTo>
                    <a:lnTo>
                      <a:pt x="962" y="2296"/>
                    </a:lnTo>
                    <a:lnTo>
                      <a:pt x="962" y="2312"/>
                    </a:lnTo>
                    <a:lnTo>
                      <a:pt x="962" y="2334"/>
                    </a:lnTo>
                    <a:lnTo>
                      <a:pt x="961" y="2356"/>
                    </a:lnTo>
                    <a:lnTo>
                      <a:pt x="957" y="2378"/>
                    </a:lnTo>
                    <a:lnTo>
                      <a:pt x="953" y="2399"/>
                    </a:lnTo>
                    <a:lnTo>
                      <a:pt x="949" y="2409"/>
                    </a:lnTo>
                    <a:lnTo>
                      <a:pt x="946" y="2417"/>
                    </a:lnTo>
                    <a:lnTo>
                      <a:pt x="941" y="2425"/>
                    </a:lnTo>
                    <a:lnTo>
                      <a:pt x="936" y="2432"/>
                    </a:lnTo>
                    <a:lnTo>
                      <a:pt x="930" y="2437"/>
                    </a:lnTo>
                    <a:lnTo>
                      <a:pt x="923" y="2441"/>
                    </a:lnTo>
                    <a:lnTo>
                      <a:pt x="915" y="2444"/>
                    </a:lnTo>
                    <a:lnTo>
                      <a:pt x="907" y="2445"/>
                    </a:lnTo>
                    <a:lnTo>
                      <a:pt x="897" y="2444"/>
                    </a:lnTo>
                    <a:lnTo>
                      <a:pt x="886" y="2441"/>
                    </a:lnTo>
                    <a:lnTo>
                      <a:pt x="877" y="2439"/>
                    </a:lnTo>
                    <a:lnTo>
                      <a:pt x="868" y="2434"/>
                    </a:lnTo>
                    <a:lnTo>
                      <a:pt x="850" y="2425"/>
                    </a:lnTo>
                    <a:lnTo>
                      <a:pt x="831" y="2414"/>
                    </a:lnTo>
                    <a:lnTo>
                      <a:pt x="813" y="2403"/>
                    </a:lnTo>
                    <a:lnTo>
                      <a:pt x="794" y="2394"/>
                    </a:lnTo>
                    <a:lnTo>
                      <a:pt x="782" y="2391"/>
                    </a:lnTo>
                    <a:lnTo>
                      <a:pt x="772" y="2390"/>
                    </a:lnTo>
                    <a:lnTo>
                      <a:pt x="759" y="2389"/>
                    </a:lnTo>
                    <a:lnTo>
                      <a:pt x="747" y="2389"/>
                    </a:lnTo>
                    <a:lnTo>
                      <a:pt x="747" y="2452"/>
                    </a:lnTo>
                    <a:lnTo>
                      <a:pt x="757" y="2480"/>
                    </a:lnTo>
                    <a:lnTo>
                      <a:pt x="772" y="2518"/>
                    </a:lnTo>
                    <a:lnTo>
                      <a:pt x="789" y="2561"/>
                    </a:lnTo>
                    <a:lnTo>
                      <a:pt x="810" y="2604"/>
                    </a:lnTo>
                    <a:lnTo>
                      <a:pt x="820" y="2625"/>
                    </a:lnTo>
                    <a:lnTo>
                      <a:pt x="830" y="2644"/>
                    </a:lnTo>
                    <a:lnTo>
                      <a:pt x="842" y="2662"/>
                    </a:lnTo>
                    <a:lnTo>
                      <a:pt x="852" y="2678"/>
                    </a:lnTo>
                    <a:lnTo>
                      <a:pt x="863" y="2691"/>
                    </a:lnTo>
                    <a:lnTo>
                      <a:pt x="874" y="2701"/>
                    </a:lnTo>
                    <a:lnTo>
                      <a:pt x="878" y="2704"/>
                    </a:lnTo>
                    <a:lnTo>
                      <a:pt x="883" y="2707"/>
                    </a:lnTo>
                    <a:lnTo>
                      <a:pt x="889" y="2709"/>
                    </a:lnTo>
                    <a:lnTo>
                      <a:pt x="893" y="2710"/>
                    </a:lnTo>
                    <a:lnTo>
                      <a:pt x="900" y="2710"/>
                    </a:lnTo>
                    <a:lnTo>
                      <a:pt x="907" y="2710"/>
                    </a:lnTo>
                    <a:lnTo>
                      <a:pt x="914" y="2710"/>
                    </a:lnTo>
                    <a:lnTo>
                      <a:pt x="921" y="2710"/>
                    </a:lnTo>
                    <a:lnTo>
                      <a:pt x="929" y="2710"/>
                    </a:lnTo>
                    <a:lnTo>
                      <a:pt x="940" y="2710"/>
                    </a:lnTo>
                    <a:lnTo>
                      <a:pt x="953" y="2710"/>
                    </a:lnTo>
                    <a:lnTo>
                      <a:pt x="969" y="2710"/>
                    </a:lnTo>
                    <a:lnTo>
                      <a:pt x="982" y="2710"/>
                    </a:lnTo>
                    <a:lnTo>
                      <a:pt x="993" y="2712"/>
                    </a:lnTo>
                    <a:lnTo>
                      <a:pt x="1003" y="2715"/>
                    </a:lnTo>
                    <a:lnTo>
                      <a:pt x="1014" y="2720"/>
                    </a:lnTo>
                    <a:lnTo>
                      <a:pt x="1024" y="2726"/>
                    </a:lnTo>
                    <a:lnTo>
                      <a:pt x="1033" y="2733"/>
                    </a:lnTo>
                    <a:lnTo>
                      <a:pt x="1042" y="2741"/>
                    </a:lnTo>
                    <a:lnTo>
                      <a:pt x="1053" y="2751"/>
                    </a:lnTo>
                    <a:lnTo>
                      <a:pt x="1283" y="2758"/>
                    </a:lnTo>
                    <a:lnTo>
                      <a:pt x="1300" y="2764"/>
                    </a:lnTo>
                    <a:lnTo>
                      <a:pt x="1315" y="2769"/>
                    </a:lnTo>
                    <a:lnTo>
                      <a:pt x="1330" y="2776"/>
                    </a:lnTo>
                    <a:lnTo>
                      <a:pt x="1344" y="2784"/>
                    </a:lnTo>
                    <a:lnTo>
                      <a:pt x="1358" y="2792"/>
                    </a:lnTo>
                    <a:lnTo>
                      <a:pt x="1369" y="2800"/>
                    </a:lnTo>
                    <a:lnTo>
                      <a:pt x="1381" y="2809"/>
                    </a:lnTo>
                    <a:lnTo>
                      <a:pt x="1391" y="2819"/>
                    </a:lnTo>
                    <a:lnTo>
                      <a:pt x="1400" y="2828"/>
                    </a:lnTo>
                    <a:lnTo>
                      <a:pt x="1409" y="2838"/>
                    </a:lnTo>
                    <a:lnTo>
                      <a:pt x="1418" y="2850"/>
                    </a:lnTo>
                    <a:lnTo>
                      <a:pt x="1426" y="2860"/>
                    </a:lnTo>
                    <a:lnTo>
                      <a:pt x="1440" y="2883"/>
                    </a:lnTo>
                    <a:lnTo>
                      <a:pt x="1454" y="2908"/>
                    </a:lnTo>
                    <a:lnTo>
                      <a:pt x="1477" y="2959"/>
                    </a:lnTo>
                    <a:lnTo>
                      <a:pt x="1500" y="3012"/>
                    </a:lnTo>
                    <a:lnTo>
                      <a:pt x="1512" y="3040"/>
                    </a:lnTo>
                    <a:lnTo>
                      <a:pt x="1527" y="3066"/>
                    </a:lnTo>
                    <a:lnTo>
                      <a:pt x="1543" y="3094"/>
                    </a:lnTo>
                    <a:lnTo>
                      <a:pt x="1562" y="3120"/>
                    </a:lnTo>
                    <a:lnTo>
                      <a:pt x="1567" y="3128"/>
                    </a:lnTo>
                    <a:lnTo>
                      <a:pt x="1574" y="3135"/>
                    </a:lnTo>
                    <a:lnTo>
                      <a:pt x="1581" y="3142"/>
                    </a:lnTo>
                    <a:lnTo>
                      <a:pt x="1589" y="3147"/>
                    </a:lnTo>
                    <a:lnTo>
                      <a:pt x="1608" y="3156"/>
                    </a:lnTo>
                    <a:lnTo>
                      <a:pt x="1627" y="3164"/>
                    </a:lnTo>
                    <a:lnTo>
                      <a:pt x="1636" y="3167"/>
                    </a:lnTo>
                    <a:lnTo>
                      <a:pt x="1645" y="3172"/>
                    </a:lnTo>
                    <a:lnTo>
                      <a:pt x="1653" y="3178"/>
                    </a:lnTo>
                    <a:lnTo>
                      <a:pt x="1663" y="3183"/>
                    </a:lnTo>
                    <a:lnTo>
                      <a:pt x="1669" y="3189"/>
                    </a:lnTo>
                    <a:lnTo>
                      <a:pt x="1676" y="3197"/>
                    </a:lnTo>
                    <a:lnTo>
                      <a:pt x="1682" y="3206"/>
                    </a:lnTo>
                    <a:lnTo>
                      <a:pt x="1687" y="3218"/>
                    </a:lnTo>
                    <a:lnTo>
                      <a:pt x="1704" y="3264"/>
                    </a:lnTo>
                    <a:lnTo>
                      <a:pt x="1722" y="3307"/>
                    </a:lnTo>
                    <a:lnTo>
                      <a:pt x="1731" y="3329"/>
                    </a:lnTo>
                    <a:lnTo>
                      <a:pt x="1741" y="3350"/>
                    </a:lnTo>
                    <a:lnTo>
                      <a:pt x="1751" y="3369"/>
                    </a:lnTo>
                    <a:lnTo>
                      <a:pt x="1761" y="3389"/>
                    </a:lnTo>
                    <a:lnTo>
                      <a:pt x="1773" y="3407"/>
                    </a:lnTo>
                    <a:lnTo>
                      <a:pt x="1785" y="3425"/>
                    </a:lnTo>
                    <a:lnTo>
                      <a:pt x="1799" y="3443"/>
                    </a:lnTo>
                    <a:lnTo>
                      <a:pt x="1814" y="3459"/>
                    </a:lnTo>
                    <a:lnTo>
                      <a:pt x="1830" y="3475"/>
                    </a:lnTo>
                    <a:lnTo>
                      <a:pt x="1848" y="3490"/>
                    </a:lnTo>
                    <a:lnTo>
                      <a:pt x="1868" y="3503"/>
                    </a:lnTo>
                    <a:lnTo>
                      <a:pt x="1888" y="3517"/>
                    </a:lnTo>
                    <a:lnTo>
                      <a:pt x="1893" y="3519"/>
                    </a:lnTo>
                    <a:lnTo>
                      <a:pt x="1896" y="3521"/>
                    </a:lnTo>
                    <a:lnTo>
                      <a:pt x="1901" y="3522"/>
                    </a:lnTo>
                    <a:lnTo>
                      <a:pt x="1906" y="3522"/>
                    </a:lnTo>
                    <a:lnTo>
                      <a:pt x="1915" y="3521"/>
                    </a:lnTo>
                    <a:lnTo>
                      <a:pt x="1926" y="3519"/>
                    </a:lnTo>
                    <a:lnTo>
                      <a:pt x="1938" y="3518"/>
                    </a:lnTo>
                    <a:lnTo>
                      <a:pt x="1950" y="3519"/>
                    </a:lnTo>
                    <a:lnTo>
                      <a:pt x="1957" y="3521"/>
                    </a:lnTo>
                    <a:lnTo>
                      <a:pt x="1964" y="3523"/>
                    </a:lnTo>
                    <a:lnTo>
                      <a:pt x="1971" y="3526"/>
                    </a:lnTo>
                    <a:lnTo>
                      <a:pt x="1979" y="3531"/>
                    </a:lnTo>
                    <a:lnTo>
                      <a:pt x="1981" y="3503"/>
                    </a:lnTo>
                    <a:lnTo>
                      <a:pt x="1985" y="3477"/>
                    </a:lnTo>
                    <a:lnTo>
                      <a:pt x="1988" y="3452"/>
                    </a:lnTo>
                    <a:lnTo>
                      <a:pt x="1993" y="3429"/>
                    </a:lnTo>
                    <a:lnTo>
                      <a:pt x="1996" y="3418"/>
                    </a:lnTo>
                    <a:lnTo>
                      <a:pt x="1999" y="3409"/>
                    </a:lnTo>
                    <a:lnTo>
                      <a:pt x="2002" y="3400"/>
                    </a:lnTo>
                    <a:lnTo>
                      <a:pt x="2007" y="3391"/>
                    </a:lnTo>
                    <a:lnTo>
                      <a:pt x="2011" y="3383"/>
                    </a:lnTo>
                    <a:lnTo>
                      <a:pt x="2016" y="3376"/>
                    </a:lnTo>
                    <a:lnTo>
                      <a:pt x="2021" y="3369"/>
                    </a:lnTo>
                    <a:lnTo>
                      <a:pt x="2028" y="3363"/>
                    </a:lnTo>
                    <a:lnTo>
                      <a:pt x="2034" y="3369"/>
                    </a:lnTo>
                    <a:lnTo>
                      <a:pt x="2039" y="3376"/>
                    </a:lnTo>
                    <a:lnTo>
                      <a:pt x="2043" y="3383"/>
                    </a:lnTo>
                    <a:lnTo>
                      <a:pt x="2048" y="3391"/>
                    </a:lnTo>
                    <a:lnTo>
                      <a:pt x="2054" y="3407"/>
                    </a:lnTo>
                    <a:lnTo>
                      <a:pt x="2060" y="3423"/>
                    </a:lnTo>
                    <a:lnTo>
                      <a:pt x="2063" y="3431"/>
                    </a:lnTo>
                    <a:lnTo>
                      <a:pt x="2066" y="3438"/>
                    </a:lnTo>
                    <a:lnTo>
                      <a:pt x="2070" y="3445"/>
                    </a:lnTo>
                    <a:lnTo>
                      <a:pt x="2074" y="3451"/>
                    </a:lnTo>
                    <a:lnTo>
                      <a:pt x="2079" y="3455"/>
                    </a:lnTo>
                    <a:lnTo>
                      <a:pt x="2083" y="3459"/>
                    </a:lnTo>
                    <a:lnTo>
                      <a:pt x="2090" y="3461"/>
                    </a:lnTo>
                    <a:lnTo>
                      <a:pt x="2097" y="3461"/>
                    </a:lnTo>
                    <a:lnTo>
                      <a:pt x="2109" y="3461"/>
                    </a:lnTo>
                    <a:lnTo>
                      <a:pt x="2118" y="3459"/>
                    </a:lnTo>
                    <a:lnTo>
                      <a:pt x="2126" y="3455"/>
                    </a:lnTo>
                    <a:lnTo>
                      <a:pt x="2133" y="3451"/>
                    </a:lnTo>
                    <a:lnTo>
                      <a:pt x="2140" y="3445"/>
                    </a:lnTo>
                    <a:lnTo>
                      <a:pt x="2145" y="3438"/>
                    </a:lnTo>
                    <a:lnTo>
                      <a:pt x="2150" y="3431"/>
                    </a:lnTo>
                    <a:lnTo>
                      <a:pt x="2154" y="3424"/>
                    </a:lnTo>
                    <a:lnTo>
                      <a:pt x="2162" y="3408"/>
                    </a:lnTo>
                    <a:lnTo>
                      <a:pt x="2171" y="3393"/>
                    </a:lnTo>
                    <a:lnTo>
                      <a:pt x="2176" y="3387"/>
                    </a:lnTo>
                    <a:lnTo>
                      <a:pt x="2181" y="3381"/>
                    </a:lnTo>
                    <a:lnTo>
                      <a:pt x="2188" y="3375"/>
                    </a:lnTo>
                    <a:lnTo>
                      <a:pt x="2195" y="3370"/>
                    </a:lnTo>
                    <a:lnTo>
                      <a:pt x="2200" y="3367"/>
                    </a:lnTo>
                    <a:lnTo>
                      <a:pt x="2205" y="3363"/>
                    </a:lnTo>
                    <a:lnTo>
                      <a:pt x="2210" y="3361"/>
                    </a:lnTo>
                    <a:lnTo>
                      <a:pt x="2214" y="3360"/>
                    </a:lnTo>
                    <a:lnTo>
                      <a:pt x="2222" y="3360"/>
                    </a:lnTo>
                    <a:lnTo>
                      <a:pt x="2230" y="3363"/>
                    </a:lnTo>
                    <a:lnTo>
                      <a:pt x="2239" y="3367"/>
                    </a:lnTo>
                    <a:lnTo>
                      <a:pt x="2248" y="3370"/>
                    </a:lnTo>
                    <a:lnTo>
                      <a:pt x="2254" y="3371"/>
                    </a:lnTo>
                    <a:lnTo>
                      <a:pt x="2259" y="3371"/>
                    </a:lnTo>
                    <a:lnTo>
                      <a:pt x="2266" y="3371"/>
                    </a:lnTo>
                    <a:lnTo>
                      <a:pt x="2271" y="3370"/>
                    </a:lnTo>
                    <a:lnTo>
                      <a:pt x="2277" y="3368"/>
                    </a:lnTo>
                    <a:lnTo>
                      <a:pt x="2283" y="3363"/>
                    </a:lnTo>
                    <a:lnTo>
                      <a:pt x="2287" y="3359"/>
                    </a:lnTo>
                    <a:lnTo>
                      <a:pt x="2291" y="3354"/>
                    </a:lnTo>
                    <a:lnTo>
                      <a:pt x="2297" y="3342"/>
                    </a:lnTo>
                    <a:lnTo>
                      <a:pt x="2301" y="3329"/>
                    </a:lnTo>
                    <a:lnTo>
                      <a:pt x="2305" y="3316"/>
                    </a:lnTo>
                    <a:lnTo>
                      <a:pt x="2309" y="3304"/>
                    </a:lnTo>
                    <a:lnTo>
                      <a:pt x="2310" y="3299"/>
                    </a:lnTo>
                    <a:lnTo>
                      <a:pt x="2314" y="3295"/>
                    </a:lnTo>
                    <a:lnTo>
                      <a:pt x="2316" y="3290"/>
                    </a:lnTo>
                    <a:lnTo>
                      <a:pt x="2321" y="3288"/>
                    </a:lnTo>
                    <a:lnTo>
                      <a:pt x="2325" y="3285"/>
                    </a:lnTo>
                    <a:lnTo>
                      <a:pt x="2330" y="3283"/>
                    </a:lnTo>
                    <a:lnTo>
                      <a:pt x="2336" y="3283"/>
                    </a:lnTo>
                    <a:lnTo>
                      <a:pt x="2340" y="3282"/>
                    </a:lnTo>
                    <a:lnTo>
                      <a:pt x="2349" y="3283"/>
                    </a:lnTo>
                    <a:lnTo>
                      <a:pt x="2359" y="3284"/>
                    </a:lnTo>
                    <a:lnTo>
                      <a:pt x="2368" y="3287"/>
                    </a:lnTo>
                    <a:lnTo>
                      <a:pt x="2377" y="3288"/>
                    </a:lnTo>
                    <a:lnTo>
                      <a:pt x="2387" y="3289"/>
                    </a:lnTo>
                    <a:lnTo>
                      <a:pt x="2396" y="3288"/>
                    </a:lnTo>
                    <a:lnTo>
                      <a:pt x="2404" y="3285"/>
                    </a:lnTo>
                    <a:lnTo>
                      <a:pt x="2409" y="3283"/>
                    </a:lnTo>
                    <a:lnTo>
                      <a:pt x="2414" y="3280"/>
                    </a:lnTo>
                    <a:lnTo>
                      <a:pt x="2417" y="3276"/>
                    </a:lnTo>
                    <a:lnTo>
                      <a:pt x="2419" y="3272"/>
                    </a:lnTo>
                    <a:lnTo>
                      <a:pt x="2420" y="3267"/>
                    </a:lnTo>
                    <a:lnTo>
                      <a:pt x="2420" y="3261"/>
                    </a:lnTo>
                    <a:lnTo>
                      <a:pt x="2422" y="3256"/>
                    </a:lnTo>
                    <a:lnTo>
                      <a:pt x="2420" y="3244"/>
                    </a:lnTo>
                    <a:lnTo>
                      <a:pt x="2420" y="3230"/>
                    </a:lnTo>
                    <a:lnTo>
                      <a:pt x="2420" y="3223"/>
                    </a:lnTo>
                    <a:lnTo>
                      <a:pt x="2422" y="3217"/>
                    </a:lnTo>
                    <a:lnTo>
                      <a:pt x="2423" y="3210"/>
                    </a:lnTo>
                    <a:lnTo>
                      <a:pt x="2425" y="3204"/>
                    </a:lnTo>
                    <a:lnTo>
                      <a:pt x="2428" y="3198"/>
                    </a:lnTo>
                    <a:lnTo>
                      <a:pt x="2433" y="3194"/>
                    </a:lnTo>
                    <a:lnTo>
                      <a:pt x="2438" y="3190"/>
                    </a:lnTo>
                    <a:lnTo>
                      <a:pt x="2445" y="3188"/>
                    </a:lnTo>
                    <a:lnTo>
                      <a:pt x="2453" y="3187"/>
                    </a:lnTo>
                    <a:lnTo>
                      <a:pt x="2459" y="3186"/>
                    </a:lnTo>
                    <a:lnTo>
                      <a:pt x="2467" y="3187"/>
                    </a:lnTo>
                    <a:lnTo>
                      <a:pt x="2475" y="3187"/>
                    </a:lnTo>
                    <a:lnTo>
                      <a:pt x="2492" y="3190"/>
                    </a:lnTo>
                    <a:lnTo>
                      <a:pt x="2506" y="3193"/>
                    </a:lnTo>
                    <a:lnTo>
                      <a:pt x="2517" y="3196"/>
                    </a:lnTo>
                    <a:lnTo>
                      <a:pt x="2523" y="3197"/>
                    </a:lnTo>
                    <a:lnTo>
                      <a:pt x="2532" y="3196"/>
                    </a:lnTo>
                    <a:lnTo>
                      <a:pt x="2540" y="3194"/>
                    </a:lnTo>
                    <a:lnTo>
                      <a:pt x="2547" y="3190"/>
                    </a:lnTo>
                    <a:lnTo>
                      <a:pt x="2552" y="3186"/>
                    </a:lnTo>
                    <a:lnTo>
                      <a:pt x="2557" y="3181"/>
                    </a:lnTo>
                    <a:lnTo>
                      <a:pt x="2561" y="3176"/>
                    </a:lnTo>
                    <a:lnTo>
                      <a:pt x="2566" y="3172"/>
                    </a:lnTo>
                    <a:lnTo>
                      <a:pt x="2571" y="3168"/>
                    </a:lnTo>
                    <a:lnTo>
                      <a:pt x="2571" y="3189"/>
                    </a:lnTo>
                    <a:lnTo>
                      <a:pt x="2572" y="3206"/>
                    </a:lnTo>
                    <a:lnTo>
                      <a:pt x="2573" y="3222"/>
                    </a:lnTo>
                    <a:lnTo>
                      <a:pt x="2574" y="3237"/>
                    </a:lnTo>
                    <a:lnTo>
                      <a:pt x="2575" y="3249"/>
                    </a:lnTo>
                    <a:lnTo>
                      <a:pt x="2576" y="3259"/>
                    </a:lnTo>
                    <a:lnTo>
                      <a:pt x="2578" y="3267"/>
                    </a:lnTo>
                    <a:lnTo>
                      <a:pt x="2578" y="3273"/>
                    </a:lnTo>
                    <a:lnTo>
                      <a:pt x="2579" y="3280"/>
                    </a:lnTo>
                    <a:lnTo>
                      <a:pt x="2580" y="3287"/>
                    </a:lnTo>
                    <a:lnTo>
                      <a:pt x="2583" y="3292"/>
                    </a:lnTo>
                    <a:lnTo>
                      <a:pt x="2587" y="3299"/>
                    </a:lnTo>
                    <a:lnTo>
                      <a:pt x="2596" y="3313"/>
                    </a:lnTo>
                    <a:lnTo>
                      <a:pt x="2606" y="3328"/>
                    </a:lnTo>
                    <a:lnTo>
                      <a:pt x="2611" y="3336"/>
                    </a:lnTo>
                    <a:lnTo>
                      <a:pt x="2615" y="3344"/>
                    </a:lnTo>
                    <a:lnTo>
                      <a:pt x="2621" y="3353"/>
                    </a:lnTo>
                    <a:lnTo>
                      <a:pt x="2625" y="3363"/>
                    </a:lnTo>
                    <a:lnTo>
                      <a:pt x="2628" y="3375"/>
                    </a:lnTo>
                    <a:lnTo>
                      <a:pt x="2631" y="3386"/>
                    </a:lnTo>
                    <a:lnTo>
                      <a:pt x="2633" y="3399"/>
                    </a:lnTo>
                    <a:lnTo>
                      <a:pt x="2634" y="3413"/>
                    </a:lnTo>
                    <a:lnTo>
                      <a:pt x="2631" y="3426"/>
                    </a:lnTo>
                    <a:lnTo>
                      <a:pt x="2628" y="3438"/>
                    </a:lnTo>
                    <a:lnTo>
                      <a:pt x="2623" y="3449"/>
                    </a:lnTo>
                    <a:lnTo>
                      <a:pt x="2618" y="3459"/>
                    </a:lnTo>
                    <a:lnTo>
                      <a:pt x="2604" y="3477"/>
                    </a:lnTo>
                    <a:lnTo>
                      <a:pt x="2589" y="3492"/>
                    </a:lnTo>
                    <a:lnTo>
                      <a:pt x="2582" y="3500"/>
                    </a:lnTo>
                    <a:lnTo>
                      <a:pt x="2574" y="3507"/>
                    </a:lnTo>
                    <a:lnTo>
                      <a:pt x="2568" y="3515"/>
                    </a:lnTo>
                    <a:lnTo>
                      <a:pt x="2563" y="3523"/>
                    </a:lnTo>
                    <a:lnTo>
                      <a:pt x="2557" y="3532"/>
                    </a:lnTo>
                    <a:lnTo>
                      <a:pt x="2553" y="3542"/>
                    </a:lnTo>
                    <a:lnTo>
                      <a:pt x="2551" y="3554"/>
                    </a:lnTo>
                    <a:lnTo>
                      <a:pt x="2550" y="3566"/>
                    </a:lnTo>
                    <a:lnTo>
                      <a:pt x="2550" y="3573"/>
                    </a:lnTo>
                    <a:lnTo>
                      <a:pt x="2552" y="3581"/>
                    </a:lnTo>
                    <a:lnTo>
                      <a:pt x="2553" y="3589"/>
                    </a:lnTo>
                    <a:lnTo>
                      <a:pt x="2557" y="3597"/>
                    </a:lnTo>
                    <a:lnTo>
                      <a:pt x="2565" y="3615"/>
                    </a:lnTo>
                    <a:lnTo>
                      <a:pt x="2575" y="3633"/>
                    </a:lnTo>
                    <a:lnTo>
                      <a:pt x="2588" y="3651"/>
                    </a:lnTo>
                    <a:lnTo>
                      <a:pt x="2603" y="3671"/>
                    </a:lnTo>
                    <a:lnTo>
                      <a:pt x="2619" y="3690"/>
                    </a:lnTo>
                    <a:lnTo>
                      <a:pt x="2635" y="3711"/>
                    </a:lnTo>
                    <a:lnTo>
                      <a:pt x="2669" y="3749"/>
                    </a:lnTo>
                    <a:lnTo>
                      <a:pt x="2703" y="3785"/>
                    </a:lnTo>
                    <a:lnTo>
                      <a:pt x="2717" y="3802"/>
                    </a:lnTo>
                    <a:lnTo>
                      <a:pt x="2731" y="3818"/>
                    </a:lnTo>
                    <a:lnTo>
                      <a:pt x="2743" y="3831"/>
                    </a:lnTo>
                    <a:lnTo>
                      <a:pt x="2752" y="3844"/>
                    </a:lnTo>
                    <a:lnTo>
                      <a:pt x="2806" y="3875"/>
                    </a:lnTo>
                    <a:lnTo>
                      <a:pt x="2862" y="3906"/>
                    </a:lnTo>
                    <a:lnTo>
                      <a:pt x="2891" y="3921"/>
                    </a:lnTo>
                    <a:lnTo>
                      <a:pt x="2919" y="3936"/>
                    </a:lnTo>
                    <a:lnTo>
                      <a:pt x="2948" y="3949"/>
                    </a:lnTo>
                    <a:lnTo>
                      <a:pt x="2977" y="3963"/>
                    </a:lnTo>
                    <a:lnTo>
                      <a:pt x="3005" y="3975"/>
                    </a:lnTo>
                    <a:lnTo>
                      <a:pt x="3034" y="3985"/>
                    </a:lnTo>
                    <a:lnTo>
                      <a:pt x="3061" y="3993"/>
                    </a:lnTo>
                    <a:lnTo>
                      <a:pt x="3089" y="3999"/>
                    </a:lnTo>
                    <a:lnTo>
                      <a:pt x="3103" y="4001"/>
                    </a:lnTo>
                    <a:lnTo>
                      <a:pt x="3115" y="4003"/>
                    </a:lnTo>
                    <a:lnTo>
                      <a:pt x="3129" y="4005"/>
                    </a:lnTo>
                    <a:lnTo>
                      <a:pt x="3142" y="4005"/>
                    </a:lnTo>
                    <a:lnTo>
                      <a:pt x="3154" y="4003"/>
                    </a:lnTo>
                    <a:lnTo>
                      <a:pt x="3167" y="4002"/>
                    </a:lnTo>
                    <a:lnTo>
                      <a:pt x="3178" y="4001"/>
                    </a:lnTo>
                    <a:lnTo>
                      <a:pt x="3191" y="3998"/>
                    </a:lnTo>
                    <a:lnTo>
                      <a:pt x="3184" y="3879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21" name="Freeform 540"/>
              <p:cNvSpPr>
                <a:spLocks/>
              </p:cNvSpPr>
              <p:nvPr/>
            </p:nvSpPr>
            <p:spPr bwMode="auto">
              <a:xfrm>
                <a:off x="1199" y="1457"/>
                <a:ext cx="128" cy="88"/>
              </a:xfrm>
              <a:custGeom>
                <a:avLst/>
                <a:gdLst>
                  <a:gd name="T0" fmla="*/ 1 w 696"/>
                  <a:gd name="T1" fmla="*/ 0 h 474"/>
                  <a:gd name="T2" fmla="*/ 1 w 696"/>
                  <a:gd name="T3" fmla="*/ 0 h 474"/>
                  <a:gd name="T4" fmla="*/ 1 w 696"/>
                  <a:gd name="T5" fmla="*/ 0 h 474"/>
                  <a:gd name="T6" fmla="*/ 1 w 696"/>
                  <a:gd name="T7" fmla="*/ 0 h 474"/>
                  <a:gd name="T8" fmla="*/ 1 w 696"/>
                  <a:gd name="T9" fmla="*/ 1 h 474"/>
                  <a:gd name="T10" fmla="*/ 2 w 696"/>
                  <a:gd name="T11" fmla="*/ 1 h 474"/>
                  <a:gd name="T12" fmla="*/ 2 w 696"/>
                  <a:gd name="T13" fmla="*/ 1 h 474"/>
                  <a:gd name="T14" fmla="*/ 2 w 696"/>
                  <a:gd name="T15" fmla="*/ 1 h 474"/>
                  <a:gd name="T16" fmla="*/ 2 w 696"/>
                  <a:gd name="T17" fmla="*/ 1 h 474"/>
                  <a:gd name="T18" fmla="*/ 2 w 696"/>
                  <a:gd name="T19" fmla="*/ 1 h 474"/>
                  <a:gd name="T20" fmla="*/ 3 w 696"/>
                  <a:gd name="T21" fmla="*/ 1 h 474"/>
                  <a:gd name="T22" fmla="*/ 3 w 696"/>
                  <a:gd name="T23" fmla="*/ 1 h 474"/>
                  <a:gd name="T24" fmla="*/ 4 w 696"/>
                  <a:gd name="T25" fmla="*/ 1 h 474"/>
                  <a:gd name="T26" fmla="*/ 4 w 696"/>
                  <a:gd name="T27" fmla="*/ 1 h 474"/>
                  <a:gd name="T28" fmla="*/ 4 w 696"/>
                  <a:gd name="T29" fmla="*/ 1 h 474"/>
                  <a:gd name="T30" fmla="*/ 4 w 696"/>
                  <a:gd name="T31" fmla="*/ 1 h 474"/>
                  <a:gd name="T32" fmla="*/ 4 w 696"/>
                  <a:gd name="T33" fmla="*/ 1 h 474"/>
                  <a:gd name="T34" fmla="*/ 4 w 696"/>
                  <a:gd name="T35" fmla="*/ 1 h 474"/>
                  <a:gd name="T36" fmla="*/ 4 w 696"/>
                  <a:gd name="T37" fmla="*/ 1 h 474"/>
                  <a:gd name="T38" fmla="*/ 4 w 696"/>
                  <a:gd name="T39" fmla="*/ 1 h 474"/>
                  <a:gd name="T40" fmla="*/ 4 w 696"/>
                  <a:gd name="T41" fmla="*/ 2 h 474"/>
                  <a:gd name="T42" fmla="*/ 4 w 696"/>
                  <a:gd name="T43" fmla="*/ 2 h 474"/>
                  <a:gd name="T44" fmla="*/ 4 w 696"/>
                  <a:gd name="T45" fmla="*/ 2 h 474"/>
                  <a:gd name="T46" fmla="*/ 4 w 696"/>
                  <a:gd name="T47" fmla="*/ 2 h 474"/>
                  <a:gd name="T48" fmla="*/ 4 w 696"/>
                  <a:gd name="T49" fmla="*/ 2 h 474"/>
                  <a:gd name="T50" fmla="*/ 4 w 696"/>
                  <a:gd name="T51" fmla="*/ 2 h 474"/>
                  <a:gd name="T52" fmla="*/ 4 w 696"/>
                  <a:gd name="T53" fmla="*/ 2 h 474"/>
                  <a:gd name="T54" fmla="*/ 4 w 696"/>
                  <a:gd name="T55" fmla="*/ 2 h 474"/>
                  <a:gd name="T56" fmla="*/ 4 w 696"/>
                  <a:gd name="T57" fmla="*/ 3 h 474"/>
                  <a:gd name="T58" fmla="*/ 4 w 696"/>
                  <a:gd name="T59" fmla="*/ 3 h 474"/>
                  <a:gd name="T60" fmla="*/ 4 w 696"/>
                  <a:gd name="T61" fmla="*/ 3 h 474"/>
                  <a:gd name="T62" fmla="*/ 4 w 696"/>
                  <a:gd name="T63" fmla="*/ 3 h 474"/>
                  <a:gd name="T64" fmla="*/ 4 w 696"/>
                  <a:gd name="T65" fmla="*/ 3 h 474"/>
                  <a:gd name="T66" fmla="*/ 4 w 696"/>
                  <a:gd name="T67" fmla="*/ 3 h 474"/>
                  <a:gd name="T68" fmla="*/ 4 w 696"/>
                  <a:gd name="T69" fmla="*/ 3 h 474"/>
                  <a:gd name="T70" fmla="*/ 4 w 696"/>
                  <a:gd name="T71" fmla="*/ 3 h 474"/>
                  <a:gd name="T72" fmla="*/ 3 w 696"/>
                  <a:gd name="T73" fmla="*/ 3 h 474"/>
                  <a:gd name="T74" fmla="*/ 3 w 696"/>
                  <a:gd name="T75" fmla="*/ 3 h 474"/>
                  <a:gd name="T76" fmla="*/ 2 w 696"/>
                  <a:gd name="T77" fmla="*/ 3 h 474"/>
                  <a:gd name="T78" fmla="*/ 2 w 696"/>
                  <a:gd name="T79" fmla="*/ 3 h 474"/>
                  <a:gd name="T80" fmla="*/ 2 w 696"/>
                  <a:gd name="T81" fmla="*/ 3 h 474"/>
                  <a:gd name="T82" fmla="*/ 2 w 696"/>
                  <a:gd name="T83" fmla="*/ 2 h 474"/>
                  <a:gd name="T84" fmla="*/ 1 w 696"/>
                  <a:gd name="T85" fmla="*/ 2 h 474"/>
                  <a:gd name="T86" fmla="*/ 1 w 696"/>
                  <a:gd name="T87" fmla="*/ 1 h 474"/>
                  <a:gd name="T88" fmla="*/ 1 w 696"/>
                  <a:gd name="T89" fmla="*/ 1 h 474"/>
                  <a:gd name="T90" fmla="*/ 1 w 696"/>
                  <a:gd name="T91" fmla="*/ 1 h 474"/>
                  <a:gd name="T92" fmla="*/ 1 w 696"/>
                  <a:gd name="T93" fmla="*/ 1 h 474"/>
                  <a:gd name="T94" fmla="*/ 1 w 696"/>
                  <a:gd name="T95" fmla="*/ 1 h 474"/>
                  <a:gd name="T96" fmla="*/ 1 w 696"/>
                  <a:gd name="T97" fmla="*/ 1 h 474"/>
                  <a:gd name="T98" fmla="*/ 1 w 696"/>
                  <a:gd name="T99" fmla="*/ 1 h 474"/>
                  <a:gd name="T100" fmla="*/ 0 w 696"/>
                  <a:gd name="T101" fmla="*/ 0 h 474"/>
                  <a:gd name="T102" fmla="*/ 0 w 696"/>
                  <a:gd name="T103" fmla="*/ 0 h 474"/>
                  <a:gd name="T104" fmla="*/ 0 w 696"/>
                  <a:gd name="T105" fmla="*/ 0 h 474"/>
                  <a:gd name="T106" fmla="*/ 0 w 696"/>
                  <a:gd name="T107" fmla="*/ 0 h 47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96"/>
                  <a:gd name="T163" fmla="*/ 0 h 474"/>
                  <a:gd name="T164" fmla="*/ 696 w 696"/>
                  <a:gd name="T165" fmla="*/ 474 h 47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96" h="474">
                    <a:moveTo>
                      <a:pt x="0" y="0"/>
                    </a:moveTo>
                    <a:lnTo>
                      <a:pt x="112" y="0"/>
                    </a:lnTo>
                    <a:lnTo>
                      <a:pt x="117" y="7"/>
                    </a:lnTo>
                    <a:lnTo>
                      <a:pt x="123" y="14"/>
                    </a:lnTo>
                    <a:lnTo>
                      <a:pt x="131" y="21"/>
                    </a:lnTo>
                    <a:lnTo>
                      <a:pt x="141" y="27"/>
                    </a:lnTo>
                    <a:lnTo>
                      <a:pt x="163" y="42"/>
                    </a:lnTo>
                    <a:lnTo>
                      <a:pt x="187" y="56"/>
                    </a:lnTo>
                    <a:lnTo>
                      <a:pt x="214" y="68"/>
                    </a:lnTo>
                    <a:lnTo>
                      <a:pt x="239" y="78"/>
                    </a:lnTo>
                    <a:lnTo>
                      <a:pt x="261" y="86"/>
                    </a:lnTo>
                    <a:lnTo>
                      <a:pt x="279" y="91"/>
                    </a:lnTo>
                    <a:lnTo>
                      <a:pt x="295" y="91"/>
                    </a:lnTo>
                    <a:lnTo>
                      <a:pt x="307" y="88"/>
                    </a:lnTo>
                    <a:lnTo>
                      <a:pt x="316" y="87"/>
                    </a:lnTo>
                    <a:lnTo>
                      <a:pt x="321" y="85"/>
                    </a:lnTo>
                    <a:lnTo>
                      <a:pt x="327" y="83"/>
                    </a:lnTo>
                    <a:lnTo>
                      <a:pt x="333" y="81"/>
                    </a:lnTo>
                    <a:lnTo>
                      <a:pt x="340" y="83"/>
                    </a:lnTo>
                    <a:lnTo>
                      <a:pt x="349" y="84"/>
                    </a:lnTo>
                    <a:lnTo>
                      <a:pt x="551" y="209"/>
                    </a:lnTo>
                    <a:lnTo>
                      <a:pt x="559" y="209"/>
                    </a:lnTo>
                    <a:lnTo>
                      <a:pt x="566" y="208"/>
                    </a:lnTo>
                    <a:lnTo>
                      <a:pt x="574" y="204"/>
                    </a:lnTo>
                    <a:lnTo>
                      <a:pt x="581" y="202"/>
                    </a:lnTo>
                    <a:lnTo>
                      <a:pt x="594" y="194"/>
                    </a:lnTo>
                    <a:lnTo>
                      <a:pt x="607" y="183"/>
                    </a:lnTo>
                    <a:lnTo>
                      <a:pt x="620" y="174"/>
                    </a:lnTo>
                    <a:lnTo>
                      <a:pt x="630" y="165"/>
                    </a:lnTo>
                    <a:lnTo>
                      <a:pt x="640" y="158"/>
                    </a:lnTo>
                    <a:lnTo>
                      <a:pt x="648" y="154"/>
                    </a:lnTo>
                    <a:lnTo>
                      <a:pt x="654" y="163"/>
                    </a:lnTo>
                    <a:lnTo>
                      <a:pt x="659" y="171"/>
                    </a:lnTo>
                    <a:lnTo>
                      <a:pt x="662" y="179"/>
                    </a:lnTo>
                    <a:lnTo>
                      <a:pt x="665" y="187"/>
                    </a:lnTo>
                    <a:lnTo>
                      <a:pt x="667" y="194"/>
                    </a:lnTo>
                    <a:lnTo>
                      <a:pt x="668" y="201"/>
                    </a:lnTo>
                    <a:lnTo>
                      <a:pt x="669" y="208"/>
                    </a:lnTo>
                    <a:lnTo>
                      <a:pt x="668" y="214"/>
                    </a:lnTo>
                    <a:lnTo>
                      <a:pt x="667" y="227"/>
                    </a:lnTo>
                    <a:lnTo>
                      <a:pt x="664" y="240"/>
                    </a:lnTo>
                    <a:lnTo>
                      <a:pt x="663" y="252"/>
                    </a:lnTo>
                    <a:lnTo>
                      <a:pt x="662" y="265"/>
                    </a:lnTo>
                    <a:lnTo>
                      <a:pt x="661" y="273"/>
                    </a:lnTo>
                    <a:lnTo>
                      <a:pt x="662" y="280"/>
                    </a:lnTo>
                    <a:lnTo>
                      <a:pt x="663" y="287"/>
                    </a:lnTo>
                    <a:lnTo>
                      <a:pt x="664" y="294"/>
                    </a:lnTo>
                    <a:lnTo>
                      <a:pt x="670" y="305"/>
                    </a:lnTo>
                    <a:lnTo>
                      <a:pt x="677" y="318"/>
                    </a:lnTo>
                    <a:lnTo>
                      <a:pt x="684" y="330"/>
                    </a:lnTo>
                    <a:lnTo>
                      <a:pt x="691" y="344"/>
                    </a:lnTo>
                    <a:lnTo>
                      <a:pt x="693" y="351"/>
                    </a:lnTo>
                    <a:lnTo>
                      <a:pt x="695" y="359"/>
                    </a:lnTo>
                    <a:lnTo>
                      <a:pt x="696" y="367"/>
                    </a:lnTo>
                    <a:lnTo>
                      <a:pt x="696" y="376"/>
                    </a:lnTo>
                    <a:lnTo>
                      <a:pt x="696" y="385"/>
                    </a:lnTo>
                    <a:lnTo>
                      <a:pt x="695" y="394"/>
                    </a:lnTo>
                    <a:lnTo>
                      <a:pt x="693" y="404"/>
                    </a:lnTo>
                    <a:lnTo>
                      <a:pt x="690" y="412"/>
                    </a:lnTo>
                    <a:lnTo>
                      <a:pt x="686" y="421"/>
                    </a:lnTo>
                    <a:lnTo>
                      <a:pt x="681" y="429"/>
                    </a:lnTo>
                    <a:lnTo>
                      <a:pt x="676" y="436"/>
                    </a:lnTo>
                    <a:lnTo>
                      <a:pt x="670" y="444"/>
                    </a:lnTo>
                    <a:lnTo>
                      <a:pt x="663" y="450"/>
                    </a:lnTo>
                    <a:lnTo>
                      <a:pt x="656" y="455"/>
                    </a:lnTo>
                    <a:lnTo>
                      <a:pt x="649" y="461"/>
                    </a:lnTo>
                    <a:lnTo>
                      <a:pt x="641" y="466"/>
                    </a:lnTo>
                    <a:lnTo>
                      <a:pt x="633" y="469"/>
                    </a:lnTo>
                    <a:lnTo>
                      <a:pt x="624" y="471"/>
                    </a:lnTo>
                    <a:lnTo>
                      <a:pt x="615" y="474"/>
                    </a:lnTo>
                    <a:lnTo>
                      <a:pt x="607" y="474"/>
                    </a:lnTo>
                    <a:lnTo>
                      <a:pt x="586" y="474"/>
                    </a:lnTo>
                    <a:lnTo>
                      <a:pt x="566" y="472"/>
                    </a:lnTo>
                    <a:lnTo>
                      <a:pt x="544" y="470"/>
                    </a:lnTo>
                    <a:lnTo>
                      <a:pt x="521" y="467"/>
                    </a:lnTo>
                    <a:lnTo>
                      <a:pt x="476" y="460"/>
                    </a:lnTo>
                    <a:lnTo>
                      <a:pt x="432" y="451"/>
                    </a:lnTo>
                    <a:lnTo>
                      <a:pt x="389" y="442"/>
                    </a:lnTo>
                    <a:lnTo>
                      <a:pt x="351" y="432"/>
                    </a:lnTo>
                    <a:lnTo>
                      <a:pt x="318" y="424"/>
                    </a:lnTo>
                    <a:lnTo>
                      <a:pt x="293" y="419"/>
                    </a:lnTo>
                    <a:lnTo>
                      <a:pt x="287" y="403"/>
                    </a:lnTo>
                    <a:lnTo>
                      <a:pt x="274" y="376"/>
                    </a:lnTo>
                    <a:lnTo>
                      <a:pt x="257" y="343"/>
                    </a:lnTo>
                    <a:lnTo>
                      <a:pt x="239" y="303"/>
                    </a:lnTo>
                    <a:lnTo>
                      <a:pt x="230" y="282"/>
                    </a:lnTo>
                    <a:lnTo>
                      <a:pt x="222" y="259"/>
                    </a:lnTo>
                    <a:lnTo>
                      <a:pt x="214" y="237"/>
                    </a:lnTo>
                    <a:lnTo>
                      <a:pt x="207" y="214"/>
                    </a:lnTo>
                    <a:lnTo>
                      <a:pt x="201" y="191"/>
                    </a:lnTo>
                    <a:lnTo>
                      <a:pt x="198" y="169"/>
                    </a:lnTo>
                    <a:lnTo>
                      <a:pt x="195" y="147"/>
                    </a:lnTo>
                    <a:lnTo>
                      <a:pt x="195" y="125"/>
                    </a:lnTo>
                    <a:lnTo>
                      <a:pt x="180" y="124"/>
                    </a:lnTo>
                    <a:lnTo>
                      <a:pt x="166" y="120"/>
                    </a:lnTo>
                    <a:lnTo>
                      <a:pt x="151" y="116"/>
                    </a:lnTo>
                    <a:lnTo>
                      <a:pt x="135" y="110"/>
                    </a:lnTo>
                    <a:lnTo>
                      <a:pt x="120" y="103"/>
                    </a:lnTo>
                    <a:lnTo>
                      <a:pt x="104" y="95"/>
                    </a:lnTo>
                    <a:lnTo>
                      <a:pt x="89" y="87"/>
                    </a:lnTo>
                    <a:lnTo>
                      <a:pt x="75" y="78"/>
                    </a:lnTo>
                    <a:lnTo>
                      <a:pt x="61" y="69"/>
                    </a:lnTo>
                    <a:lnTo>
                      <a:pt x="49" y="60"/>
                    </a:lnTo>
                    <a:lnTo>
                      <a:pt x="37" y="49"/>
                    </a:lnTo>
                    <a:lnTo>
                      <a:pt x="26" y="39"/>
                    </a:lnTo>
                    <a:lnTo>
                      <a:pt x="18" y="30"/>
                    </a:lnTo>
                    <a:lnTo>
                      <a:pt x="10" y="19"/>
                    </a:lnTo>
                    <a:lnTo>
                      <a:pt x="4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22" name="Freeform 541"/>
              <p:cNvSpPr>
                <a:spLocks/>
              </p:cNvSpPr>
              <p:nvPr/>
            </p:nvSpPr>
            <p:spPr bwMode="auto">
              <a:xfrm>
                <a:off x="1530" y="1249"/>
                <a:ext cx="144" cy="140"/>
              </a:xfrm>
              <a:custGeom>
                <a:avLst/>
                <a:gdLst>
                  <a:gd name="T0" fmla="*/ 0 w 780"/>
                  <a:gd name="T1" fmla="*/ 2 h 760"/>
                  <a:gd name="T2" fmla="*/ 0 w 780"/>
                  <a:gd name="T3" fmla="*/ 1 h 760"/>
                  <a:gd name="T4" fmla="*/ 0 w 780"/>
                  <a:gd name="T5" fmla="*/ 1 h 760"/>
                  <a:gd name="T6" fmla="*/ 1 w 780"/>
                  <a:gd name="T7" fmla="*/ 2 h 760"/>
                  <a:gd name="T8" fmla="*/ 1 w 780"/>
                  <a:gd name="T9" fmla="*/ 2 h 760"/>
                  <a:gd name="T10" fmla="*/ 1 w 780"/>
                  <a:gd name="T11" fmla="*/ 2 h 760"/>
                  <a:gd name="T12" fmla="*/ 1 w 780"/>
                  <a:gd name="T13" fmla="*/ 2 h 760"/>
                  <a:gd name="T14" fmla="*/ 1 w 780"/>
                  <a:gd name="T15" fmla="*/ 1 h 760"/>
                  <a:gd name="T16" fmla="*/ 1 w 780"/>
                  <a:gd name="T17" fmla="*/ 1 h 760"/>
                  <a:gd name="T18" fmla="*/ 2 w 780"/>
                  <a:gd name="T19" fmla="*/ 1 h 760"/>
                  <a:gd name="T20" fmla="*/ 2 w 780"/>
                  <a:gd name="T21" fmla="*/ 1 h 760"/>
                  <a:gd name="T22" fmla="*/ 2 w 780"/>
                  <a:gd name="T23" fmla="*/ 1 h 760"/>
                  <a:gd name="T24" fmla="*/ 2 w 780"/>
                  <a:gd name="T25" fmla="*/ 1 h 760"/>
                  <a:gd name="T26" fmla="*/ 2 w 780"/>
                  <a:gd name="T27" fmla="*/ 1 h 760"/>
                  <a:gd name="T28" fmla="*/ 3 w 780"/>
                  <a:gd name="T29" fmla="*/ 1 h 760"/>
                  <a:gd name="T30" fmla="*/ 3 w 780"/>
                  <a:gd name="T31" fmla="*/ 1 h 760"/>
                  <a:gd name="T32" fmla="*/ 3 w 780"/>
                  <a:gd name="T33" fmla="*/ 0 h 760"/>
                  <a:gd name="T34" fmla="*/ 3 w 780"/>
                  <a:gd name="T35" fmla="*/ 0 h 760"/>
                  <a:gd name="T36" fmla="*/ 3 w 780"/>
                  <a:gd name="T37" fmla="*/ 0 h 760"/>
                  <a:gd name="T38" fmla="*/ 3 w 780"/>
                  <a:gd name="T39" fmla="*/ 0 h 760"/>
                  <a:gd name="T40" fmla="*/ 4 w 780"/>
                  <a:gd name="T41" fmla="*/ 0 h 760"/>
                  <a:gd name="T42" fmla="*/ 4 w 780"/>
                  <a:gd name="T43" fmla="*/ 0 h 760"/>
                  <a:gd name="T44" fmla="*/ 4 w 780"/>
                  <a:gd name="T45" fmla="*/ 1 h 760"/>
                  <a:gd name="T46" fmla="*/ 4 w 780"/>
                  <a:gd name="T47" fmla="*/ 1 h 760"/>
                  <a:gd name="T48" fmla="*/ 4 w 780"/>
                  <a:gd name="T49" fmla="*/ 1 h 760"/>
                  <a:gd name="T50" fmla="*/ 4 w 780"/>
                  <a:gd name="T51" fmla="*/ 1 h 760"/>
                  <a:gd name="T52" fmla="*/ 4 w 780"/>
                  <a:gd name="T53" fmla="*/ 2 h 760"/>
                  <a:gd name="T54" fmla="*/ 4 w 780"/>
                  <a:gd name="T55" fmla="*/ 2 h 760"/>
                  <a:gd name="T56" fmla="*/ 4 w 780"/>
                  <a:gd name="T57" fmla="*/ 2 h 760"/>
                  <a:gd name="T58" fmla="*/ 4 w 780"/>
                  <a:gd name="T59" fmla="*/ 3 h 760"/>
                  <a:gd name="T60" fmla="*/ 4 w 780"/>
                  <a:gd name="T61" fmla="*/ 3 h 760"/>
                  <a:gd name="T62" fmla="*/ 5 w 780"/>
                  <a:gd name="T63" fmla="*/ 4 h 760"/>
                  <a:gd name="T64" fmla="*/ 5 w 780"/>
                  <a:gd name="T65" fmla="*/ 4 h 760"/>
                  <a:gd name="T66" fmla="*/ 4 w 780"/>
                  <a:gd name="T67" fmla="*/ 5 h 760"/>
                  <a:gd name="T68" fmla="*/ 4 w 780"/>
                  <a:gd name="T69" fmla="*/ 5 h 760"/>
                  <a:gd name="T70" fmla="*/ 4 w 780"/>
                  <a:gd name="T71" fmla="*/ 5 h 760"/>
                  <a:gd name="T72" fmla="*/ 3 w 780"/>
                  <a:gd name="T73" fmla="*/ 4 h 760"/>
                  <a:gd name="T74" fmla="*/ 3 w 780"/>
                  <a:gd name="T75" fmla="*/ 4 h 760"/>
                  <a:gd name="T76" fmla="*/ 2 w 780"/>
                  <a:gd name="T77" fmla="*/ 4 h 760"/>
                  <a:gd name="T78" fmla="*/ 2 w 780"/>
                  <a:gd name="T79" fmla="*/ 4 h 760"/>
                  <a:gd name="T80" fmla="*/ 2 w 780"/>
                  <a:gd name="T81" fmla="*/ 4 h 760"/>
                  <a:gd name="T82" fmla="*/ 1 w 780"/>
                  <a:gd name="T83" fmla="*/ 4 h 760"/>
                  <a:gd name="T84" fmla="*/ 1 w 780"/>
                  <a:gd name="T85" fmla="*/ 4 h 760"/>
                  <a:gd name="T86" fmla="*/ 1 w 780"/>
                  <a:gd name="T87" fmla="*/ 4 h 760"/>
                  <a:gd name="T88" fmla="*/ 1 w 780"/>
                  <a:gd name="T89" fmla="*/ 4 h 760"/>
                  <a:gd name="T90" fmla="*/ 1 w 780"/>
                  <a:gd name="T91" fmla="*/ 4 h 760"/>
                  <a:gd name="T92" fmla="*/ 0 w 780"/>
                  <a:gd name="T93" fmla="*/ 4 h 760"/>
                  <a:gd name="T94" fmla="*/ 0 w 780"/>
                  <a:gd name="T95" fmla="*/ 3 h 760"/>
                  <a:gd name="T96" fmla="*/ 2 w 780"/>
                  <a:gd name="T97" fmla="*/ 4 h 760"/>
                  <a:gd name="T98" fmla="*/ 3 w 780"/>
                  <a:gd name="T99" fmla="*/ 4 h 760"/>
                  <a:gd name="T100" fmla="*/ 3 w 780"/>
                  <a:gd name="T101" fmla="*/ 4 h 760"/>
                  <a:gd name="T102" fmla="*/ 1 w 780"/>
                  <a:gd name="T103" fmla="*/ 3 h 76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780"/>
                  <a:gd name="T157" fmla="*/ 0 h 760"/>
                  <a:gd name="T158" fmla="*/ 780 w 780"/>
                  <a:gd name="T159" fmla="*/ 760 h 76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780" h="760">
                    <a:moveTo>
                      <a:pt x="0" y="363"/>
                    </a:moveTo>
                    <a:lnTo>
                      <a:pt x="2" y="335"/>
                    </a:lnTo>
                    <a:lnTo>
                      <a:pt x="6" y="309"/>
                    </a:lnTo>
                    <a:lnTo>
                      <a:pt x="9" y="284"/>
                    </a:lnTo>
                    <a:lnTo>
                      <a:pt x="14" y="261"/>
                    </a:lnTo>
                    <a:lnTo>
                      <a:pt x="17" y="250"/>
                    </a:lnTo>
                    <a:lnTo>
                      <a:pt x="20" y="241"/>
                    </a:lnTo>
                    <a:lnTo>
                      <a:pt x="23" y="232"/>
                    </a:lnTo>
                    <a:lnTo>
                      <a:pt x="28" y="223"/>
                    </a:lnTo>
                    <a:lnTo>
                      <a:pt x="32" y="215"/>
                    </a:lnTo>
                    <a:lnTo>
                      <a:pt x="37" y="208"/>
                    </a:lnTo>
                    <a:lnTo>
                      <a:pt x="42" y="201"/>
                    </a:lnTo>
                    <a:lnTo>
                      <a:pt x="49" y="195"/>
                    </a:lnTo>
                    <a:lnTo>
                      <a:pt x="55" y="201"/>
                    </a:lnTo>
                    <a:lnTo>
                      <a:pt x="60" y="208"/>
                    </a:lnTo>
                    <a:lnTo>
                      <a:pt x="64" y="215"/>
                    </a:lnTo>
                    <a:lnTo>
                      <a:pt x="69" y="223"/>
                    </a:lnTo>
                    <a:lnTo>
                      <a:pt x="75" y="239"/>
                    </a:lnTo>
                    <a:lnTo>
                      <a:pt x="81" y="255"/>
                    </a:lnTo>
                    <a:lnTo>
                      <a:pt x="84" y="263"/>
                    </a:lnTo>
                    <a:lnTo>
                      <a:pt x="87" y="270"/>
                    </a:lnTo>
                    <a:lnTo>
                      <a:pt x="91" y="277"/>
                    </a:lnTo>
                    <a:lnTo>
                      <a:pt x="95" y="283"/>
                    </a:lnTo>
                    <a:lnTo>
                      <a:pt x="100" y="287"/>
                    </a:lnTo>
                    <a:lnTo>
                      <a:pt x="104" y="291"/>
                    </a:lnTo>
                    <a:lnTo>
                      <a:pt x="111" y="293"/>
                    </a:lnTo>
                    <a:lnTo>
                      <a:pt x="118" y="293"/>
                    </a:lnTo>
                    <a:lnTo>
                      <a:pt x="130" y="293"/>
                    </a:lnTo>
                    <a:lnTo>
                      <a:pt x="139" y="291"/>
                    </a:lnTo>
                    <a:lnTo>
                      <a:pt x="147" y="287"/>
                    </a:lnTo>
                    <a:lnTo>
                      <a:pt x="154" y="283"/>
                    </a:lnTo>
                    <a:lnTo>
                      <a:pt x="161" y="277"/>
                    </a:lnTo>
                    <a:lnTo>
                      <a:pt x="166" y="270"/>
                    </a:lnTo>
                    <a:lnTo>
                      <a:pt x="171" y="263"/>
                    </a:lnTo>
                    <a:lnTo>
                      <a:pt x="175" y="256"/>
                    </a:lnTo>
                    <a:lnTo>
                      <a:pt x="183" y="240"/>
                    </a:lnTo>
                    <a:lnTo>
                      <a:pt x="192" y="225"/>
                    </a:lnTo>
                    <a:lnTo>
                      <a:pt x="197" y="219"/>
                    </a:lnTo>
                    <a:lnTo>
                      <a:pt x="202" y="213"/>
                    </a:lnTo>
                    <a:lnTo>
                      <a:pt x="209" y="207"/>
                    </a:lnTo>
                    <a:lnTo>
                      <a:pt x="216" y="202"/>
                    </a:lnTo>
                    <a:lnTo>
                      <a:pt x="221" y="199"/>
                    </a:lnTo>
                    <a:lnTo>
                      <a:pt x="226" y="195"/>
                    </a:lnTo>
                    <a:lnTo>
                      <a:pt x="231" y="193"/>
                    </a:lnTo>
                    <a:lnTo>
                      <a:pt x="235" y="192"/>
                    </a:lnTo>
                    <a:lnTo>
                      <a:pt x="243" y="192"/>
                    </a:lnTo>
                    <a:lnTo>
                      <a:pt x="251" y="195"/>
                    </a:lnTo>
                    <a:lnTo>
                      <a:pt x="260" y="199"/>
                    </a:lnTo>
                    <a:lnTo>
                      <a:pt x="269" y="202"/>
                    </a:lnTo>
                    <a:lnTo>
                      <a:pt x="275" y="203"/>
                    </a:lnTo>
                    <a:lnTo>
                      <a:pt x="280" y="203"/>
                    </a:lnTo>
                    <a:lnTo>
                      <a:pt x="287" y="203"/>
                    </a:lnTo>
                    <a:lnTo>
                      <a:pt x="292" y="202"/>
                    </a:lnTo>
                    <a:lnTo>
                      <a:pt x="298" y="200"/>
                    </a:lnTo>
                    <a:lnTo>
                      <a:pt x="304" y="195"/>
                    </a:lnTo>
                    <a:lnTo>
                      <a:pt x="308" y="191"/>
                    </a:lnTo>
                    <a:lnTo>
                      <a:pt x="312" y="186"/>
                    </a:lnTo>
                    <a:lnTo>
                      <a:pt x="318" y="174"/>
                    </a:lnTo>
                    <a:lnTo>
                      <a:pt x="322" y="161"/>
                    </a:lnTo>
                    <a:lnTo>
                      <a:pt x="326" y="148"/>
                    </a:lnTo>
                    <a:lnTo>
                      <a:pt x="330" y="136"/>
                    </a:lnTo>
                    <a:lnTo>
                      <a:pt x="331" y="131"/>
                    </a:lnTo>
                    <a:lnTo>
                      <a:pt x="335" y="127"/>
                    </a:lnTo>
                    <a:lnTo>
                      <a:pt x="337" y="122"/>
                    </a:lnTo>
                    <a:lnTo>
                      <a:pt x="342" y="120"/>
                    </a:lnTo>
                    <a:lnTo>
                      <a:pt x="346" y="117"/>
                    </a:lnTo>
                    <a:lnTo>
                      <a:pt x="351" y="115"/>
                    </a:lnTo>
                    <a:lnTo>
                      <a:pt x="357" y="115"/>
                    </a:lnTo>
                    <a:lnTo>
                      <a:pt x="361" y="114"/>
                    </a:lnTo>
                    <a:lnTo>
                      <a:pt x="370" y="115"/>
                    </a:lnTo>
                    <a:lnTo>
                      <a:pt x="380" y="116"/>
                    </a:lnTo>
                    <a:lnTo>
                      <a:pt x="389" y="119"/>
                    </a:lnTo>
                    <a:lnTo>
                      <a:pt x="398" y="120"/>
                    </a:lnTo>
                    <a:lnTo>
                      <a:pt x="408" y="121"/>
                    </a:lnTo>
                    <a:lnTo>
                      <a:pt x="417" y="120"/>
                    </a:lnTo>
                    <a:lnTo>
                      <a:pt x="425" y="117"/>
                    </a:lnTo>
                    <a:lnTo>
                      <a:pt x="430" y="115"/>
                    </a:lnTo>
                    <a:lnTo>
                      <a:pt x="435" y="112"/>
                    </a:lnTo>
                    <a:lnTo>
                      <a:pt x="438" y="108"/>
                    </a:lnTo>
                    <a:lnTo>
                      <a:pt x="440" y="104"/>
                    </a:lnTo>
                    <a:lnTo>
                      <a:pt x="441" y="99"/>
                    </a:lnTo>
                    <a:lnTo>
                      <a:pt x="441" y="93"/>
                    </a:lnTo>
                    <a:lnTo>
                      <a:pt x="443" y="88"/>
                    </a:lnTo>
                    <a:lnTo>
                      <a:pt x="441" y="76"/>
                    </a:lnTo>
                    <a:lnTo>
                      <a:pt x="441" y="62"/>
                    </a:lnTo>
                    <a:lnTo>
                      <a:pt x="441" y="55"/>
                    </a:lnTo>
                    <a:lnTo>
                      <a:pt x="443" y="49"/>
                    </a:lnTo>
                    <a:lnTo>
                      <a:pt x="444" y="42"/>
                    </a:lnTo>
                    <a:lnTo>
                      <a:pt x="446" y="36"/>
                    </a:lnTo>
                    <a:lnTo>
                      <a:pt x="449" y="30"/>
                    </a:lnTo>
                    <a:lnTo>
                      <a:pt x="454" y="26"/>
                    </a:lnTo>
                    <a:lnTo>
                      <a:pt x="459" y="22"/>
                    </a:lnTo>
                    <a:lnTo>
                      <a:pt x="466" y="20"/>
                    </a:lnTo>
                    <a:lnTo>
                      <a:pt x="474" y="19"/>
                    </a:lnTo>
                    <a:lnTo>
                      <a:pt x="480" y="18"/>
                    </a:lnTo>
                    <a:lnTo>
                      <a:pt x="488" y="19"/>
                    </a:lnTo>
                    <a:lnTo>
                      <a:pt x="496" y="19"/>
                    </a:lnTo>
                    <a:lnTo>
                      <a:pt x="513" y="22"/>
                    </a:lnTo>
                    <a:lnTo>
                      <a:pt x="527" y="25"/>
                    </a:lnTo>
                    <a:lnTo>
                      <a:pt x="538" y="28"/>
                    </a:lnTo>
                    <a:lnTo>
                      <a:pt x="544" y="29"/>
                    </a:lnTo>
                    <a:lnTo>
                      <a:pt x="553" y="28"/>
                    </a:lnTo>
                    <a:lnTo>
                      <a:pt x="561" y="26"/>
                    </a:lnTo>
                    <a:lnTo>
                      <a:pt x="568" y="22"/>
                    </a:lnTo>
                    <a:lnTo>
                      <a:pt x="573" y="18"/>
                    </a:lnTo>
                    <a:lnTo>
                      <a:pt x="578" y="13"/>
                    </a:lnTo>
                    <a:lnTo>
                      <a:pt x="582" y="8"/>
                    </a:lnTo>
                    <a:lnTo>
                      <a:pt x="587" y="4"/>
                    </a:lnTo>
                    <a:lnTo>
                      <a:pt x="592" y="0"/>
                    </a:lnTo>
                    <a:lnTo>
                      <a:pt x="592" y="21"/>
                    </a:lnTo>
                    <a:lnTo>
                      <a:pt x="593" y="38"/>
                    </a:lnTo>
                    <a:lnTo>
                      <a:pt x="594" y="54"/>
                    </a:lnTo>
                    <a:lnTo>
                      <a:pt x="595" y="69"/>
                    </a:lnTo>
                    <a:lnTo>
                      <a:pt x="596" y="81"/>
                    </a:lnTo>
                    <a:lnTo>
                      <a:pt x="597" y="91"/>
                    </a:lnTo>
                    <a:lnTo>
                      <a:pt x="599" y="99"/>
                    </a:lnTo>
                    <a:lnTo>
                      <a:pt x="599" y="105"/>
                    </a:lnTo>
                    <a:lnTo>
                      <a:pt x="600" y="112"/>
                    </a:lnTo>
                    <a:lnTo>
                      <a:pt x="601" y="119"/>
                    </a:lnTo>
                    <a:lnTo>
                      <a:pt x="604" y="124"/>
                    </a:lnTo>
                    <a:lnTo>
                      <a:pt x="608" y="131"/>
                    </a:lnTo>
                    <a:lnTo>
                      <a:pt x="617" y="145"/>
                    </a:lnTo>
                    <a:lnTo>
                      <a:pt x="627" y="160"/>
                    </a:lnTo>
                    <a:lnTo>
                      <a:pt x="632" y="168"/>
                    </a:lnTo>
                    <a:lnTo>
                      <a:pt x="636" y="176"/>
                    </a:lnTo>
                    <a:lnTo>
                      <a:pt x="642" y="185"/>
                    </a:lnTo>
                    <a:lnTo>
                      <a:pt x="646" y="195"/>
                    </a:lnTo>
                    <a:lnTo>
                      <a:pt x="649" y="207"/>
                    </a:lnTo>
                    <a:lnTo>
                      <a:pt x="652" y="218"/>
                    </a:lnTo>
                    <a:lnTo>
                      <a:pt x="654" y="231"/>
                    </a:lnTo>
                    <a:lnTo>
                      <a:pt x="655" y="245"/>
                    </a:lnTo>
                    <a:lnTo>
                      <a:pt x="652" y="258"/>
                    </a:lnTo>
                    <a:lnTo>
                      <a:pt x="649" y="270"/>
                    </a:lnTo>
                    <a:lnTo>
                      <a:pt x="644" y="281"/>
                    </a:lnTo>
                    <a:lnTo>
                      <a:pt x="639" y="291"/>
                    </a:lnTo>
                    <a:lnTo>
                      <a:pt x="625" y="309"/>
                    </a:lnTo>
                    <a:lnTo>
                      <a:pt x="610" y="324"/>
                    </a:lnTo>
                    <a:lnTo>
                      <a:pt x="603" y="332"/>
                    </a:lnTo>
                    <a:lnTo>
                      <a:pt x="595" y="339"/>
                    </a:lnTo>
                    <a:lnTo>
                      <a:pt x="589" y="347"/>
                    </a:lnTo>
                    <a:lnTo>
                      <a:pt x="584" y="355"/>
                    </a:lnTo>
                    <a:lnTo>
                      <a:pt x="578" y="364"/>
                    </a:lnTo>
                    <a:lnTo>
                      <a:pt x="574" y="374"/>
                    </a:lnTo>
                    <a:lnTo>
                      <a:pt x="572" y="386"/>
                    </a:lnTo>
                    <a:lnTo>
                      <a:pt x="571" y="398"/>
                    </a:lnTo>
                    <a:lnTo>
                      <a:pt x="571" y="405"/>
                    </a:lnTo>
                    <a:lnTo>
                      <a:pt x="573" y="413"/>
                    </a:lnTo>
                    <a:lnTo>
                      <a:pt x="576" y="421"/>
                    </a:lnTo>
                    <a:lnTo>
                      <a:pt x="578" y="429"/>
                    </a:lnTo>
                    <a:lnTo>
                      <a:pt x="587" y="447"/>
                    </a:lnTo>
                    <a:lnTo>
                      <a:pt x="597" y="465"/>
                    </a:lnTo>
                    <a:lnTo>
                      <a:pt x="611" y="483"/>
                    </a:lnTo>
                    <a:lnTo>
                      <a:pt x="626" y="503"/>
                    </a:lnTo>
                    <a:lnTo>
                      <a:pt x="642" y="522"/>
                    </a:lnTo>
                    <a:lnTo>
                      <a:pt x="659" y="543"/>
                    </a:lnTo>
                    <a:lnTo>
                      <a:pt x="696" y="581"/>
                    </a:lnTo>
                    <a:lnTo>
                      <a:pt x="729" y="617"/>
                    </a:lnTo>
                    <a:lnTo>
                      <a:pt x="745" y="634"/>
                    </a:lnTo>
                    <a:lnTo>
                      <a:pt x="759" y="650"/>
                    </a:lnTo>
                    <a:lnTo>
                      <a:pt x="771" y="663"/>
                    </a:lnTo>
                    <a:lnTo>
                      <a:pt x="780" y="676"/>
                    </a:lnTo>
                    <a:lnTo>
                      <a:pt x="766" y="677"/>
                    </a:lnTo>
                    <a:lnTo>
                      <a:pt x="753" y="681"/>
                    </a:lnTo>
                    <a:lnTo>
                      <a:pt x="743" y="684"/>
                    </a:lnTo>
                    <a:lnTo>
                      <a:pt x="733" y="690"/>
                    </a:lnTo>
                    <a:lnTo>
                      <a:pt x="724" y="695"/>
                    </a:lnTo>
                    <a:lnTo>
                      <a:pt x="714" y="702"/>
                    </a:lnTo>
                    <a:lnTo>
                      <a:pt x="706" y="710"/>
                    </a:lnTo>
                    <a:lnTo>
                      <a:pt x="698" y="718"/>
                    </a:lnTo>
                    <a:lnTo>
                      <a:pt x="682" y="733"/>
                    </a:lnTo>
                    <a:lnTo>
                      <a:pt x="666" y="747"/>
                    </a:lnTo>
                    <a:lnTo>
                      <a:pt x="657" y="753"/>
                    </a:lnTo>
                    <a:lnTo>
                      <a:pt x="648" y="756"/>
                    </a:lnTo>
                    <a:lnTo>
                      <a:pt x="638" y="759"/>
                    </a:lnTo>
                    <a:lnTo>
                      <a:pt x="627" y="760"/>
                    </a:lnTo>
                    <a:lnTo>
                      <a:pt x="618" y="760"/>
                    </a:lnTo>
                    <a:lnTo>
                      <a:pt x="609" y="759"/>
                    </a:lnTo>
                    <a:lnTo>
                      <a:pt x="601" y="757"/>
                    </a:lnTo>
                    <a:lnTo>
                      <a:pt x="593" y="755"/>
                    </a:lnTo>
                    <a:lnTo>
                      <a:pt x="578" y="750"/>
                    </a:lnTo>
                    <a:lnTo>
                      <a:pt x="564" y="744"/>
                    </a:lnTo>
                    <a:lnTo>
                      <a:pt x="550" y="736"/>
                    </a:lnTo>
                    <a:lnTo>
                      <a:pt x="538" y="728"/>
                    </a:lnTo>
                    <a:lnTo>
                      <a:pt x="526" y="717"/>
                    </a:lnTo>
                    <a:lnTo>
                      <a:pt x="515" y="708"/>
                    </a:lnTo>
                    <a:lnTo>
                      <a:pt x="492" y="689"/>
                    </a:lnTo>
                    <a:lnTo>
                      <a:pt x="469" y="671"/>
                    </a:lnTo>
                    <a:lnTo>
                      <a:pt x="458" y="666"/>
                    </a:lnTo>
                    <a:lnTo>
                      <a:pt x="445" y="660"/>
                    </a:lnTo>
                    <a:lnTo>
                      <a:pt x="432" y="656"/>
                    </a:lnTo>
                    <a:lnTo>
                      <a:pt x="417" y="655"/>
                    </a:lnTo>
                    <a:lnTo>
                      <a:pt x="407" y="655"/>
                    </a:lnTo>
                    <a:lnTo>
                      <a:pt x="397" y="656"/>
                    </a:lnTo>
                    <a:lnTo>
                      <a:pt x="389" y="659"/>
                    </a:lnTo>
                    <a:lnTo>
                      <a:pt x="381" y="662"/>
                    </a:lnTo>
                    <a:lnTo>
                      <a:pt x="374" y="667"/>
                    </a:lnTo>
                    <a:lnTo>
                      <a:pt x="367" y="673"/>
                    </a:lnTo>
                    <a:lnTo>
                      <a:pt x="360" y="678"/>
                    </a:lnTo>
                    <a:lnTo>
                      <a:pt x="354" y="684"/>
                    </a:lnTo>
                    <a:lnTo>
                      <a:pt x="342" y="697"/>
                    </a:lnTo>
                    <a:lnTo>
                      <a:pt x="327" y="707"/>
                    </a:lnTo>
                    <a:lnTo>
                      <a:pt x="319" y="711"/>
                    </a:lnTo>
                    <a:lnTo>
                      <a:pt x="308" y="715"/>
                    </a:lnTo>
                    <a:lnTo>
                      <a:pt x="298" y="717"/>
                    </a:lnTo>
                    <a:lnTo>
                      <a:pt x="286" y="718"/>
                    </a:lnTo>
                    <a:lnTo>
                      <a:pt x="273" y="715"/>
                    </a:lnTo>
                    <a:lnTo>
                      <a:pt x="260" y="709"/>
                    </a:lnTo>
                    <a:lnTo>
                      <a:pt x="248" y="702"/>
                    </a:lnTo>
                    <a:lnTo>
                      <a:pt x="236" y="694"/>
                    </a:lnTo>
                    <a:lnTo>
                      <a:pt x="227" y="684"/>
                    </a:lnTo>
                    <a:lnTo>
                      <a:pt x="219" y="674"/>
                    </a:lnTo>
                    <a:lnTo>
                      <a:pt x="216" y="668"/>
                    </a:lnTo>
                    <a:lnTo>
                      <a:pt x="213" y="661"/>
                    </a:lnTo>
                    <a:lnTo>
                      <a:pt x="211" y="655"/>
                    </a:lnTo>
                    <a:lnTo>
                      <a:pt x="209" y="648"/>
                    </a:lnTo>
                    <a:lnTo>
                      <a:pt x="201" y="650"/>
                    </a:lnTo>
                    <a:lnTo>
                      <a:pt x="193" y="653"/>
                    </a:lnTo>
                    <a:lnTo>
                      <a:pt x="183" y="658"/>
                    </a:lnTo>
                    <a:lnTo>
                      <a:pt x="174" y="662"/>
                    </a:lnTo>
                    <a:lnTo>
                      <a:pt x="165" y="668"/>
                    </a:lnTo>
                    <a:lnTo>
                      <a:pt x="156" y="673"/>
                    </a:lnTo>
                    <a:lnTo>
                      <a:pt x="148" y="675"/>
                    </a:lnTo>
                    <a:lnTo>
                      <a:pt x="139" y="676"/>
                    </a:lnTo>
                    <a:lnTo>
                      <a:pt x="133" y="676"/>
                    </a:lnTo>
                    <a:lnTo>
                      <a:pt x="126" y="675"/>
                    </a:lnTo>
                    <a:lnTo>
                      <a:pt x="119" y="674"/>
                    </a:lnTo>
                    <a:lnTo>
                      <a:pt x="114" y="671"/>
                    </a:lnTo>
                    <a:lnTo>
                      <a:pt x="101" y="664"/>
                    </a:lnTo>
                    <a:lnTo>
                      <a:pt x="88" y="655"/>
                    </a:lnTo>
                    <a:lnTo>
                      <a:pt x="76" y="645"/>
                    </a:lnTo>
                    <a:lnTo>
                      <a:pt x="64" y="632"/>
                    </a:lnTo>
                    <a:lnTo>
                      <a:pt x="54" y="617"/>
                    </a:lnTo>
                    <a:lnTo>
                      <a:pt x="44" y="603"/>
                    </a:lnTo>
                    <a:lnTo>
                      <a:pt x="34" y="586"/>
                    </a:lnTo>
                    <a:lnTo>
                      <a:pt x="25" y="568"/>
                    </a:lnTo>
                    <a:lnTo>
                      <a:pt x="18" y="551"/>
                    </a:lnTo>
                    <a:lnTo>
                      <a:pt x="12" y="533"/>
                    </a:lnTo>
                    <a:lnTo>
                      <a:pt x="7" y="514"/>
                    </a:lnTo>
                    <a:lnTo>
                      <a:pt x="3" y="496"/>
                    </a:lnTo>
                    <a:lnTo>
                      <a:pt x="1" y="478"/>
                    </a:lnTo>
                    <a:lnTo>
                      <a:pt x="0" y="460"/>
                    </a:lnTo>
                    <a:lnTo>
                      <a:pt x="69" y="491"/>
                    </a:lnTo>
                    <a:lnTo>
                      <a:pt x="139" y="521"/>
                    </a:lnTo>
                    <a:lnTo>
                      <a:pt x="208" y="550"/>
                    </a:lnTo>
                    <a:lnTo>
                      <a:pt x="273" y="577"/>
                    </a:lnTo>
                    <a:lnTo>
                      <a:pt x="333" y="603"/>
                    </a:lnTo>
                    <a:lnTo>
                      <a:pt x="386" y="625"/>
                    </a:lnTo>
                    <a:lnTo>
                      <a:pt x="432" y="645"/>
                    </a:lnTo>
                    <a:lnTo>
                      <a:pt x="467" y="662"/>
                    </a:lnTo>
                    <a:lnTo>
                      <a:pt x="461" y="655"/>
                    </a:lnTo>
                    <a:lnTo>
                      <a:pt x="455" y="648"/>
                    </a:lnTo>
                    <a:lnTo>
                      <a:pt x="448" y="642"/>
                    </a:lnTo>
                    <a:lnTo>
                      <a:pt x="440" y="635"/>
                    </a:lnTo>
                    <a:lnTo>
                      <a:pt x="421" y="620"/>
                    </a:lnTo>
                    <a:lnTo>
                      <a:pt x="399" y="604"/>
                    </a:lnTo>
                    <a:lnTo>
                      <a:pt x="374" y="588"/>
                    </a:lnTo>
                    <a:lnTo>
                      <a:pt x="346" y="570"/>
                    </a:lnTo>
                    <a:lnTo>
                      <a:pt x="316" y="553"/>
                    </a:lnTo>
                    <a:lnTo>
                      <a:pt x="286" y="536"/>
                    </a:lnTo>
                    <a:lnTo>
                      <a:pt x="219" y="502"/>
                    </a:lnTo>
                    <a:lnTo>
                      <a:pt x="151" y="467"/>
                    </a:lnTo>
                    <a:lnTo>
                      <a:pt x="84" y="435"/>
                    </a:lnTo>
                    <a:lnTo>
                      <a:pt x="21" y="405"/>
                    </a:lnTo>
                    <a:lnTo>
                      <a:pt x="0" y="363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23" name="Freeform 542"/>
              <p:cNvSpPr>
                <a:spLocks/>
              </p:cNvSpPr>
              <p:nvPr/>
            </p:nvSpPr>
            <p:spPr bwMode="auto">
              <a:xfrm>
                <a:off x="954" y="2142"/>
                <a:ext cx="691" cy="976"/>
              </a:xfrm>
              <a:custGeom>
                <a:avLst/>
                <a:gdLst>
                  <a:gd name="T0" fmla="*/ 22 w 3747"/>
                  <a:gd name="T1" fmla="*/ 6 h 5286"/>
                  <a:gd name="T2" fmla="*/ 23 w 3747"/>
                  <a:gd name="T3" fmla="*/ 7 h 5286"/>
                  <a:gd name="T4" fmla="*/ 23 w 3747"/>
                  <a:gd name="T5" fmla="*/ 8 h 5286"/>
                  <a:gd name="T6" fmla="*/ 23 w 3747"/>
                  <a:gd name="T7" fmla="*/ 9 h 5286"/>
                  <a:gd name="T8" fmla="*/ 23 w 3747"/>
                  <a:gd name="T9" fmla="*/ 10 h 5286"/>
                  <a:gd name="T10" fmla="*/ 22 w 3747"/>
                  <a:gd name="T11" fmla="*/ 10 h 5286"/>
                  <a:gd name="T12" fmla="*/ 21 w 3747"/>
                  <a:gd name="T13" fmla="*/ 11 h 5286"/>
                  <a:gd name="T14" fmla="*/ 21 w 3747"/>
                  <a:gd name="T15" fmla="*/ 12 h 5286"/>
                  <a:gd name="T16" fmla="*/ 21 w 3747"/>
                  <a:gd name="T17" fmla="*/ 13 h 5286"/>
                  <a:gd name="T18" fmla="*/ 20 w 3747"/>
                  <a:gd name="T19" fmla="*/ 15 h 5286"/>
                  <a:gd name="T20" fmla="*/ 22 w 3747"/>
                  <a:gd name="T21" fmla="*/ 15 h 5286"/>
                  <a:gd name="T22" fmla="*/ 22 w 3747"/>
                  <a:gd name="T23" fmla="*/ 16 h 5286"/>
                  <a:gd name="T24" fmla="*/ 21 w 3747"/>
                  <a:gd name="T25" fmla="*/ 18 h 5286"/>
                  <a:gd name="T26" fmla="*/ 19 w 3747"/>
                  <a:gd name="T27" fmla="*/ 18 h 5286"/>
                  <a:gd name="T28" fmla="*/ 18 w 3747"/>
                  <a:gd name="T29" fmla="*/ 20 h 5286"/>
                  <a:gd name="T30" fmla="*/ 17 w 3747"/>
                  <a:gd name="T31" fmla="*/ 21 h 5286"/>
                  <a:gd name="T32" fmla="*/ 17 w 3747"/>
                  <a:gd name="T33" fmla="*/ 23 h 5286"/>
                  <a:gd name="T34" fmla="*/ 16 w 3747"/>
                  <a:gd name="T35" fmla="*/ 23 h 5286"/>
                  <a:gd name="T36" fmla="*/ 14 w 3747"/>
                  <a:gd name="T37" fmla="*/ 23 h 5286"/>
                  <a:gd name="T38" fmla="*/ 12 w 3747"/>
                  <a:gd name="T39" fmla="*/ 23 h 5286"/>
                  <a:gd name="T40" fmla="*/ 12 w 3747"/>
                  <a:gd name="T41" fmla="*/ 24 h 5286"/>
                  <a:gd name="T42" fmla="*/ 12 w 3747"/>
                  <a:gd name="T43" fmla="*/ 27 h 5286"/>
                  <a:gd name="T44" fmla="*/ 13 w 3747"/>
                  <a:gd name="T45" fmla="*/ 28 h 5286"/>
                  <a:gd name="T46" fmla="*/ 13 w 3747"/>
                  <a:gd name="T47" fmla="*/ 30 h 5286"/>
                  <a:gd name="T48" fmla="*/ 13 w 3747"/>
                  <a:gd name="T49" fmla="*/ 31 h 5286"/>
                  <a:gd name="T50" fmla="*/ 13 w 3747"/>
                  <a:gd name="T51" fmla="*/ 31 h 5286"/>
                  <a:gd name="T52" fmla="*/ 10 w 3747"/>
                  <a:gd name="T53" fmla="*/ 33 h 5286"/>
                  <a:gd name="T54" fmla="*/ 10 w 3747"/>
                  <a:gd name="T55" fmla="*/ 32 h 5286"/>
                  <a:gd name="T56" fmla="*/ 9 w 3747"/>
                  <a:gd name="T57" fmla="*/ 30 h 5286"/>
                  <a:gd name="T58" fmla="*/ 8 w 3747"/>
                  <a:gd name="T59" fmla="*/ 30 h 5286"/>
                  <a:gd name="T60" fmla="*/ 7 w 3747"/>
                  <a:gd name="T61" fmla="*/ 31 h 5286"/>
                  <a:gd name="T62" fmla="*/ 6 w 3747"/>
                  <a:gd name="T63" fmla="*/ 30 h 5286"/>
                  <a:gd name="T64" fmla="*/ 6 w 3747"/>
                  <a:gd name="T65" fmla="*/ 28 h 5286"/>
                  <a:gd name="T66" fmla="*/ 6 w 3747"/>
                  <a:gd name="T67" fmla="*/ 27 h 5286"/>
                  <a:gd name="T68" fmla="*/ 5 w 3747"/>
                  <a:gd name="T69" fmla="*/ 24 h 5286"/>
                  <a:gd name="T70" fmla="*/ 2 w 3747"/>
                  <a:gd name="T71" fmla="*/ 24 h 5286"/>
                  <a:gd name="T72" fmla="*/ 1 w 3747"/>
                  <a:gd name="T73" fmla="*/ 23 h 5286"/>
                  <a:gd name="T74" fmla="*/ 1 w 3747"/>
                  <a:gd name="T75" fmla="*/ 22 h 5286"/>
                  <a:gd name="T76" fmla="*/ 3 w 3747"/>
                  <a:gd name="T77" fmla="*/ 20 h 5286"/>
                  <a:gd name="T78" fmla="*/ 3 w 3747"/>
                  <a:gd name="T79" fmla="*/ 19 h 5286"/>
                  <a:gd name="T80" fmla="*/ 2 w 3747"/>
                  <a:gd name="T81" fmla="*/ 18 h 5286"/>
                  <a:gd name="T82" fmla="*/ 2 w 3747"/>
                  <a:gd name="T83" fmla="*/ 17 h 5286"/>
                  <a:gd name="T84" fmla="*/ 4 w 3747"/>
                  <a:gd name="T85" fmla="*/ 16 h 5286"/>
                  <a:gd name="T86" fmla="*/ 4 w 3747"/>
                  <a:gd name="T87" fmla="*/ 15 h 5286"/>
                  <a:gd name="T88" fmla="*/ 4 w 3747"/>
                  <a:gd name="T89" fmla="*/ 13 h 5286"/>
                  <a:gd name="T90" fmla="*/ 5 w 3747"/>
                  <a:gd name="T91" fmla="*/ 11 h 5286"/>
                  <a:gd name="T92" fmla="*/ 8 w 3747"/>
                  <a:gd name="T93" fmla="*/ 10 h 5286"/>
                  <a:gd name="T94" fmla="*/ 8 w 3747"/>
                  <a:gd name="T95" fmla="*/ 9 h 5286"/>
                  <a:gd name="T96" fmla="*/ 9 w 3747"/>
                  <a:gd name="T97" fmla="*/ 8 h 5286"/>
                  <a:gd name="T98" fmla="*/ 10 w 3747"/>
                  <a:gd name="T99" fmla="*/ 7 h 5286"/>
                  <a:gd name="T100" fmla="*/ 9 w 3747"/>
                  <a:gd name="T101" fmla="*/ 6 h 5286"/>
                  <a:gd name="T102" fmla="*/ 9 w 3747"/>
                  <a:gd name="T103" fmla="*/ 5 h 5286"/>
                  <a:gd name="T104" fmla="*/ 12 w 3747"/>
                  <a:gd name="T105" fmla="*/ 4 h 5286"/>
                  <a:gd name="T106" fmla="*/ 12 w 3747"/>
                  <a:gd name="T107" fmla="*/ 3 h 5286"/>
                  <a:gd name="T108" fmla="*/ 13 w 3747"/>
                  <a:gd name="T109" fmla="*/ 3 h 5286"/>
                  <a:gd name="T110" fmla="*/ 14 w 3747"/>
                  <a:gd name="T111" fmla="*/ 3 h 5286"/>
                  <a:gd name="T112" fmla="*/ 16 w 3747"/>
                  <a:gd name="T113" fmla="*/ 1 h 5286"/>
                  <a:gd name="T114" fmla="*/ 17 w 3747"/>
                  <a:gd name="T115" fmla="*/ 0 h 5286"/>
                  <a:gd name="T116" fmla="*/ 18 w 3747"/>
                  <a:gd name="T117" fmla="*/ 1 h 5286"/>
                  <a:gd name="T118" fmla="*/ 18 w 3747"/>
                  <a:gd name="T119" fmla="*/ 2 h 5286"/>
                  <a:gd name="T120" fmla="*/ 17 w 3747"/>
                  <a:gd name="T121" fmla="*/ 4 h 5286"/>
                  <a:gd name="T122" fmla="*/ 19 w 3747"/>
                  <a:gd name="T123" fmla="*/ 4 h 5286"/>
                  <a:gd name="T124" fmla="*/ 20 w 3747"/>
                  <a:gd name="T125" fmla="*/ 4 h 528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747"/>
                  <a:gd name="T190" fmla="*/ 0 h 5286"/>
                  <a:gd name="T191" fmla="*/ 3747 w 3747"/>
                  <a:gd name="T192" fmla="*/ 5286 h 528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747" h="5286">
                    <a:moveTo>
                      <a:pt x="3238" y="683"/>
                    </a:moveTo>
                    <a:lnTo>
                      <a:pt x="3253" y="691"/>
                    </a:lnTo>
                    <a:lnTo>
                      <a:pt x="3265" y="699"/>
                    </a:lnTo>
                    <a:lnTo>
                      <a:pt x="3274" y="707"/>
                    </a:lnTo>
                    <a:lnTo>
                      <a:pt x="3281" y="716"/>
                    </a:lnTo>
                    <a:lnTo>
                      <a:pt x="3286" y="724"/>
                    </a:lnTo>
                    <a:lnTo>
                      <a:pt x="3291" y="733"/>
                    </a:lnTo>
                    <a:lnTo>
                      <a:pt x="3293" y="741"/>
                    </a:lnTo>
                    <a:lnTo>
                      <a:pt x="3296" y="750"/>
                    </a:lnTo>
                    <a:lnTo>
                      <a:pt x="3299" y="770"/>
                    </a:lnTo>
                    <a:lnTo>
                      <a:pt x="3304" y="788"/>
                    </a:lnTo>
                    <a:lnTo>
                      <a:pt x="3306" y="799"/>
                    </a:lnTo>
                    <a:lnTo>
                      <a:pt x="3309" y="809"/>
                    </a:lnTo>
                    <a:lnTo>
                      <a:pt x="3315" y="819"/>
                    </a:lnTo>
                    <a:lnTo>
                      <a:pt x="3322" y="830"/>
                    </a:lnTo>
                    <a:lnTo>
                      <a:pt x="3332" y="841"/>
                    </a:lnTo>
                    <a:lnTo>
                      <a:pt x="3343" y="851"/>
                    </a:lnTo>
                    <a:lnTo>
                      <a:pt x="3354" y="858"/>
                    </a:lnTo>
                    <a:lnTo>
                      <a:pt x="3367" y="865"/>
                    </a:lnTo>
                    <a:lnTo>
                      <a:pt x="3392" y="875"/>
                    </a:lnTo>
                    <a:lnTo>
                      <a:pt x="3418" y="883"/>
                    </a:lnTo>
                    <a:lnTo>
                      <a:pt x="3430" y="887"/>
                    </a:lnTo>
                    <a:lnTo>
                      <a:pt x="3441" y="892"/>
                    </a:lnTo>
                    <a:lnTo>
                      <a:pt x="3452" y="897"/>
                    </a:lnTo>
                    <a:lnTo>
                      <a:pt x="3461" y="904"/>
                    </a:lnTo>
                    <a:lnTo>
                      <a:pt x="3465" y="908"/>
                    </a:lnTo>
                    <a:lnTo>
                      <a:pt x="3469" y="911"/>
                    </a:lnTo>
                    <a:lnTo>
                      <a:pt x="3472" y="917"/>
                    </a:lnTo>
                    <a:lnTo>
                      <a:pt x="3476" y="921"/>
                    </a:lnTo>
                    <a:lnTo>
                      <a:pt x="3478" y="927"/>
                    </a:lnTo>
                    <a:lnTo>
                      <a:pt x="3480" y="933"/>
                    </a:lnTo>
                    <a:lnTo>
                      <a:pt x="3481" y="940"/>
                    </a:lnTo>
                    <a:lnTo>
                      <a:pt x="3482" y="948"/>
                    </a:lnTo>
                    <a:lnTo>
                      <a:pt x="3485" y="961"/>
                    </a:lnTo>
                    <a:lnTo>
                      <a:pt x="3488" y="974"/>
                    </a:lnTo>
                    <a:lnTo>
                      <a:pt x="3494" y="986"/>
                    </a:lnTo>
                    <a:lnTo>
                      <a:pt x="3500" y="996"/>
                    </a:lnTo>
                    <a:lnTo>
                      <a:pt x="3507" y="1005"/>
                    </a:lnTo>
                    <a:lnTo>
                      <a:pt x="3515" y="1013"/>
                    </a:lnTo>
                    <a:lnTo>
                      <a:pt x="3523" y="1020"/>
                    </a:lnTo>
                    <a:lnTo>
                      <a:pt x="3532" y="1027"/>
                    </a:lnTo>
                    <a:lnTo>
                      <a:pt x="3542" y="1033"/>
                    </a:lnTo>
                    <a:lnTo>
                      <a:pt x="3552" y="1038"/>
                    </a:lnTo>
                    <a:lnTo>
                      <a:pt x="3564" y="1043"/>
                    </a:lnTo>
                    <a:lnTo>
                      <a:pt x="3575" y="1047"/>
                    </a:lnTo>
                    <a:lnTo>
                      <a:pt x="3598" y="1054"/>
                    </a:lnTo>
                    <a:lnTo>
                      <a:pt x="3622" y="1061"/>
                    </a:lnTo>
                    <a:lnTo>
                      <a:pt x="3646" y="1067"/>
                    </a:lnTo>
                    <a:lnTo>
                      <a:pt x="3668" y="1073"/>
                    </a:lnTo>
                    <a:lnTo>
                      <a:pt x="3690" y="1078"/>
                    </a:lnTo>
                    <a:lnTo>
                      <a:pt x="3708" y="1086"/>
                    </a:lnTo>
                    <a:lnTo>
                      <a:pt x="3716" y="1091"/>
                    </a:lnTo>
                    <a:lnTo>
                      <a:pt x="3724" y="1097"/>
                    </a:lnTo>
                    <a:lnTo>
                      <a:pt x="3730" y="1103"/>
                    </a:lnTo>
                    <a:lnTo>
                      <a:pt x="3736" y="1108"/>
                    </a:lnTo>
                    <a:lnTo>
                      <a:pt x="3740" y="1115"/>
                    </a:lnTo>
                    <a:lnTo>
                      <a:pt x="3744" y="1123"/>
                    </a:lnTo>
                    <a:lnTo>
                      <a:pt x="3746" y="1132"/>
                    </a:lnTo>
                    <a:lnTo>
                      <a:pt x="3747" y="1143"/>
                    </a:lnTo>
                    <a:lnTo>
                      <a:pt x="3746" y="1152"/>
                    </a:lnTo>
                    <a:lnTo>
                      <a:pt x="3745" y="1160"/>
                    </a:lnTo>
                    <a:lnTo>
                      <a:pt x="3744" y="1168"/>
                    </a:lnTo>
                    <a:lnTo>
                      <a:pt x="3743" y="1175"/>
                    </a:lnTo>
                    <a:lnTo>
                      <a:pt x="3737" y="1189"/>
                    </a:lnTo>
                    <a:lnTo>
                      <a:pt x="3732" y="1202"/>
                    </a:lnTo>
                    <a:lnTo>
                      <a:pt x="3726" y="1215"/>
                    </a:lnTo>
                    <a:lnTo>
                      <a:pt x="3720" y="1229"/>
                    </a:lnTo>
                    <a:lnTo>
                      <a:pt x="3715" y="1244"/>
                    </a:lnTo>
                    <a:lnTo>
                      <a:pt x="3712" y="1261"/>
                    </a:lnTo>
                    <a:lnTo>
                      <a:pt x="3704" y="1260"/>
                    </a:lnTo>
                    <a:lnTo>
                      <a:pt x="3696" y="1257"/>
                    </a:lnTo>
                    <a:lnTo>
                      <a:pt x="3689" y="1254"/>
                    </a:lnTo>
                    <a:lnTo>
                      <a:pt x="3682" y="1252"/>
                    </a:lnTo>
                    <a:lnTo>
                      <a:pt x="3671" y="1244"/>
                    </a:lnTo>
                    <a:lnTo>
                      <a:pt x="3660" y="1236"/>
                    </a:lnTo>
                    <a:lnTo>
                      <a:pt x="3651" y="1228"/>
                    </a:lnTo>
                    <a:lnTo>
                      <a:pt x="3641" y="1218"/>
                    </a:lnTo>
                    <a:lnTo>
                      <a:pt x="3635" y="1215"/>
                    </a:lnTo>
                    <a:lnTo>
                      <a:pt x="3628" y="1211"/>
                    </a:lnTo>
                    <a:lnTo>
                      <a:pt x="3622" y="1208"/>
                    </a:lnTo>
                    <a:lnTo>
                      <a:pt x="3614" y="1206"/>
                    </a:lnTo>
                    <a:lnTo>
                      <a:pt x="3614" y="1261"/>
                    </a:lnTo>
                    <a:lnTo>
                      <a:pt x="3618" y="1270"/>
                    </a:lnTo>
                    <a:lnTo>
                      <a:pt x="3621" y="1280"/>
                    </a:lnTo>
                    <a:lnTo>
                      <a:pt x="3623" y="1292"/>
                    </a:lnTo>
                    <a:lnTo>
                      <a:pt x="3625" y="1303"/>
                    </a:lnTo>
                    <a:lnTo>
                      <a:pt x="3627" y="1326"/>
                    </a:lnTo>
                    <a:lnTo>
                      <a:pt x="3628" y="1350"/>
                    </a:lnTo>
                    <a:lnTo>
                      <a:pt x="3628" y="1374"/>
                    </a:lnTo>
                    <a:lnTo>
                      <a:pt x="3629" y="1397"/>
                    </a:lnTo>
                    <a:lnTo>
                      <a:pt x="3630" y="1408"/>
                    </a:lnTo>
                    <a:lnTo>
                      <a:pt x="3632" y="1418"/>
                    </a:lnTo>
                    <a:lnTo>
                      <a:pt x="3633" y="1427"/>
                    </a:lnTo>
                    <a:lnTo>
                      <a:pt x="3635" y="1435"/>
                    </a:lnTo>
                    <a:lnTo>
                      <a:pt x="3637" y="1439"/>
                    </a:lnTo>
                    <a:lnTo>
                      <a:pt x="3641" y="1442"/>
                    </a:lnTo>
                    <a:lnTo>
                      <a:pt x="3644" y="1444"/>
                    </a:lnTo>
                    <a:lnTo>
                      <a:pt x="3649" y="1447"/>
                    </a:lnTo>
                    <a:lnTo>
                      <a:pt x="3660" y="1450"/>
                    </a:lnTo>
                    <a:lnTo>
                      <a:pt x="3673" y="1453"/>
                    </a:lnTo>
                    <a:lnTo>
                      <a:pt x="3684" y="1457"/>
                    </a:lnTo>
                    <a:lnTo>
                      <a:pt x="3695" y="1462"/>
                    </a:lnTo>
                    <a:lnTo>
                      <a:pt x="3699" y="1465"/>
                    </a:lnTo>
                    <a:lnTo>
                      <a:pt x="3703" y="1468"/>
                    </a:lnTo>
                    <a:lnTo>
                      <a:pt x="3704" y="1472"/>
                    </a:lnTo>
                    <a:lnTo>
                      <a:pt x="3705" y="1476"/>
                    </a:lnTo>
                    <a:lnTo>
                      <a:pt x="3704" y="1492"/>
                    </a:lnTo>
                    <a:lnTo>
                      <a:pt x="3701" y="1507"/>
                    </a:lnTo>
                    <a:lnTo>
                      <a:pt x="3697" y="1521"/>
                    </a:lnTo>
                    <a:lnTo>
                      <a:pt x="3690" y="1534"/>
                    </a:lnTo>
                    <a:lnTo>
                      <a:pt x="3687" y="1539"/>
                    </a:lnTo>
                    <a:lnTo>
                      <a:pt x="3682" y="1545"/>
                    </a:lnTo>
                    <a:lnTo>
                      <a:pt x="3677" y="1550"/>
                    </a:lnTo>
                    <a:lnTo>
                      <a:pt x="3673" y="1553"/>
                    </a:lnTo>
                    <a:lnTo>
                      <a:pt x="3667" y="1557"/>
                    </a:lnTo>
                    <a:lnTo>
                      <a:pt x="3661" y="1559"/>
                    </a:lnTo>
                    <a:lnTo>
                      <a:pt x="3656" y="1560"/>
                    </a:lnTo>
                    <a:lnTo>
                      <a:pt x="3649" y="1560"/>
                    </a:lnTo>
                    <a:lnTo>
                      <a:pt x="3638" y="1560"/>
                    </a:lnTo>
                    <a:lnTo>
                      <a:pt x="3629" y="1558"/>
                    </a:lnTo>
                    <a:lnTo>
                      <a:pt x="3619" y="1556"/>
                    </a:lnTo>
                    <a:lnTo>
                      <a:pt x="3610" y="1553"/>
                    </a:lnTo>
                    <a:lnTo>
                      <a:pt x="3591" y="1545"/>
                    </a:lnTo>
                    <a:lnTo>
                      <a:pt x="3573" y="1536"/>
                    </a:lnTo>
                    <a:lnTo>
                      <a:pt x="3555" y="1527"/>
                    </a:lnTo>
                    <a:lnTo>
                      <a:pt x="3535" y="1519"/>
                    </a:lnTo>
                    <a:lnTo>
                      <a:pt x="3526" y="1517"/>
                    </a:lnTo>
                    <a:lnTo>
                      <a:pt x="3517" y="1514"/>
                    </a:lnTo>
                    <a:lnTo>
                      <a:pt x="3507" y="1512"/>
                    </a:lnTo>
                    <a:lnTo>
                      <a:pt x="3496" y="1512"/>
                    </a:lnTo>
                    <a:lnTo>
                      <a:pt x="3488" y="1512"/>
                    </a:lnTo>
                    <a:lnTo>
                      <a:pt x="3481" y="1513"/>
                    </a:lnTo>
                    <a:lnTo>
                      <a:pt x="3474" y="1514"/>
                    </a:lnTo>
                    <a:lnTo>
                      <a:pt x="3469" y="1517"/>
                    </a:lnTo>
                    <a:lnTo>
                      <a:pt x="3463" y="1519"/>
                    </a:lnTo>
                    <a:lnTo>
                      <a:pt x="3458" y="1522"/>
                    </a:lnTo>
                    <a:lnTo>
                      <a:pt x="3453" y="1526"/>
                    </a:lnTo>
                    <a:lnTo>
                      <a:pt x="3449" y="1529"/>
                    </a:lnTo>
                    <a:lnTo>
                      <a:pt x="3442" y="1537"/>
                    </a:lnTo>
                    <a:lnTo>
                      <a:pt x="3438" y="1548"/>
                    </a:lnTo>
                    <a:lnTo>
                      <a:pt x="3434" y="1557"/>
                    </a:lnTo>
                    <a:lnTo>
                      <a:pt x="3433" y="1567"/>
                    </a:lnTo>
                    <a:lnTo>
                      <a:pt x="3434" y="1574"/>
                    </a:lnTo>
                    <a:lnTo>
                      <a:pt x="3435" y="1581"/>
                    </a:lnTo>
                    <a:lnTo>
                      <a:pt x="3437" y="1588"/>
                    </a:lnTo>
                    <a:lnTo>
                      <a:pt x="3439" y="1596"/>
                    </a:lnTo>
                    <a:lnTo>
                      <a:pt x="3445" y="1611"/>
                    </a:lnTo>
                    <a:lnTo>
                      <a:pt x="3453" y="1624"/>
                    </a:lnTo>
                    <a:lnTo>
                      <a:pt x="3461" y="1639"/>
                    </a:lnTo>
                    <a:lnTo>
                      <a:pt x="3469" y="1652"/>
                    </a:lnTo>
                    <a:lnTo>
                      <a:pt x="3476" y="1663"/>
                    </a:lnTo>
                    <a:lnTo>
                      <a:pt x="3482" y="1671"/>
                    </a:lnTo>
                    <a:lnTo>
                      <a:pt x="3460" y="1678"/>
                    </a:lnTo>
                    <a:lnTo>
                      <a:pt x="3437" y="1683"/>
                    </a:lnTo>
                    <a:lnTo>
                      <a:pt x="3415" y="1685"/>
                    </a:lnTo>
                    <a:lnTo>
                      <a:pt x="3395" y="1686"/>
                    </a:lnTo>
                    <a:lnTo>
                      <a:pt x="3376" y="1685"/>
                    </a:lnTo>
                    <a:lnTo>
                      <a:pt x="3359" y="1684"/>
                    </a:lnTo>
                    <a:lnTo>
                      <a:pt x="3343" y="1682"/>
                    </a:lnTo>
                    <a:lnTo>
                      <a:pt x="3329" y="1679"/>
                    </a:lnTo>
                    <a:lnTo>
                      <a:pt x="3335" y="1692"/>
                    </a:lnTo>
                    <a:lnTo>
                      <a:pt x="3343" y="1705"/>
                    </a:lnTo>
                    <a:lnTo>
                      <a:pt x="3351" y="1716"/>
                    </a:lnTo>
                    <a:lnTo>
                      <a:pt x="3360" y="1726"/>
                    </a:lnTo>
                    <a:lnTo>
                      <a:pt x="3370" y="1736"/>
                    </a:lnTo>
                    <a:lnTo>
                      <a:pt x="3382" y="1744"/>
                    </a:lnTo>
                    <a:lnTo>
                      <a:pt x="3393" y="1751"/>
                    </a:lnTo>
                    <a:lnTo>
                      <a:pt x="3405" y="1759"/>
                    </a:lnTo>
                    <a:lnTo>
                      <a:pt x="3429" y="1771"/>
                    </a:lnTo>
                    <a:lnTo>
                      <a:pt x="3454" y="1784"/>
                    </a:lnTo>
                    <a:lnTo>
                      <a:pt x="3465" y="1790"/>
                    </a:lnTo>
                    <a:lnTo>
                      <a:pt x="3476" y="1796"/>
                    </a:lnTo>
                    <a:lnTo>
                      <a:pt x="3486" y="1803"/>
                    </a:lnTo>
                    <a:lnTo>
                      <a:pt x="3496" y="1811"/>
                    </a:lnTo>
                    <a:lnTo>
                      <a:pt x="3493" y="1814"/>
                    </a:lnTo>
                    <a:lnTo>
                      <a:pt x="3488" y="1817"/>
                    </a:lnTo>
                    <a:lnTo>
                      <a:pt x="3484" y="1820"/>
                    </a:lnTo>
                    <a:lnTo>
                      <a:pt x="3478" y="1824"/>
                    </a:lnTo>
                    <a:lnTo>
                      <a:pt x="3472" y="1825"/>
                    </a:lnTo>
                    <a:lnTo>
                      <a:pt x="3465" y="1827"/>
                    </a:lnTo>
                    <a:lnTo>
                      <a:pt x="3460" y="1827"/>
                    </a:lnTo>
                    <a:lnTo>
                      <a:pt x="3454" y="1825"/>
                    </a:lnTo>
                    <a:lnTo>
                      <a:pt x="3455" y="1847"/>
                    </a:lnTo>
                    <a:lnTo>
                      <a:pt x="3455" y="1864"/>
                    </a:lnTo>
                    <a:lnTo>
                      <a:pt x="3456" y="1879"/>
                    </a:lnTo>
                    <a:lnTo>
                      <a:pt x="3457" y="1890"/>
                    </a:lnTo>
                    <a:lnTo>
                      <a:pt x="3457" y="1901"/>
                    </a:lnTo>
                    <a:lnTo>
                      <a:pt x="3457" y="1910"/>
                    </a:lnTo>
                    <a:lnTo>
                      <a:pt x="3456" y="1919"/>
                    </a:lnTo>
                    <a:lnTo>
                      <a:pt x="3454" y="1929"/>
                    </a:lnTo>
                    <a:lnTo>
                      <a:pt x="3426" y="1942"/>
                    </a:lnTo>
                    <a:lnTo>
                      <a:pt x="3398" y="1955"/>
                    </a:lnTo>
                    <a:lnTo>
                      <a:pt x="3383" y="1960"/>
                    </a:lnTo>
                    <a:lnTo>
                      <a:pt x="3369" y="1967"/>
                    </a:lnTo>
                    <a:lnTo>
                      <a:pt x="3354" y="1975"/>
                    </a:lnTo>
                    <a:lnTo>
                      <a:pt x="3341" y="1982"/>
                    </a:lnTo>
                    <a:lnTo>
                      <a:pt x="3329" y="1991"/>
                    </a:lnTo>
                    <a:lnTo>
                      <a:pt x="3317" y="2001"/>
                    </a:lnTo>
                    <a:lnTo>
                      <a:pt x="3307" y="2011"/>
                    </a:lnTo>
                    <a:lnTo>
                      <a:pt x="3298" y="2022"/>
                    </a:lnTo>
                    <a:lnTo>
                      <a:pt x="3290" y="2035"/>
                    </a:lnTo>
                    <a:lnTo>
                      <a:pt x="3285" y="2050"/>
                    </a:lnTo>
                    <a:lnTo>
                      <a:pt x="3283" y="2058"/>
                    </a:lnTo>
                    <a:lnTo>
                      <a:pt x="3282" y="2066"/>
                    </a:lnTo>
                    <a:lnTo>
                      <a:pt x="3281" y="2074"/>
                    </a:lnTo>
                    <a:lnTo>
                      <a:pt x="3281" y="2083"/>
                    </a:lnTo>
                    <a:lnTo>
                      <a:pt x="3281" y="2088"/>
                    </a:lnTo>
                    <a:lnTo>
                      <a:pt x="3282" y="2092"/>
                    </a:lnTo>
                    <a:lnTo>
                      <a:pt x="3284" y="2097"/>
                    </a:lnTo>
                    <a:lnTo>
                      <a:pt x="3286" y="2101"/>
                    </a:lnTo>
                    <a:lnTo>
                      <a:pt x="3293" y="2111"/>
                    </a:lnTo>
                    <a:lnTo>
                      <a:pt x="3300" y="2119"/>
                    </a:lnTo>
                    <a:lnTo>
                      <a:pt x="3307" y="2127"/>
                    </a:lnTo>
                    <a:lnTo>
                      <a:pt x="3313" y="2137"/>
                    </a:lnTo>
                    <a:lnTo>
                      <a:pt x="3314" y="2142"/>
                    </a:lnTo>
                    <a:lnTo>
                      <a:pt x="3315" y="2147"/>
                    </a:lnTo>
                    <a:lnTo>
                      <a:pt x="3316" y="2153"/>
                    </a:lnTo>
                    <a:lnTo>
                      <a:pt x="3315" y="2160"/>
                    </a:lnTo>
                    <a:lnTo>
                      <a:pt x="3314" y="2174"/>
                    </a:lnTo>
                    <a:lnTo>
                      <a:pt x="3312" y="2186"/>
                    </a:lnTo>
                    <a:lnTo>
                      <a:pt x="3307" y="2198"/>
                    </a:lnTo>
                    <a:lnTo>
                      <a:pt x="3302" y="2209"/>
                    </a:lnTo>
                    <a:lnTo>
                      <a:pt x="3289" y="2231"/>
                    </a:lnTo>
                    <a:lnTo>
                      <a:pt x="3274" y="2252"/>
                    </a:lnTo>
                    <a:lnTo>
                      <a:pt x="3266" y="2262"/>
                    </a:lnTo>
                    <a:lnTo>
                      <a:pt x="3258" y="2273"/>
                    </a:lnTo>
                    <a:lnTo>
                      <a:pt x="3251" y="2285"/>
                    </a:lnTo>
                    <a:lnTo>
                      <a:pt x="3244" y="2296"/>
                    </a:lnTo>
                    <a:lnTo>
                      <a:pt x="3239" y="2309"/>
                    </a:lnTo>
                    <a:lnTo>
                      <a:pt x="3235" y="2323"/>
                    </a:lnTo>
                    <a:lnTo>
                      <a:pt x="3233" y="2338"/>
                    </a:lnTo>
                    <a:lnTo>
                      <a:pt x="3231" y="2355"/>
                    </a:lnTo>
                    <a:lnTo>
                      <a:pt x="3231" y="2361"/>
                    </a:lnTo>
                    <a:lnTo>
                      <a:pt x="3233" y="2366"/>
                    </a:lnTo>
                    <a:lnTo>
                      <a:pt x="3235" y="2372"/>
                    </a:lnTo>
                    <a:lnTo>
                      <a:pt x="3237" y="2377"/>
                    </a:lnTo>
                    <a:lnTo>
                      <a:pt x="3241" y="2381"/>
                    </a:lnTo>
                    <a:lnTo>
                      <a:pt x="3244" y="2385"/>
                    </a:lnTo>
                    <a:lnTo>
                      <a:pt x="3247" y="2388"/>
                    </a:lnTo>
                    <a:lnTo>
                      <a:pt x="3252" y="2392"/>
                    </a:lnTo>
                    <a:lnTo>
                      <a:pt x="3260" y="2397"/>
                    </a:lnTo>
                    <a:lnTo>
                      <a:pt x="3269" y="2401"/>
                    </a:lnTo>
                    <a:lnTo>
                      <a:pt x="3278" y="2403"/>
                    </a:lnTo>
                    <a:lnTo>
                      <a:pt x="3288" y="2403"/>
                    </a:lnTo>
                    <a:lnTo>
                      <a:pt x="3297" y="2402"/>
                    </a:lnTo>
                    <a:lnTo>
                      <a:pt x="3305" y="2400"/>
                    </a:lnTo>
                    <a:lnTo>
                      <a:pt x="3314" y="2396"/>
                    </a:lnTo>
                    <a:lnTo>
                      <a:pt x="3322" y="2392"/>
                    </a:lnTo>
                    <a:lnTo>
                      <a:pt x="3339" y="2379"/>
                    </a:lnTo>
                    <a:lnTo>
                      <a:pt x="3356" y="2365"/>
                    </a:lnTo>
                    <a:lnTo>
                      <a:pt x="3364" y="2360"/>
                    </a:lnTo>
                    <a:lnTo>
                      <a:pt x="3375" y="2353"/>
                    </a:lnTo>
                    <a:lnTo>
                      <a:pt x="3384" y="2347"/>
                    </a:lnTo>
                    <a:lnTo>
                      <a:pt x="3394" y="2341"/>
                    </a:lnTo>
                    <a:lnTo>
                      <a:pt x="3405" y="2338"/>
                    </a:lnTo>
                    <a:lnTo>
                      <a:pt x="3416" y="2334"/>
                    </a:lnTo>
                    <a:lnTo>
                      <a:pt x="3427" y="2333"/>
                    </a:lnTo>
                    <a:lnTo>
                      <a:pt x="3440" y="2333"/>
                    </a:lnTo>
                    <a:lnTo>
                      <a:pt x="3450" y="2334"/>
                    </a:lnTo>
                    <a:lnTo>
                      <a:pt x="3460" y="2334"/>
                    </a:lnTo>
                    <a:lnTo>
                      <a:pt x="3469" y="2337"/>
                    </a:lnTo>
                    <a:lnTo>
                      <a:pt x="3477" y="2339"/>
                    </a:lnTo>
                    <a:lnTo>
                      <a:pt x="3485" y="2341"/>
                    </a:lnTo>
                    <a:lnTo>
                      <a:pt x="3492" y="2345"/>
                    </a:lnTo>
                    <a:lnTo>
                      <a:pt x="3497" y="2349"/>
                    </a:lnTo>
                    <a:lnTo>
                      <a:pt x="3503" y="2354"/>
                    </a:lnTo>
                    <a:lnTo>
                      <a:pt x="3508" y="2358"/>
                    </a:lnTo>
                    <a:lnTo>
                      <a:pt x="3512" y="2364"/>
                    </a:lnTo>
                    <a:lnTo>
                      <a:pt x="3516" y="2371"/>
                    </a:lnTo>
                    <a:lnTo>
                      <a:pt x="3519" y="2378"/>
                    </a:lnTo>
                    <a:lnTo>
                      <a:pt x="3521" y="2385"/>
                    </a:lnTo>
                    <a:lnTo>
                      <a:pt x="3523" y="2393"/>
                    </a:lnTo>
                    <a:lnTo>
                      <a:pt x="3524" y="2401"/>
                    </a:lnTo>
                    <a:lnTo>
                      <a:pt x="3524" y="2410"/>
                    </a:lnTo>
                    <a:lnTo>
                      <a:pt x="3524" y="2416"/>
                    </a:lnTo>
                    <a:lnTo>
                      <a:pt x="3521" y="2420"/>
                    </a:lnTo>
                    <a:lnTo>
                      <a:pt x="3518" y="2424"/>
                    </a:lnTo>
                    <a:lnTo>
                      <a:pt x="3515" y="2428"/>
                    </a:lnTo>
                    <a:lnTo>
                      <a:pt x="3504" y="2436"/>
                    </a:lnTo>
                    <a:lnTo>
                      <a:pt x="3492" y="2444"/>
                    </a:lnTo>
                    <a:lnTo>
                      <a:pt x="3479" y="2454"/>
                    </a:lnTo>
                    <a:lnTo>
                      <a:pt x="3468" y="2464"/>
                    </a:lnTo>
                    <a:lnTo>
                      <a:pt x="3463" y="2471"/>
                    </a:lnTo>
                    <a:lnTo>
                      <a:pt x="3460" y="2478"/>
                    </a:lnTo>
                    <a:lnTo>
                      <a:pt x="3456" y="2485"/>
                    </a:lnTo>
                    <a:lnTo>
                      <a:pt x="3454" y="2494"/>
                    </a:lnTo>
                    <a:lnTo>
                      <a:pt x="3455" y="2503"/>
                    </a:lnTo>
                    <a:lnTo>
                      <a:pt x="3456" y="2512"/>
                    </a:lnTo>
                    <a:lnTo>
                      <a:pt x="3458" y="2521"/>
                    </a:lnTo>
                    <a:lnTo>
                      <a:pt x="3461" y="2530"/>
                    </a:lnTo>
                    <a:lnTo>
                      <a:pt x="3468" y="2549"/>
                    </a:lnTo>
                    <a:lnTo>
                      <a:pt x="3474" y="2568"/>
                    </a:lnTo>
                    <a:lnTo>
                      <a:pt x="3481" y="2589"/>
                    </a:lnTo>
                    <a:lnTo>
                      <a:pt x="3487" y="2610"/>
                    </a:lnTo>
                    <a:lnTo>
                      <a:pt x="3488" y="2620"/>
                    </a:lnTo>
                    <a:lnTo>
                      <a:pt x="3489" y="2631"/>
                    </a:lnTo>
                    <a:lnTo>
                      <a:pt x="3489" y="2643"/>
                    </a:lnTo>
                    <a:lnTo>
                      <a:pt x="3489" y="2654"/>
                    </a:lnTo>
                    <a:lnTo>
                      <a:pt x="3484" y="2676"/>
                    </a:lnTo>
                    <a:lnTo>
                      <a:pt x="3476" y="2699"/>
                    </a:lnTo>
                    <a:lnTo>
                      <a:pt x="3468" y="2722"/>
                    </a:lnTo>
                    <a:lnTo>
                      <a:pt x="3457" y="2747"/>
                    </a:lnTo>
                    <a:lnTo>
                      <a:pt x="3446" y="2771"/>
                    </a:lnTo>
                    <a:lnTo>
                      <a:pt x="3433" y="2795"/>
                    </a:lnTo>
                    <a:lnTo>
                      <a:pt x="3418" y="2819"/>
                    </a:lnTo>
                    <a:lnTo>
                      <a:pt x="3402" y="2842"/>
                    </a:lnTo>
                    <a:lnTo>
                      <a:pt x="3393" y="2853"/>
                    </a:lnTo>
                    <a:lnTo>
                      <a:pt x="3384" y="2863"/>
                    </a:lnTo>
                    <a:lnTo>
                      <a:pt x="3375" y="2873"/>
                    </a:lnTo>
                    <a:lnTo>
                      <a:pt x="3364" y="2884"/>
                    </a:lnTo>
                    <a:lnTo>
                      <a:pt x="3354" y="2893"/>
                    </a:lnTo>
                    <a:lnTo>
                      <a:pt x="3344" y="2901"/>
                    </a:lnTo>
                    <a:lnTo>
                      <a:pt x="3332" y="2909"/>
                    </a:lnTo>
                    <a:lnTo>
                      <a:pt x="3321" y="2917"/>
                    </a:lnTo>
                    <a:lnTo>
                      <a:pt x="3308" y="2923"/>
                    </a:lnTo>
                    <a:lnTo>
                      <a:pt x="3296" y="2930"/>
                    </a:lnTo>
                    <a:lnTo>
                      <a:pt x="3283" y="2934"/>
                    </a:lnTo>
                    <a:lnTo>
                      <a:pt x="3269" y="2939"/>
                    </a:lnTo>
                    <a:lnTo>
                      <a:pt x="3255" y="2942"/>
                    </a:lnTo>
                    <a:lnTo>
                      <a:pt x="3241" y="2944"/>
                    </a:lnTo>
                    <a:lnTo>
                      <a:pt x="3226" y="2946"/>
                    </a:lnTo>
                    <a:lnTo>
                      <a:pt x="3211" y="2947"/>
                    </a:lnTo>
                    <a:lnTo>
                      <a:pt x="3190" y="2943"/>
                    </a:lnTo>
                    <a:lnTo>
                      <a:pt x="3172" y="2939"/>
                    </a:lnTo>
                    <a:lnTo>
                      <a:pt x="3156" y="2934"/>
                    </a:lnTo>
                    <a:lnTo>
                      <a:pt x="3140" y="2930"/>
                    </a:lnTo>
                    <a:lnTo>
                      <a:pt x="3124" y="2924"/>
                    </a:lnTo>
                    <a:lnTo>
                      <a:pt x="3109" y="2919"/>
                    </a:lnTo>
                    <a:lnTo>
                      <a:pt x="3094" y="2915"/>
                    </a:lnTo>
                    <a:lnTo>
                      <a:pt x="3079" y="2911"/>
                    </a:lnTo>
                    <a:lnTo>
                      <a:pt x="3072" y="2912"/>
                    </a:lnTo>
                    <a:lnTo>
                      <a:pt x="3065" y="2913"/>
                    </a:lnTo>
                    <a:lnTo>
                      <a:pt x="3059" y="2915"/>
                    </a:lnTo>
                    <a:lnTo>
                      <a:pt x="3054" y="2918"/>
                    </a:lnTo>
                    <a:lnTo>
                      <a:pt x="3048" y="2920"/>
                    </a:lnTo>
                    <a:lnTo>
                      <a:pt x="3043" y="2925"/>
                    </a:lnTo>
                    <a:lnTo>
                      <a:pt x="3039" y="2928"/>
                    </a:lnTo>
                    <a:lnTo>
                      <a:pt x="3034" y="2933"/>
                    </a:lnTo>
                    <a:lnTo>
                      <a:pt x="3026" y="2944"/>
                    </a:lnTo>
                    <a:lnTo>
                      <a:pt x="3020" y="2956"/>
                    </a:lnTo>
                    <a:lnTo>
                      <a:pt x="3018" y="2962"/>
                    </a:lnTo>
                    <a:lnTo>
                      <a:pt x="3017" y="2969"/>
                    </a:lnTo>
                    <a:lnTo>
                      <a:pt x="3016" y="2974"/>
                    </a:lnTo>
                    <a:lnTo>
                      <a:pt x="3016" y="2981"/>
                    </a:lnTo>
                    <a:lnTo>
                      <a:pt x="3017" y="3001"/>
                    </a:lnTo>
                    <a:lnTo>
                      <a:pt x="3019" y="3025"/>
                    </a:lnTo>
                    <a:lnTo>
                      <a:pt x="3023" y="3052"/>
                    </a:lnTo>
                    <a:lnTo>
                      <a:pt x="3026" y="3082"/>
                    </a:lnTo>
                    <a:lnTo>
                      <a:pt x="3028" y="3112"/>
                    </a:lnTo>
                    <a:lnTo>
                      <a:pt x="3027" y="3139"/>
                    </a:lnTo>
                    <a:lnTo>
                      <a:pt x="3026" y="3153"/>
                    </a:lnTo>
                    <a:lnTo>
                      <a:pt x="3024" y="3165"/>
                    </a:lnTo>
                    <a:lnTo>
                      <a:pt x="3020" y="3175"/>
                    </a:lnTo>
                    <a:lnTo>
                      <a:pt x="3016" y="3183"/>
                    </a:lnTo>
                    <a:lnTo>
                      <a:pt x="3003" y="3193"/>
                    </a:lnTo>
                    <a:lnTo>
                      <a:pt x="2987" y="3204"/>
                    </a:lnTo>
                    <a:lnTo>
                      <a:pt x="2970" y="3213"/>
                    </a:lnTo>
                    <a:lnTo>
                      <a:pt x="2952" y="3222"/>
                    </a:lnTo>
                    <a:lnTo>
                      <a:pt x="2933" y="3231"/>
                    </a:lnTo>
                    <a:lnTo>
                      <a:pt x="2917" y="3240"/>
                    </a:lnTo>
                    <a:lnTo>
                      <a:pt x="2912" y="3245"/>
                    </a:lnTo>
                    <a:lnTo>
                      <a:pt x="2906" y="3249"/>
                    </a:lnTo>
                    <a:lnTo>
                      <a:pt x="2900" y="3255"/>
                    </a:lnTo>
                    <a:lnTo>
                      <a:pt x="2898" y="3260"/>
                    </a:lnTo>
                    <a:lnTo>
                      <a:pt x="2890" y="3283"/>
                    </a:lnTo>
                    <a:lnTo>
                      <a:pt x="2884" y="3302"/>
                    </a:lnTo>
                    <a:lnTo>
                      <a:pt x="2881" y="3311"/>
                    </a:lnTo>
                    <a:lnTo>
                      <a:pt x="2877" y="3321"/>
                    </a:lnTo>
                    <a:lnTo>
                      <a:pt x="2874" y="3329"/>
                    </a:lnTo>
                    <a:lnTo>
                      <a:pt x="2869" y="3336"/>
                    </a:lnTo>
                    <a:lnTo>
                      <a:pt x="2864" y="3342"/>
                    </a:lnTo>
                    <a:lnTo>
                      <a:pt x="2859" y="3348"/>
                    </a:lnTo>
                    <a:lnTo>
                      <a:pt x="2852" y="3353"/>
                    </a:lnTo>
                    <a:lnTo>
                      <a:pt x="2844" y="3357"/>
                    </a:lnTo>
                    <a:lnTo>
                      <a:pt x="2836" y="3360"/>
                    </a:lnTo>
                    <a:lnTo>
                      <a:pt x="2826" y="3362"/>
                    </a:lnTo>
                    <a:lnTo>
                      <a:pt x="2813" y="3364"/>
                    </a:lnTo>
                    <a:lnTo>
                      <a:pt x="2800" y="3364"/>
                    </a:lnTo>
                    <a:lnTo>
                      <a:pt x="2784" y="3364"/>
                    </a:lnTo>
                    <a:lnTo>
                      <a:pt x="2769" y="3362"/>
                    </a:lnTo>
                    <a:lnTo>
                      <a:pt x="2754" y="3360"/>
                    </a:lnTo>
                    <a:lnTo>
                      <a:pt x="2740" y="3356"/>
                    </a:lnTo>
                    <a:lnTo>
                      <a:pt x="2725" y="3352"/>
                    </a:lnTo>
                    <a:lnTo>
                      <a:pt x="2709" y="3347"/>
                    </a:lnTo>
                    <a:lnTo>
                      <a:pt x="2693" y="3341"/>
                    </a:lnTo>
                    <a:lnTo>
                      <a:pt x="2674" y="3337"/>
                    </a:lnTo>
                    <a:lnTo>
                      <a:pt x="2671" y="3345"/>
                    </a:lnTo>
                    <a:lnTo>
                      <a:pt x="2666" y="3355"/>
                    </a:lnTo>
                    <a:lnTo>
                      <a:pt x="2660" y="3365"/>
                    </a:lnTo>
                    <a:lnTo>
                      <a:pt x="2655" y="3377"/>
                    </a:lnTo>
                    <a:lnTo>
                      <a:pt x="2649" y="3388"/>
                    </a:lnTo>
                    <a:lnTo>
                      <a:pt x="2644" y="3401"/>
                    </a:lnTo>
                    <a:lnTo>
                      <a:pt x="2641" y="3413"/>
                    </a:lnTo>
                    <a:lnTo>
                      <a:pt x="2640" y="3427"/>
                    </a:lnTo>
                    <a:lnTo>
                      <a:pt x="2640" y="3436"/>
                    </a:lnTo>
                    <a:lnTo>
                      <a:pt x="2641" y="3444"/>
                    </a:lnTo>
                    <a:lnTo>
                      <a:pt x="2643" y="3452"/>
                    </a:lnTo>
                    <a:lnTo>
                      <a:pt x="2646" y="3459"/>
                    </a:lnTo>
                    <a:lnTo>
                      <a:pt x="2651" y="3473"/>
                    </a:lnTo>
                    <a:lnTo>
                      <a:pt x="2657" y="3487"/>
                    </a:lnTo>
                    <a:lnTo>
                      <a:pt x="2664" y="3501"/>
                    </a:lnTo>
                    <a:lnTo>
                      <a:pt x="2670" y="3516"/>
                    </a:lnTo>
                    <a:lnTo>
                      <a:pt x="2671" y="3525"/>
                    </a:lnTo>
                    <a:lnTo>
                      <a:pt x="2673" y="3533"/>
                    </a:lnTo>
                    <a:lnTo>
                      <a:pt x="2674" y="3542"/>
                    </a:lnTo>
                    <a:lnTo>
                      <a:pt x="2674" y="3552"/>
                    </a:lnTo>
                    <a:lnTo>
                      <a:pt x="2674" y="3563"/>
                    </a:lnTo>
                    <a:lnTo>
                      <a:pt x="2673" y="3573"/>
                    </a:lnTo>
                    <a:lnTo>
                      <a:pt x="2671" y="3584"/>
                    </a:lnTo>
                    <a:lnTo>
                      <a:pt x="2668" y="3595"/>
                    </a:lnTo>
                    <a:lnTo>
                      <a:pt x="2664" y="3604"/>
                    </a:lnTo>
                    <a:lnTo>
                      <a:pt x="2659" y="3614"/>
                    </a:lnTo>
                    <a:lnTo>
                      <a:pt x="2655" y="3623"/>
                    </a:lnTo>
                    <a:lnTo>
                      <a:pt x="2648" y="3631"/>
                    </a:lnTo>
                    <a:lnTo>
                      <a:pt x="2641" y="3639"/>
                    </a:lnTo>
                    <a:lnTo>
                      <a:pt x="2634" y="3646"/>
                    </a:lnTo>
                    <a:lnTo>
                      <a:pt x="2625" y="3652"/>
                    </a:lnTo>
                    <a:lnTo>
                      <a:pt x="2616" y="3657"/>
                    </a:lnTo>
                    <a:lnTo>
                      <a:pt x="2605" y="3661"/>
                    </a:lnTo>
                    <a:lnTo>
                      <a:pt x="2595" y="3664"/>
                    </a:lnTo>
                    <a:lnTo>
                      <a:pt x="2582" y="3665"/>
                    </a:lnTo>
                    <a:lnTo>
                      <a:pt x="2570" y="3664"/>
                    </a:lnTo>
                    <a:lnTo>
                      <a:pt x="2555" y="3664"/>
                    </a:lnTo>
                    <a:lnTo>
                      <a:pt x="2541" y="3661"/>
                    </a:lnTo>
                    <a:lnTo>
                      <a:pt x="2531" y="3658"/>
                    </a:lnTo>
                    <a:lnTo>
                      <a:pt x="2522" y="3652"/>
                    </a:lnTo>
                    <a:lnTo>
                      <a:pt x="2514" y="3647"/>
                    </a:lnTo>
                    <a:lnTo>
                      <a:pt x="2508" y="3641"/>
                    </a:lnTo>
                    <a:lnTo>
                      <a:pt x="2503" y="3634"/>
                    </a:lnTo>
                    <a:lnTo>
                      <a:pt x="2500" y="3627"/>
                    </a:lnTo>
                    <a:lnTo>
                      <a:pt x="2493" y="3611"/>
                    </a:lnTo>
                    <a:lnTo>
                      <a:pt x="2487" y="3596"/>
                    </a:lnTo>
                    <a:lnTo>
                      <a:pt x="2483" y="3589"/>
                    </a:lnTo>
                    <a:lnTo>
                      <a:pt x="2478" y="3583"/>
                    </a:lnTo>
                    <a:lnTo>
                      <a:pt x="2472" y="3577"/>
                    </a:lnTo>
                    <a:lnTo>
                      <a:pt x="2466" y="3573"/>
                    </a:lnTo>
                    <a:lnTo>
                      <a:pt x="2459" y="3569"/>
                    </a:lnTo>
                    <a:lnTo>
                      <a:pt x="2451" y="3566"/>
                    </a:lnTo>
                    <a:lnTo>
                      <a:pt x="2440" y="3563"/>
                    </a:lnTo>
                    <a:lnTo>
                      <a:pt x="2431" y="3560"/>
                    </a:lnTo>
                    <a:lnTo>
                      <a:pt x="2408" y="3556"/>
                    </a:lnTo>
                    <a:lnTo>
                      <a:pt x="2384" y="3551"/>
                    </a:lnTo>
                    <a:lnTo>
                      <a:pt x="2359" y="3549"/>
                    </a:lnTo>
                    <a:lnTo>
                      <a:pt x="2335" y="3547"/>
                    </a:lnTo>
                    <a:lnTo>
                      <a:pt x="2312" y="3545"/>
                    </a:lnTo>
                    <a:lnTo>
                      <a:pt x="2291" y="3545"/>
                    </a:lnTo>
                    <a:lnTo>
                      <a:pt x="2284" y="3545"/>
                    </a:lnTo>
                    <a:lnTo>
                      <a:pt x="2276" y="3547"/>
                    </a:lnTo>
                    <a:lnTo>
                      <a:pt x="2269" y="3548"/>
                    </a:lnTo>
                    <a:lnTo>
                      <a:pt x="2263" y="3550"/>
                    </a:lnTo>
                    <a:lnTo>
                      <a:pt x="2250" y="3555"/>
                    </a:lnTo>
                    <a:lnTo>
                      <a:pt x="2240" y="3561"/>
                    </a:lnTo>
                    <a:lnTo>
                      <a:pt x="2228" y="3569"/>
                    </a:lnTo>
                    <a:lnTo>
                      <a:pt x="2219" y="3579"/>
                    </a:lnTo>
                    <a:lnTo>
                      <a:pt x="2210" y="3588"/>
                    </a:lnTo>
                    <a:lnTo>
                      <a:pt x="2201" y="3598"/>
                    </a:lnTo>
                    <a:lnTo>
                      <a:pt x="2185" y="3616"/>
                    </a:lnTo>
                    <a:lnTo>
                      <a:pt x="2169" y="3634"/>
                    </a:lnTo>
                    <a:lnTo>
                      <a:pt x="2159" y="3641"/>
                    </a:lnTo>
                    <a:lnTo>
                      <a:pt x="2151" y="3645"/>
                    </a:lnTo>
                    <a:lnTo>
                      <a:pt x="2141" y="3649"/>
                    </a:lnTo>
                    <a:lnTo>
                      <a:pt x="2132" y="3650"/>
                    </a:lnTo>
                    <a:lnTo>
                      <a:pt x="2125" y="3649"/>
                    </a:lnTo>
                    <a:lnTo>
                      <a:pt x="2119" y="3647"/>
                    </a:lnTo>
                    <a:lnTo>
                      <a:pt x="2114" y="3644"/>
                    </a:lnTo>
                    <a:lnTo>
                      <a:pt x="2109" y="3639"/>
                    </a:lnTo>
                    <a:lnTo>
                      <a:pt x="2099" y="3628"/>
                    </a:lnTo>
                    <a:lnTo>
                      <a:pt x="2089" y="3615"/>
                    </a:lnTo>
                    <a:lnTo>
                      <a:pt x="2080" y="3603"/>
                    </a:lnTo>
                    <a:lnTo>
                      <a:pt x="2071" y="3591"/>
                    </a:lnTo>
                    <a:lnTo>
                      <a:pt x="2065" y="3587"/>
                    </a:lnTo>
                    <a:lnTo>
                      <a:pt x="2060" y="3583"/>
                    </a:lnTo>
                    <a:lnTo>
                      <a:pt x="2054" y="3581"/>
                    </a:lnTo>
                    <a:lnTo>
                      <a:pt x="2048" y="3580"/>
                    </a:lnTo>
                    <a:lnTo>
                      <a:pt x="2033" y="3581"/>
                    </a:lnTo>
                    <a:lnTo>
                      <a:pt x="2016" y="3586"/>
                    </a:lnTo>
                    <a:lnTo>
                      <a:pt x="2000" y="3591"/>
                    </a:lnTo>
                    <a:lnTo>
                      <a:pt x="1982" y="3598"/>
                    </a:lnTo>
                    <a:lnTo>
                      <a:pt x="1963" y="3607"/>
                    </a:lnTo>
                    <a:lnTo>
                      <a:pt x="1946" y="3619"/>
                    </a:lnTo>
                    <a:lnTo>
                      <a:pt x="1928" y="3630"/>
                    </a:lnTo>
                    <a:lnTo>
                      <a:pt x="1912" y="3643"/>
                    </a:lnTo>
                    <a:lnTo>
                      <a:pt x="1895" y="3657"/>
                    </a:lnTo>
                    <a:lnTo>
                      <a:pt x="1880" y="3670"/>
                    </a:lnTo>
                    <a:lnTo>
                      <a:pt x="1867" y="3684"/>
                    </a:lnTo>
                    <a:lnTo>
                      <a:pt x="1854" y="3698"/>
                    </a:lnTo>
                    <a:lnTo>
                      <a:pt x="1845" y="3712"/>
                    </a:lnTo>
                    <a:lnTo>
                      <a:pt x="1838" y="3724"/>
                    </a:lnTo>
                    <a:lnTo>
                      <a:pt x="1835" y="3730"/>
                    </a:lnTo>
                    <a:lnTo>
                      <a:pt x="1834" y="3737"/>
                    </a:lnTo>
                    <a:lnTo>
                      <a:pt x="1833" y="3741"/>
                    </a:lnTo>
                    <a:lnTo>
                      <a:pt x="1831" y="3747"/>
                    </a:lnTo>
                    <a:lnTo>
                      <a:pt x="1833" y="3752"/>
                    </a:lnTo>
                    <a:lnTo>
                      <a:pt x="1833" y="3756"/>
                    </a:lnTo>
                    <a:lnTo>
                      <a:pt x="1835" y="3760"/>
                    </a:lnTo>
                    <a:lnTo>
                      <a:pt x="1836" y="3763"/>
                    </a:lnTo>
                    <a:lnTo>
                      <a:pt x="1842" y="3769"/>
                    </a:lnTo>
                    <a:lnTo>
                      <a:pt x="1849" y="3775"/>
                    </a:lnTo>
                    <a:lnTo>
                      <a:pt x="1865" y="3784"/>
                    </a:lnTo>
                    <a:lnTo>
                      <a:pt x="1884" y="3793"/>
                    </a:lnTo>
                    <a:lnTo>
                      <a:pt x="1893" y="3799"/>
                    </a:lnTo>
                    <a:lnTo>
                      <a:pt x="1904" y="3805"/>
                    </a:lnTo>
                    <a:lnTo>
                      <a:pt x="1912" y="3811"/>
                    </a:lnTo>
                    <a:lnTo>
                      <a:pt x="1920" y="3818"/>
                    </a:lnTo>
                    <a:lnTo>
                      <a:pt x="1927" y="3828"/>
                    </a:lnTo>
                    <a:lnTo>
                      <a:pt x="1932" y="3839"/>
                    </a:lnTo>
                    <a:lnTo>
                      <a:pt x="1934" y="3845"/>
                    </a:lnTo>
                    <a:lnTo>
                      <a:pt x="1936" y="3852"/>
                    </a:lnTo>
                    <a:lnTo>
                      <a:pt x="1936" y="3858"/>
                    </a:lnTo>
                    <a:lnTo>
                      <a:pt x="1937" y="3865"/>
                    </a:lnTo>
                    <a:lnTo>
                      <a:pt x="1935" y="3884"/>
                    </a:lnTo>
                    <a:lnTo>
                      <a:pt x="1932" y="3900"/>
                    </a:lnTo>
                    <a:lnTo>
                      <a:pt x="1928" y="3916"/>
                    </a:lnTo>
                    <a:lnTo>
                      <a:pt x="1922" y="3932"/>
                    </a:lnTo>
                    <a:lnTo>
                      <a:pt x="1915" y="3948"/>
                    </a:lnTo>
                    <a:lnTo>
                      <a:pt x="1909" y="3964"/>
                    </a:lnTo>
                    <a:lnTo>
                      <a:pt x="1905" y="3980"/>
                    </a:lnTo>
                    <a:lnTo>
                      <a:pt x="1901" y="3998"/>
                    </a:lnTo>
                    <a:lnTo>
                      <a:pt x="1903" y="4032"/>
                    </a:lnTo>
                    <a:lnTo>
                      <a:pt x="1905" y="4063"/>
                    </a:lnTo>
                    <a:lnTo>
                      <a:pt x="1909" y="4092"/>
                    </a:lnTo>
                    <a:lnTo>
                      <a:pt x="1915" y="4121"/>
                    </a:lnTo>
                    <a:lnTo>
                      <a:pt x="1922" y="4149"/>
                    </a:lnTo>
                    <a:lnTo>
                      <a:pt x="1931" y="4175"/>
                    </a:lnTo>
                    <a:lnTo>
                      <a:pt x="1942" y="4199"/>
                    </a:lnTo>
                    <a:lnTo>
                      <a:pt x="1953" y="4223"/>
                    </a:lnTo>
                    <a:lnTo>
                      <a:pt x="1966" y="4245"/>
                    </a:lnTo>
                    <a:lnTo>
                      <a:pt x="1979" y="4267"/>
                    </a:lnTo>
                    <a:lnTo>
                      <a:pt x="1994" y="4286"/>
                    </a:lnTo>
                    <a:lnTo>
                      <a:pt x="2010" y="4306"/>
                    </a:lnTo>
                    <a:lnTo>
                      <a:pt x="2028" y="4324"/>
                    </a:lnTo>
                    <a:lnTo>
                      <a:pt x="2045" y="4341"/>
                    </a:lnTo>
                    <a:lnTo>
                      <a:pt x="2063" y="4359"/>
                    </a:lnTo>
                    <a:lnTo>
                      <a:pt x="2083" y="4375"/>
                    </a:lnTo>
                    <a:lnTo>
                      <a:pt x="2075" y="4384"/>
                    </a:lnTo>
                    <a:lnTo>
                      <a:pt x="2065" y="4392"/>
                    </a:lnTo>
                    <a:lnTo>
                      <a:pt x="2056" y="4399"/>
                    </a:lnTo>
                    <a:lnTo>
                      <a:pt x="2047" y="4406"/>
                    </a:lnTo>
                    <a:lnTo>
                      <a:pt x="2039" y="4412"/>
                    </a:lnTo>
                    <a:lnTo>
                      <a:pt x="2033" y="4419"/>
                    </a:lnTo>
                    <a:lnTo>
                      <a:pt x="2030" y="4423"/>
                    </a:lnTo>
                    <a:lnTo>
                      <a:pt x="2029" y="4427"/>
                    </a:lnTo>
                    <a:lnTo>
                      <a:pt x="2028" y="4432"/>
                    </a:lnTo>
                    <a:lnTo>
                      <a:pt x="2026" y="4437"/>
                    </a:lnTo>
                    <a:lnTo>
                      <a:pt x="2028" y="4445"/>
                    </a:lnTo>
                    <a:lnTo>
                      <a:pt x="2029" y="4451"/>
                    </a:lnTo>
                    <a:lnTo>
                      <a:pt x="2031" y="4457"/>
                    </a:lnTo>
                    <a:lnTo>
                      <a:pt x="2034" y="4463"/>
                    </a:lnTo>
                    <a:lnTo>
                      <a:pt x="2042" y="4473"/>
                    </a:lnTo>
                    <a:lnTo>
                      <a:pt x="2052" y="4484"/>
                    </a:lnTo>
                    <a:lnTo>
                      <a:pt x="2061" y="4493"/>
                    </a:lnTo>
                    <a:lnTo>
                      <a:pt x="2068" y="4504"/>
                    </a:lnTo>
                    <a:lnTo>
                      <a:pt x="2071" y="4511"/>
                    </a:lnTo>
                    <a:lnTo>
                      <a:pt x="2073" y="4518"/>
                    </a:lnTo>
                    <a:lnTo>
                      <a:pt x="2076" y="4526"/>
                    </a:lnTo>
                    <a:lnTo>
                      <a:pt x="2076" y="4534"/>
                    </a:lnTo>
                    <a:lnTo>
                      <a:pt x="2075" y="4544"/>
                    </a:lnTo>
                    <a:lnTo>
                      <a:pt x="2073" y="4553"/>
                    </a:lnTo>
                    <a:lnTo>
                      <a:pt x="2071" y="4563"/>
                    </a:lnTo>
                    <a:lnTo>
                      <a:pt x="2067" y="4571"/>
                    </a:lnTo>
                    <a:lnTo>
                      <a:pt x="2058" y="4584"/>
                    </a:lnTo>
                    <a:lnTo>
                      <a:pt x="2048" y="4598"/>
                    </a:lnTo>
                    <a:lnTo>
                      <a:pt x="2038" y="4610"/>
                    </a:lnTo>
                    <a:lnTo>
                      <a:pt x="2029" y="4621"/>
                    </a:lnTo>
                    <a:lnTo>
                      <a:pt x="2025" y="4627"/>
                    </a:lnTo>
                    <a:lnTo>
                      <a:pt x="2022" y="4634"/>
                    </a:lnTo>
                    <a:lnTo>
                      <a:pt x="2021" y="4640"/>
                    </a:lnTo>
                    <a:lnTo>
                      <a:pt x="2020" y="4646"/>
                    </a:lnTo>
                    <a:lnTo>
                      <a:pt x="2020" y="4653"/>
                    </a:lnTo>
                    <a:lnTo>
                      <a:pt x="2020" y="4661"/>
                    </a:lnTo>
                    <a:lnTo>
                      <a:pt x="2020" y="4669"/>
                    </a:lnTo>
                    <a:lnTo>
                      <a:pt x="2020" y="4677"/>
                    </a:lnTo>
                    <a:lnTo>
                      <a:pt x="2020" y="4685"/>
                    </a:lnTo>
                    <a:lnTo>
                      <a:pt x="2020" y="4693"/>
                    </a:lnTo>
                    <a:lnTo>
                      <a:pt x="2020" y="4700"/>
                    </a:lnTo>
                    <a:lnTo>
                      <a:pt x="2020" y="4708"/>
                    </a:lnTo>
                    <a:lnTo>
                      <a:pt x="2020" y="4719"/>
                    </a:lnTo>
                    <a:lnTo>
                      <a:pt x="2017" y="4728"/>
                    </a:lnTo>
                    <a:lnTo>
                      <a:pt x="2014" y="4735"/>
                    </a:lnTo>
                    <a:lnTo>
                      <a:pt x="2010" y="4743"/>
                    </a:lnTo>
                    <a:lnTo>
                      <a:pt x="2006" y="4748"/>
                    </a:lnTo>
                    <a:lnTo>
                      <a:pt x="2000" y="4754"/>
                    </a:lnTo>
                    <a:lnTo>
                      <a:pt x="1994" y="4760"/>
                    </a:lnTo>
                    <a:lnTo>
                      <a:pt x="1989" y="4766"/>
                    </a:lnTo>
                    <a:lnTo>
                      <a:pt x="1977" y="4775"/>
                    </a:lnTo>
                    <a:lnTo>
                      <a:pt x="1967" y="4784"/>
                    </a:lnTo>
                    <a:lnTo>
                      <a:pt x="1963" y="4789"/>
                    </a:lnTo>
                    <a:lnTo>
                      <a:pt x="1960" y="4794"/>
                    </a:lnTo>
                    <a:lnTo>
                      <a:pt x="1958" y="4800"/>
                    </a:lnTo>
                    <a:lnTo>
                      <a:pt x="1958" y="4806"/>
                    </a:lnTo>
                    <a:lnTo>
                      <a:pt x="1958" y="4814"/>
                    </a:lnTo>
                    <a:lnTo>
                      <a:pt x="1959" y="4820"/>
                    </a:lnTo>
                    <a:lnTo>
                      <a:pt x="1961" y="4825"/>
                    </a:lnTo>
                    <a:lnTo>
                      <a:pt x="1963" y="4830"/>
                    </a:lnTo>
                    <a:lnTo>
                      <a:pt x="1969" y="4838"/>
                    </a:lnTo>
                    <a:lnTo>
                      <a:pt x="1976" y="4846"/>
                    </a:lnTo>
                    <a:lnTo>
                      <a:pt x="1984" y="4854"/>
                    </a:lnTo>
                    <a:lnTo>
                      <a:pt x="1992" y="4864"/>
                    </a:lnTo>
                    <a:lnTo>
                      <a:pt x="1997" y="4871"/>
                    </a:lnTo>
                    <a:lnTo>
                      <a:pt x="2000" y="4878"/>
                    </a:lnTo>
                    <a:lnTo>
                      <a:pt x="2003" y="4887"/>
                    </a:lnTo>
                    <a:lnTo>
                      <a:pt x="2006" y="4896"/>
                    </a:lnTo>
                    <a:lnTo>
                      <a:pt x="2005" y="4896"/>
                    </a:lnTo>
                    <a:lnTo>
                      <a:pt x="2000" y="4898"/>
                    </a:lnTo>
                    <a:lnTo>
                      <a:pt x="1993" y="4900"/>
                    </a:lnTo>
                    <a:lnTo>
                      <a:pt x="1985" y="4902"/>
                    </a:lnTo>
                    <a:lnTo>
                      <a:pt x="1977" y="4904"/>
                    </a:lnTo>
                    <a:lnTo>
                      <a:pt x="1971" y="4908"/>
                    </a:lnTo>
                    <a:lnTo>
                      <a:pt x="1968" y="4910"/>
                    </a:lnTo>
                    <a:lnTo>
                      <a:pt x="1966" y="4912"/>
                    </a:lnTo>
                    <a:lnTo>
                      <a:pt x="1964" y="4915"/>
                    </a:lnTo>
                    <a:lnTo>
                      <a:pt x="1964" y="4917"/>
                    </a:lnTo>
                    <a:lnTo>
                      <a:pt x="1964" y="4925"/>
                    </a:lnTo>
                    <a:lnTo>
                      <a:pt x="1966" y="4932"/>
                    </a:lnTo>
                    <a:lnTo>
                      <a:pt x="1968" y="4939"/>
                    </a:lnTo>
                    <a:lnTo>
                      <a:pt x="1970" y="4945"/>
                    </a:lnTo>
                    <a:lnTo>
                      <a:pt x="1974" y="4951"/>
                    </a:lnTo>
                    <a:lnTo>
                      <a:pt x="1977" y="4956"/>
                    </a:lnTo>
                    <a:lnTo>
                      <a:pt x="1982" y="4962"/>
                    </a:lnTo>
                    <a:lnTo>
                      <a:pt x="1987" y="4966"/>
                    </a:lnTo>
                    <a:lnTo>
                      <a:pt x="1998" y="4974"/>
                    </a:lnTo>
                    <a:lnTo>
                      <a:pt x="2011" y="4982"/>
                    </a:lnTo>
                    <a:lnTo>
                      <a:pt x="2025" y="4988"/>
                    </a:lnTo>
                    <a:lnTo>
                      <a:pt x="2041" y="4994"/>
                    </a:lnTo>
                    <a:lnTo>
                      <a:pt x="2040" y="5002"/>
                    </a:lnTo>
                    <a:lnTo>
                      <a:pt x="2039" y="5009"/>
                    </a:lnTo>
                    <a:lnTo>
                      <a:pt x="2036" y="5016"/>
                    </a:lnTo>
                    <a:lnTo>
                      <a:pt x="2032" y="5021"/>
                    </a:lnTo>
                    <a:lnTo>
                      <a:pt x="2028" y="5028"/>
                    </a:lnTo>
                    <a:lnTo>
                      <a:pt x="2023" y="5035"/>
                    </a:lnTo>
                    <a:lnTo>
                      <a:pt x="2018" y="5042"/>
                    </a:lnTo>
                    <a:lnTo>
                      <a:pt x="2013" y="5050"/>
                    </a:lnTo>
                    <a:lnTo>
                      <a:pt x="1818" y="5043"/>
                    </a:lnTo>
                    <a:lnTo>
                      <a:pt x="1807" y="5051"/>
                    </a:lnTo>
                    <a:lnTo>
                      <a:pt x="1795" y="5064"/>
                    </a:lnTo>
                    <a:lnTo>
                      <a:pt x="1782" y="5079"/>
                    </a:lnTo>
                    <a:lnTo>
                      <a:pt x="1768" y="5096"/>
                    </a:lnTo>
                    <a:lnTo>
                      <a:pt x="1739" y="5135"/>
                    </a:lnTo>
                    <a:lnTo>
                      <a:pt x="1706" y="5177"/>
                    </a:lnTo>
                    <a:lnTo>
                      <a:pt x="1690" y="5199"/>
                    </a:lnTo>
                    <a:lnTo>
                      <a:pt x="1673" y="5219"/>
                    </a:lnTo>
                    <a:lnTo>
                      <a:pt x="1657" y="5237"/>
                    </a:lnTo>
                    <a:lnTo>
                      <a:pt x="1640" y="5253"/>
                    </a:lnTo>
                    <a:lnTo>
                      <a:pt x="1632" y="5261"/>
                    </a:lnTo>
                    <a:lnTo>
                      <a:pt x="1623" y="5267"/>
                    </a:lnTo>
                    <a:lnTo>
                      <a:pt x="1615" y="5273"/>
                    </a:lnTo>
                    <a:lnTo>
                      <a:pt x="1607" y="5277"/>
                    </a:lnTo>
                    <a:lnTo>
                      <a:pt x="1599" y="5282"/>
                    </a:lnTo>
                    <a:lnTo>
                      <a:pt x="1591" y="5284"/>
                    </a:lnTo>
                    <a:lnTo>
                      <a:pt x="1583" y="5286"/>
                    </a:lnTo>
                    <a:lnTo>
                      <a:pt x="1575" y="5286"/>
                    </a:lnTo>
                    <a:lnTo>
                      <a:pt x="1567" y="5286"/>
                    </a:lnTo>
                    <a:lnTo>
                      <a:pt x="1560" y="5285"/>
                    </a:lnTo>
                    <a:lnTo>
                      <a:pt x="1554" y="5283"/>
                    </a:lnTo>
                    <a:lnTo>
                      <a:pt x="1549" y="5279"/>
                    </a:lnTo>
                    <a:lnTo>
                      <a:pt x="1545" y="5275"/>
                    </a:lnTo>
                    <a:lnTo>
                      <a:pt x="1543" y="5269"/>
                    </a:lnTo>
                    <a:lnTo>
                      <a:pt x="1540" y="5261"/>
                    </a:lnTo>
                    <a:lnTo>
                      <a:pt x="1539" y="5252"/>
                    </a:lnTo>
                    <a:lnTo>
                      <a:pt x="1540" y="5242"/>
                    </a:lnTo>
                    <a:lnTo>
                      <a:pt x="1541" y="5231"/>
                    </a:lnTo>
                    <a:lnTo>
                      <a:pt x="1543" y="5222"/>
                    </a:lnTo>
                    <a:lnTo>
                      <a:pt x="1545" y="5213"/>
                    </a:lnTo>
                    <a:lnTo>
                      <a:pt x="1551" y="5197"/>
                    </a:lnTo>
                    <a:lnTo>
                      <a:pt x="1557" y="5181"/>
                    </a:lnTo>
                    <a:lnTo>
                      <a:pt x="1567" y="5166"/>
                    </a:lnTo>
                    <a:lnTo>
                      <a:pt x="1577" y="5153"/>
                    </a:lnTo>
                    <a:lnTo>
                      <a:pt x="1587" y="5141"/>
                    </a:lnTo>
                    <a:lnTo>
                      <a:pt x="1598" y="5128"/>
                    </a:lnTo>
                    <a:lnTo>
                      <a:pt x="1618" y="5105"/>
                    </a:lnTo>
                    <a:lnTo>
                      <a:pt x="1637" y="5083"/>
                    </a:lnTo>
                    <a:lnTo>
                      <a:pt x="1643" y="5072"/>
                    </a:lnTo>
                    <a:lnTo>
                      <a:pt x="1648" y="5060"/>
                    </a:lnTo>
                    <a:lnTo>
                      <a:pt x="1650" y="5055"/>
                    </a:lnTo>
                    <a:lnTo>
                      <a:pt x="1650" y="5049"/>
                    </a:lnTo>
                    <a:lnTo>
                      <a:pt x="1651" y="5042"/>
                    </a:lnTo>
                    <a:lnTo>
                      <a:pt x="1651" y="5036"/>
                    </a:lnTo>
                    <a:lnTo>
                      <a:pt x="1625" y="5029"/>
                    </a:lnTo>
                    <a:lnTo>
                      <a:pt x="1599" y="5023"/>
                    </a:lnTo>
                    <a:lnTo>
                      <a:pt x="1574" y="5016"/>
                    </a:lnTo>
                    <a:lnTo>
                      <a:pt x="1548" y="5008"/>
                    </a:lnTo>
                    <a:lnTo>
                      <a:pt x="1525" y="4998"/>
                    </a:lnTo>
                    <a:lnTo>
                      <a:pt x="1502" y="4988"/>
                    </a:lnTo>
                    <a:lnTo>
                      <a:pt x="1481" y="4977"/>
                    </a:lnTo>
                    <a:lnTo>
                      <a:pt x="1460" y="4964"/>
                    </a:lnTo>
                    <a:lnTo>
                      <a:pt x="1451" y="4956"/>
                    </a:lnTo>
                    <a:lnTo>
                      <a:pt x="1442" y="4949"/>
                    </a:lnTo>
                    <a:lnTo>
                      <a:pt x="1434" y="4940"/>
                    </a:lnTo>
                    <a:lnTo>
                      <a:pt x="1426" y="4932"/>
                    </a:lnTo>
                    <a:lnTo>
                      <a:pt x="1418" y="4922"/>
                    </a:lnTo>
                    <a:lnTo>
                      <a:pt x="1411" y="4912"/>
                    </a:lnTo>
                    <a:lnTo>
                      <a:pt x="1405" y="4901"/>
                    </a:lnTo>
                    <a:lnTo>
                      <a:pt x="1399" y="4890"/>
                    </a:lnTo>
                    <a:lnTo>
                      <a:pt x="1395" y="4878"/>
                    </a:lnTo>
                    <a:lnTo>
                      <a:pt x="1390" y="4865"/>
                    </a:lnTo>
                    <a:lnTo>
                      <a:pt x="1387" y="4852"/>
                    </a:lnTo>
                    <a:lnTo>
                      <a:pt x="1383" y="4837"/>
                    </a:lnTo>
                    <a:lnTo>
                      <a:pt x="1381" y="4822"/>
                    </a:lnTo>
                    <a:lnTo>
                      <a:pt x="1380" y="4806"/>
                    </a:lnTo>
                    <a:lnTo>
                      <a:pt x="1379" y="4789"/>
                    </a:lnTo>
                    <a:lnTo>
                      <a:pt x="1380" y="4771"/>
                    </a:lnTo>
                    <a:lnTo>
                      <a:pt x="1373" y="4771"/>
                    </a:lnTo>
                    <a:lnTo>
                      <a:pt x="1365" y="4771"/>
                    </a:lnTo>
                    <a:lnTo>
                      <a:pt x="1353" y="4771"/>
                    </a:lnTo>
                    <a:lnTo>
                      <a:pt x="1340" y="4770"/>
                    </a:lnTo>
                    <a:lnTo>
                      <a:pt x="1322" y="4769"/>
                    </a:lnTo>
                    <a:lnTo>
                      <a:pt x="1301" y="4768"/>
                    </a:lnTo>
                    <a:lnTo>
                      <a:pt x="1277" y="4767"/>
                    </a:lnTo>
                    <a:lnTo>
                      <a:pt x="1247" y="4765"/>
                    </a:lnTo>
                    <a:lnTo>
                      <a:pt x="1240" y="4770"/>
                    </a:lnTo>
                    <a:lnTo>
                      <a:pt x="1232" y="4776"/>
                    </a:lnTo>
                    <a:lnTo>
                      <a:pt x="1225" y="4783"/>
                    </a:lnTo>
                    <a:lnTo>
                      <a:pt x="1218" y="4791"/>
                    </a:lnTo>
                    <a:lnTo>
                      <a:pt x="1213" y="4800"/>
                    </a:lnTo>
                    <a:lnTo>
                      <a:pt x="1209" y="4810"/>
                    </a:lnTo>
                    <a:lnTo>
                      <a:pt x="1207" y="4822"/>
                    </a:lnTo>
                    <a:lnTo>
                      <a:pt x="1205" y="4833"/>
                    </a:lnTo>
                    <a:lnTo>
                      <a:pt x="1205" y="4840"/>
                    </a:lnTo>
                    <a:lnTo>
                      <a:pt x="1208" y="4846"/>
                    </a:lnTo>
                    <a:lnTo>
                      <a:pt x="1210" y="4852"/>
                    </a:lnTo>
                    <a:lnTo>
                      <a:pt x="1213" y="4856"/>
                    </a:lnTo>
                    <a:lnTo>
                      <a:pt x="1220" y="4867"/>
                    </a:lnTo>
                    <a:lnTo>
                      <a:pt x="1230" y="4876"/>
                    </a:lnTo>
                    <a:lnTo>
                      <a:pt x="1239" y="4885"/>
                    </a:lnTo>
                    <a:lnTo>
                      <a:pt x="1247" y="4894"/>
                    </a:lnTo>
                    <a:lnTo>
                      <a:pt x="1249" y="4900"/>
                    </a:lnTo>
                    <a:lnTo>
                      <a:pt x="1252" y="4906"/>
                    </a:lnTo>
                    <a:lnTo>
                      <a:pt x="1254" y="4911"/>
                    </a:lnTo>
                    <a:lnTo>
                      <a:pt x="1254" y="4917"/>
                    </a:lnTo>
                    <a:lnTo>
                      <a:pt x="1254" y="4922"/>
                    </a:lnTo>
                    <a:lnTo>
                      <a:pt x="1251" y="4929"/>
                    </a:lnTo>
                    <a:lnTo>
                      <a:pt x="1248" y="4937"/>
                    </a:lnTo>
                    <a:lnTo>
                      <a:pt x="1243" y="4945"/>
                    </a:lnTo>
                    <a:lnTo>
                      <a:pt x="1236" y="4953"/>
                    </a:lnTo>
                    <a:lnTo>
                      <a:pt x="1227" y="4959"/>
                    </a:lnTo>
                    <a:lnTo>
                      <a:pt x="1223" y="4962"/>
                    </a:lnTo>
                    <a:lnTo>
                      <a:pt x="1217" y="4964"/>
                    </a:lnTo>
                    <a:lnTo>
                      <a:pt x="1211" y="4965"/>
                    </a:lnTo>
                    <a:lnTo>
                      <a:pt x="1205" y="4966"/>
                    </a:lnTo>
                    <a:lnTo>
                      <a:pt x="1196" y="4965"/>
                    </a:lnTo>
                    <a:lnTo>
                      <a:pt x="1188" y="4963"/>
                    </a:lnTo>
                    <a:lnTo>
                      <a:pt x="1180" y="4961"/>
                    </a:lnTo>
                    <a:lnTo>
                      <a:pt x="1172" y="4958"/>
                    </a:lnTo>
                    <a:lnTo>
                      <a:pt x="1165" y="4955"/>
                    </a:lnTo>
                    <a:lnTo>
                      <a:pt x="1158" y="4950"/>
                    </a:lnTo>
                    <a:lnTo>
                      <a:pt x="1153" y="4946"/>
                    </a:lnTo>
                    <a:lnTo>
                      <a:pt x="1147" y="4940"/>
                    </a:lnTo>
                    <a:lnTo>
                      <a:pt x="1136" y="4930"/>
                    </a:lnTo>
                    <a:lnTo>
                      <a:pt x="1125" y="4917"/>
                    </a:lnTo>
                    <a:lnTo>
                      <a:pt x="1115" y="4903"/>
                    </a:lnTo>
                    <a:lnTo>
                      <a:pt x="1106" y="4891"/>
                    </a:lnTo>
                    <a:lnTo>
                      <a:pt x="1095" y="4877"/>
                    </a:lnTo>
                    <a:lnTo>
                      <a:pt x="1086" y="4864"/>
                    </a:lnTo>
                    <a:lnTo>
                      <a:pt x="1076" y="4853"/>
                    </a:lnTo>
                    <a:lnTo>
                      <a:pt x="1066" y="4841"/>
                    </a:lnTo>
                    <a:lnTo>
                      <a:pt x="1060" y="4837"/>
                    </a:lnTo>
                    <a:lnTo>
                      <a:pt x="1054" y="4833"/>
                    </a:lnTo>
                    <a:lnTo>
                      <a:pt x="1047" y="4829"/>
                    </a:lnTo>
                    <a:lnTo>
                      <a:pt x="1040" y="4826"/>
                    </a:lnTo>
                    <a:lnTo>
                      <a:pt x="1033" y="4823"/>
                    </a:lnTo>
                    <a:lnTo>
                      <a:pt x="1027" y="4822"/>
                    </a:lnTo>
                    <a:lnTo>
                      <a:pt x="1019" y="4821"/>
                    </a:lnTo>
                    <a:lnTo>
                      <a:pt x="1011" y="4820"/>
                    </a:lnTo>
                    <a:lnTo>
                      <a:pt x="1000" y="4821"/>
                    </a:lnTo>
                    <a:lnTo>
                      <a:pt x="992" y="4822"/>
                    </a:lnTo>
                    <a:lnTo>
                      <a:pt x="984" y="4825"/>
                    </a:lnTo>
                    <a:lnTo>
                      <a:pt x="976" y="4829"/>
                    </a:lnTo>
                    <a:lnTo>
                      <a:pt x="969" y="4833"/>
                    </a:lnTo>
                    <a:lnTo>
                      <a:pt x="962" y="4838"/>
                    </a:lnTo>
                    <a:lnTo>
                      <a:pt x="956" y="4842"/>
                    </a:lnTo>
                    <a:lnTo>
                      <a:pt x="947" y="4848"/>
                    </a:lnTo>
                    <a:lnTo>
                      <a:pt x="938" y="4831"/>
                    </a:lnTo>
                    <a:lnTo>
                      <a:pt x="926" y="4807"/>
                    </a:lnTo>
                    <a:lnTo>
                      <a:pt x="912" y="4778"/>
                    </a:lnTo>
                    <a:lnTo>
                      <a:pt x="898" y="4746"/>
                    </a:lnTo>
                    <a:lnTo>
                      <a:pt x="886" y="4712"/>
                    </a:lnTo>
                    <a:lnTo>
                      <a:pt x="874" y="4678"/>
                    </a:lnTo>
                    <a:lnTo>
                      <a:pt x="870" y="4662"/>
                    </a:lnTo>
                    <a:lnTo>
                      <a:pt x="867" y="4646"/>
                    </a:lnTo>
                    <a:lnTo>
                      <a:pt x="865" y="4631"/>
                    </a:lnTo>
                    <a:lnTo>
                      <a:pt x="864" y="4618"/>
                    </a:lnTo>
                    <a:lnTo>
                      <a:pt x="865" y="4610"/>
                    </a:lnTo>
                    <a:lnTo>
                      <a:pt x="867" y="4602"/>
                    </a:lnTo>
                    <a:lnTo>
                      <a:pt x="870" y="4595"/>
                    </a:lnTo>
                    <a:lnTo>
                      <a:pt x="873" y="4587"/>
                    </a:lnTo>
                    <a:lnTo>
                      <a:pt x="876" y="4581"/>
                    </a:lnTo>
                    <a:lnTo>
                      <a:pt x="881" y="4574"/>
                    </a:lnTo>
                    <a:lnTo>
                      <a:pt x="886" y="4568"/>
                    </a:lnTo>
                    <a:lnTo>
                      <a:pt x="890" y="4562"/>
                    </a:lnTo>
                    <a:lnTo>
                      <a:pt x="903" y="4551"/>
                    </a:lnTo>
                    <a:lnTo>
                      <a:pt x="915" y="4540"/>
                    </a:lnTo>
                    <a:lnTo>
                      <a:pt x="930" y="4529"/>
                    </a:lnTo>
                    <a:lnTo>
                      <a:pt x="945" y="4519"/>
                    </a:lnTo>
                    <a:lnTo>
                      <a:pt x="960" y="4510"/>
                    </a:lnTo>
                    <a:lnTo>
                      <a:pt x="976" y="4498"/>
                    </a:lnTo>
                    <a:lnTo>
                      <a:pt x="991" y="4488"/>
                    </a:lnTo>
                    <a:lnTo>
                      <a:pt x="1006" y="4475"/>
                    </a:lnTo>
                    <a:lnTo>
                      <a:pt x="1020" y="4463"/>
                    </a:lnTo>
                    <a:lnTo>
                      <a:pt x="1032" y="4449"/>
                    </a:lnTo>
                    <a:lnTo>
                      <a:pt x="1038" y="4441"/>
                    </a:lnTo>
                    <a:lnTo>
                      <a:pt x="1043" y="4433"/>
                    </a:lnTo>
                    <a:lnTo>
                      <a:pt x="1048" y="4425"/>
                    </a:lnTo>
                    <a:lnTo>
                      <a:pt x="1052" y="4416"/>
                    </a:lnTo>
                    <a:lnTo>
                      <a:pt x="1042" y="4411"/>
                    </a:lnTo>
                    <a:lnTo>
                      <a:pt x="1030" y="4407"/>
                    </a:lnTo>
                    <a:lnTo>
                      <a:pt x="1021" y="4401"/>
                    </a:lnTo>
                    <a:lnTo>
                      <a:pt x="1011" y="4395"/>
                    </a:lnTo>
                    <a:lnTo>
                      <a:pt x="1000" y="4388"/>
                    </a:lnTo>
                    <a:lnTo>
                      <a:pt x="991" y="4380"/>
                    </a:lnTo>
                    <a:lnTo>
                      <a:pt x="983" y="4372"/>
                    </a:lnTo>
                    <a:lnTo>
                      <a:pt x="974" y="4364"/>
                    </a:lnTo>
                    <a:lnTo>
                      <a:pt x="958" y="4346"/>
                    </a:lnTo>
                    <a:lnTo>
                      <a:pt x="943" y="4326"/>
                    </a:lnTo>
                    <a:lnTo>
                      <a:pt x="930" y="4306"/>
                    </a:lnTo>
                    <a:lnTo>
                      <a:pt x="918" y="4284"/>
                    </a:lnTo>
                    <a:lnTo>
                      <a:pt x="907" y="4261"/>
                    </a:lnTo>
                    <a:lnTo>
                      <a:pt x="899" y="4238"/>
                    </a:lnTo>
                    <a:lnTo>
                      <a:pt x="891" y="4215"/>
                    </a:lnTo>
                    <a:lnTo>
                      <a:pt x="886" y="4192"/>
                    </a:lnTo>
                    <a:lnTo>
                      <a:pt x="881" y="4170"/>
                    </a:lnTo>
                    <a:lnTo>
                      <a:pt x="879" y="4149"/>
                    </a:lnTo>
                    <a:lnTo>
                      <a:pt x="878" y="4129"/>
                    </a:lnTo>
                    <a:lnTo>
                      <a:pt x="878" y="4110"/>
                    </a:lnTo>
                    <a:lnTo>
                      <a:pt x="878" y="4099"/>
                    </a:lnTo>
                    <a:lnTo>
                      <a:pt x="878" y="4089"/>
                    </a:lnTo>
                    <a:lnTo>
                      <a:pt x="878" y="4079"/>
                    </a:lnTo>
                    <a:lnTo>
                      <a:pt x="878" y="4067"/>
                    </a:lnTo>
                    <a:lnTo>
                      <a:pt x="878" y="4053"/>
                    </a:lnTo>
                    <a:lnTo>
                      <a:pt x="878" y="4039"/>
                    </a:lnTo>
                    <a:lnTo>
                      <a:pt x="878" y="4020"/>
                    </a:lnTo>
                    <a:lnTo>
                      <a:pt x="878" y="3998"/>
                    </a:lnTo>
                    <a:lnTo>
                      <a:pt x="878" y="3989"/>
                    </a:lnTo>
                    <a:lnTo>
                      <a:pt x="876" y="3980"/>
                    </a:lnTo>
                    <a:lnTo>
                      <a:pt x="874" y="3971"/>
                    </a:lnTo>
                    <a:lnTo>
                      <a:pt x="872" y="3962"/>
                    </a:lnTo>
                    <a:lnTo>
                      <a:pt x="864" y="3942"/>
                    </a:lnTo>
                    <a:lnTo>
                      <a:pt x="853" y="3922"/>
                    </a:lnTo>
                    <a:lnTo>
                      <a:pt x="842" y="3901"/>
                    </a:lnTo>
                    <a:lnTo>
                      <a:pt x="827" y="3881"/>
                    </a:lnTo>
                    <a:lnTo>
                      <a:pt x="811" y="3862"/>
                    </a:lnTo>
                    <a:lnTo>
                      <a:pt x="795" y="3842"/>
                    </a:lnTo>
                    <a:lnTo>
                      <a:pt x="777" y="3824"/>
                    </a:lnTo>
                    <a:lnTo>
                      <a:pt x="757" y="3808"/>
                    </a:lnTo>
                    <a:lnTo>
                      <a:pt x="739" y="3793"/>
                    </a:lnTo>
                    <a:lnTo>
                      <a:pt x="719" y="3779"/>
                    </a:lnTo>
                    <a:lnTo>
                      <a:pt x="701" y="3769"/>
                    </a:lnTo>
                    <a:lnTo>
                      <a:pt x="683" y="3761"/>
                    </a:lnTo>
                    <a:lnTo>
                      <a:pt x="673" y="3759"/>
                    </a:lnTo>
                    <a:lnTo>
                      <a:pt x="664" y="3756"/>
                    </a:lnTo>
                    <a:lnTo>
                      <a:pt x="656" y="3755"/>
                    </a:lnTo>
                    <a:lnTo>
                      <a:pt x="648" y="3754"/>
                    </a:lnTo>
                    <a:lnTo>
                      <a:pt x="633" y="3755"/>
                    </a:lnTo>
                    <a:lnTo>
                      <a:pt x="618" y="3756"/>
                    </a:lnTo>
                    <a:lnTo>
                      <a:pt x="604" y="3758"/>
                    </a:lnTo>
                    <a:lnTo>
                      <a:pt x="590" y="3761"/>
                    </a:lnTo>
                    <a:lnTo>
                      <a:pt x="561" y="3768"/>
                    </a:lnTo>
                    <a:lnTo>
                      <a:pt x="532" y="3777"/>
                    </a:lnTo>
                    <a:lnTo>
                      <a:pt x="505" y="3789"/>
                    </a:lnTo>
                    <a:lnTo>
                      <a:pt x="477" y="3801"/>
                    </a:lnTo>
                    <a:lnTo>
                      <a:pt x="450" y="3814"/>
                    </a:lnTo>
                    <a:lnTo>
                      <a:pt x="422" y="3828"/>
                    </a:lnTo>
                    <a:lnTo>
                      <a:pt x="396" y="3841"/>
                    </a:lnTo>
                    <a:lnTo>
                      <a:pt x="368" y="3854"/>
                    </a:lnTo>
                    <a:lnTo>
                      <a:pt x="342" y="3867"/>
                    </a:lnTo>
                    <a:lnTo>
                      <a:pt x="315" y="3878"/>
                    </a:lnTo>
                    <a:lnTo>
                      <a:pt x="287" y="3887"/>
                    </a:lnTo>
                    <a:lnTo>
                      <a:pt x="260" y="3894"/>
                    </a:lnTo>
                    <a:lnTo>
                      <a:pt x="245" y="3897"/>
                    </a:lnTo>
                    <a:lnTo>
                      <a:pt x="231" y="3899"/>
                    </a:lnTo>
                    <a:lnTo>
                      <a:pt x="217" y="3900"/>
                    </a:lnTo>
                    <a:lnTo>
                      <a:pt x="202" y="3901"/>
                    </a:lnTo>
                    <a:lnTo>
                      <a:pt x="198" y="3899"/>
                    </a:lnTo>
                    <a:lnTo>
                      <a:pt x="191" y="3892"/>
                    </a:lnTo>
                    <a:lnTo>
                      <a:pt x="179" y="3881"/>
                    </a:lnTo>
                    <a:lnTo>
                      <a:pt x="167" y="3868"/>
                    </a:lnTo>
                    <a:lnTo>
                      <a:pt x="135" y="3833"/>
                    </a:lnTo>
                    <a:lnTo>
                      <a:pt x="99" y="3793"/>
                    </a:lnTo>
                    <a:lnTo>
                      <a:pt x="64" y="3751"/>
                    </a:lnTo>
                    <a:lnTo>
                      <a:pt x="34" y="3713"/>
                    </a:lnTo>
                    <a:lnTo>
                      <a:pt x="21" y="3696"/>
                    </a:lnTo>
                    <a:lnTo>
                      <a:pt x="11" y="3682"/>
                    </a:lnTo>
                    <a:lnTo>
                      <a:pt x="4" y="3672"/>
                    </a:lnTo>
                    <a:lnTo>
                      <a:pt x="0" y="3664"/>
                    </a:lnTo>
                    <a:lnTo>
                      <a:pt x="26" y="3651"/>
                    </a:lnTo>
                    <a:lnTo>
                      <a:pt x="45" y="3639"/>
                    </a:lnTo>
                    <a:lnTo>
                      <a:pt x="60" y="3628"/>
                    </a:lnTo>
                    <a:lnTo>
                      <a:pt x="73" y="3616"/>
                    </a:lnTo>
                    <a:lnTo>
                      <a:pt x="85" y="3605"/>
                    </a:lnTo>
                    <a:lnTo>
                      <a:pt x="100" y="3591"/>
                    </a:lnTo>
                    <a:lnTo>
                      <a:pt x="117" y="3576"/>
                    </a:lnTo>
                    <a:lnTo>
                      <a:pt x="140" y="3559"/>
                    </a:lnTo>
                    <a:lnTo>
                      <a:pt x="145" y="3559"/>
                    </a:lnTo>
                    <a:lnTo>
                      <a:pt x="159" y="3560"/>
                    </a:lnTo>
                    <a:lnTo>
                      <a:pt x="177" y="3560"/>
                    </a:lnTo>
                    <a:lnTo>
                      <a:pt x="199" y="3561"/>
                    </a:lnTo>
                    <a:lnTo>
                      <a:pt x="221" y="3560"/>
                    </a:lnTo>
                    <a:lnTo>
                      <a:pt x="240" y="3559"/>
                    </a:lnTo>
                    <a:lnTo>
                      <a:pt x="247" y="3558"/>
                    </a:lnTo>
                    <a:lnTo>
                      <a:pt x="254" y="3557"/>
                    </a:lnTo>
                    <a:lnTo>
                      <a:pt x="257" y="3555"/>
                    </a:lnTo>
                    <a:lnTo>
                      <a:pt x="258" y="3552"/>
                    </a:lnTo>
                    <a:lnTo>
                      <a:pt x="257" y="3542"/>
                    </a:lnTo>
                    <a:lnTo>
                      <a:pt x="256" y="3533"/>
                    </a:lnTo>
                    <a:lnTo>
                      <a:pt x="253" y="3525"/>
                    </a:lnTo>
                    <a:lnTo>
                      <a:pt x="248" y="3516"/>
                    </a:lnTo>
                    <a:lnTo>
                      <a:pt x="239" y="3501"/>
                    </a:lnTo>
                    <a:lnTo>
                      <a:pt x="227" y="3487"/>
                    </a:lnTo>
                    <a:lnTo>
                      <a:pt x="216" y="3473"/>
                    </a:lnTo>
                    <a:lnTo>
                      <a:pt x="206" y="3459"/>
                    </a:lnTo>
                    <a:lnTo>
                      <a:pt x="201" y="3452"/>
                    </a:lnTo>
                    <a:lnTo>
                      <a:pt x="199" y="3444"/>
                    </a:lnTo>
                    <a:lnTo>
                      <a:pt x="197" y="3436"/>
                    </a:lnTo>
                    <a:lnTo>
                      <a:pt x="195" y="3427"/>
                    </a:lnTo>
                    <a:lnTo>
                      <a:pt x="197" y="3419"/>
                    </a:lnTo>
                    <a:lnTo>
                      <a:pt x="197" y="3411"/>
                    </a:lnTo>
                    <a:lnTo>
                      <a:pt x="199" y="3403"/>
                    </a:lnTo>
                    <a:lnTo>
                      <a:pt x="201" y="3396"/>
                    </a:lnTo>
                    <a:lnTo>
                      <a:pt x="203" y="3389"/>
                    </a:lnTo>
                    <a:lnTo>
                      <a:pt x="207" y="3384"/>
                    </a:lnTo>
                    <a:lnTo>
                      <a:pt x="211" y="3378"/>
                    </a:lnTo>
                    <a:lnTo>
                      <a:pt x="216" y="3372"/>
                    </a:lnTo>
                    <a:lnTo>
                      <a:pt x="226" y="3363"/>
                    </a:lnTo>
                    <a:lnTo>
                      <a:pt x="239" y="3354"/>
                    </a:lnTo>
                    <a:lnTo>
                      <a:pt x="253" y="3347"/>
                    </a:lnTo>
                    <a:lnTo>
                      <a:pt x="269" y="3341"/>
                    </a:lnTo>
                    <a:lnTo>
                      <a:pt x="286" y="3336"/>
                    </a:lnTo>
                    <a:lnTo>
                      <a:pt x="304" y="3332"/>
                    </a:lnTo>
                    <a:lnTo>
                      <a:pt x="323" y="3329"/>
                    </a:lnTo>
                    <a:lnTo>
                      <a:pt x="342" y="3326"/>
                    </a:lnTo>
                    <a:lnTo>
                      <a:pt x="383" y="3323"/>
                    </a:lnTo>
                    <a:lnTo>
                      <a:pt x="426" y="3323"/>
                    </a:lnTo>
                    <a:lnTo>
                      <a:pt x="426" y="3307"/>
                    </a:lnTo>
                    <a:lnTo>
                      <a:pt x="427" y="3292"/>
                    </a:lnTo>
                    <a:lnTo>
                      <a:pt x="428" y="3279"/>
                    </a:lnTo>
                    <a:lnTo>
                      <a:pt x="430" y="3268"/>
                    </a:lnTo>
                    <a:lnTo>
                      <a:pt x="434" y="3259"/>
                    </a:lnTo>
                    <a:lnTo>
                      <a:pt x="437" y="3251"/>
                    </a:lnTo>
                    <a:lnTo>
                      <a:pt x="443" y="3244"/>
                    </a:lnTo>
                    <a:lnTo>
                      <a:pt x="449" y="3238"/>
                    </a:lnTo>
                    <a:lnTo>
                      <a:pt x="457" y="3233"/>
                    </a:lnTo>
                    <a:lnTo>
                      <a:pt x="465" y="3231"/>
                    </a:lnTo>
                    <a:lnTo>
                      <a:pt x="475" y="3229"/>
                    </a:lnTo>
                    <a:lnTo>
                      <a:pt x="487" y="3228"/>
                    </a:lnTo>
                    <a:lnTo>
                      <a:pt x="500" y="3228"/>
                    </a:lnTo>
                    <a:lnTo>
                      <a:pt x="515" y="3228"/>
                    </a:lnTo>
                    <a:lnTo>
                      <a:pt x="532" y="3230"/>
                    </a:lnTo>
                    <a:lnTo>
                      <a:pt x="551" y="3232"/>
                    </a:lnTo>
                    <a:lnTo>
                      <a:pt x="551" y="3229"/>
                    </a:lnTo>
                    <a:lnTo>
                      <a:pt x="551" y="3225"/>
                    </a:lnTo>
                    <a:lnTo>
                      <a:pt x="551" y="3221"/>
                    </a:lnTo>
                    <a:lnTo>
                      <a:pt x="551" y="3215"/>
                    </a:lnTo>
                    <a:lnTo>
                      <a:pt x="551" y="3209"/>
                    </a:lnTo>
                    <a:lnTo>
                      <a:pt x="551" y="3201"/>
                    </a:lnTo>
                    <a:lnTo>
                      <a:pt x="551" y="3193"/>
                    </a:lnTo>
                    <a:lnTo>
                      <a:pt x="551" y="3183"/>
                    </a:lnTo>
                    <a:lnTo>
                      <a:pt x="550" y="3176"/>
                    </a:lnTo>
                    <a:lnTo>
                      <a:pt x="547" y="3165"/>
                    </a:lnTo>
                    <a:lnTo>
                      <a:pt x="543" y="3151"/>
                    </a:lnTo>
                    <a:lnTo>
                      <a:pt x="537" y="3134"/>
                    </a:lnTo>
                    <a:lnTo>
                      <a:pt x="522" y="3094"/>
                    </a:lnTo>
                    <a:lnTo>
                      <a:pt x="505" y="3049"/>
                    </a:lnTo>
                    <a:lnTo>
                      <a:pt x="495" y="3027"/>
                    </a:lnTo>
                    <a:lnTo>
                      <a:pt x="485" y="3006"/>
                    </a:lnTo>
                    <a:lnTo>
                      <a:pt x="475" y="2986"/>
                    </a:lnTo>
                    <a:lnTo>
                      <a:pt x="466" y="2967"/>
                    </a:lnTo>
                    <a:lnTo>
                      <a:pt x="457" y="2952"/>
                    </a:lnTo>
                    <a:lnTo>
                      <a:pt x="448" y="2940"/>
                    </a:lnTo>
                    <a:lnTo>
                      <a:pt x="443" y="2934"/>
                    </a:lnTo>
                    <a:lnTo>
                      <a:pt x="440" y="2931"/>
                    </a:lnTo>
                    <a:lnTo>
                      <a:pt x="436" y="2927"/>
                    </a:lnTo>
                    <a:lnTo>
                      <a:pt x="433" y="2926"/>
                    </a:lnTo>
                    <a:lnTo>
                      <a:pt x="421" y="2921"/>
                    </a:lnTo>
                    <a:lnTo>
                      <a:pt x="409" y="2918"/>
                    </a:lnTo>
                    <a:lnTo>
                      <a:pt x="396" y="2916"/>
                    </a:lnTo>
                    <a:lnTo>
                      <a:pt x="383" y="2912"/>
                    </a:lnTo>
                    <a:lnTo>
                      <a:pt x="378" y="2911"/>
                    </a:lnTo>
                    <a:lnTo>
                      <a:pt x="373" y="2909"/>
                    </a:lnTo>
                    <a:lnTo>
                      <a:pt x="368" y="2907"/>
                    </a:lnTo>
                    <a:lnTo>
                      <a:pt x="364" y="2903"/>
                    </a:lnTo>
                    <a:lnTo>
                      <a:pt x="360" y="2900"/>
                    </a:lnTo>
                    <a:lnTo>
                      <a:pt x="358" y="2895"/>
                    </a:lnTo>
                    <a:lnTo>
                      <a:pt x="356" y="2889"/>
                    </a:lnTo>
                    <a:lnTo>
                      <a:pt x="356" y="2884"/>
                    </a:lnTo>
                    <a:lnTo>
                      <a:pt x="357" y="2876"/>
                    </a:lnTo>
                    <a:lnTo>
                      <a:pt x="358" y="2868"/>
                    </a:lnTo>
                    <a:lnTo>
                      <a:pt x="362" y="2861"/>
                    </a:lnTo>
                    <a:lnTo>
                      <a:pt x="366" y="2855"/>
                    </a:lnTo>
                    <a:lnTo>
                      <a:pt x="377" y="2843"/>
                    </a:lnTo>
                    <a:lnTo>
                      <a:pt x="388" y="2833"/>
                    </a:lnTo>
                    <a:lnTo>
                      <a:pt x="401" y="2823"/>
                    </a:lnTo>
                    <a:lnTo>
                      <a:pt x="412" y="2809"/>
                    </a:lnTo>
                    <a:lnTo>
                      <a:pt x="417" y="2802"/>
                    </a:lnTo>
                    <a:lnTo>
                      <a:pt x="420" y="2793"/>
                    </a:lnTo>
                    <a:lnTo>
                      <a:pt x="424" y="2784"/>
                    </a:lnTo>
                    <a:lnTo>
                      <a:pt x="426" y="2772"/>
                    </a:lnTo>
                    <a:lnTo>
                      <a:pt x="425" y="2766"/>
                    </a:lnTo>
                    <a:lnTo>
                      <a:pt x="424" y="2759"/>
                    </a:lnTo>
                    <a:lnTo>
                      <a:pt x="421" y="2753"/>
                    </a:lnTo>
                    <a:lnTo>
                      <a:pt x="418" y="2747"/>
                    </a:lnTo>
                    <a:lnTo>
                      <a:pt x="410" y="2738"/>
                    </a:lnTo>
                    <a:lnTo>
                      <a:pt x="401" y="2729"/>
                    </a:lnTo>
                    <a:lnTo>
                      <a:pt x="393" y="2720"/>
                    </a:lnTo>
                    <a:lnTo>
                      <a:pt x="385" y="2708"/>
                    </a:lnTo>
                    <a:lnTo>
                      <a:pt x="381" y="2701"/>
                    </a:lnTo>
                    <a:lnTo>
                      <a:pt x="379" y="2693"/>
                    </a:lnTo>
                    <a:lnTo>
                      <a:pt x="378" y="2684"/>
                    </a:lnTo>
                    <a:lnTo>
                      <a:pt x="377" y="2675"/>
                    </a:lnTo>
                    <a:lnTo>
                      <a:pt x="378" y="2665"/>
                    </a:lnTo>
                    <a:lnTo>
                      <a:pt x="380" y="2653"/>
                    </a:lnTo>
                    <a:lnTo>
                      <a:pt x="383" y="2643"/>
                    </a:lnTo>
                    <a:lnTo>
                      <a:pt x="388" y="2631"/>
                    </a:lnTo>
                    <a:lnTo>
                      <a:pt x="394" y="2621"/>
                    </a:lnTo>
                    <a:lnTo>
                      <a:pt x="399" y="2611"/>
                    </a:lnTo>
                    <a:lnTo>
                      <a:pt x="407" y="2602"/>
                    </a:lnTo>
                    <a:lnTo>
                      <a:pt x="416" y="2592"/>
                    </a:lnTo>
                    <a:lnTo>
                      <a:pt x="425" y="2583"/>
                    </a:lnTo>
                    <a:lnTo>
                      <a:pt x="435" y="2576"/>
                    </a:lnTo>
                    <a:lnTo>
                      <a:pt x="445" y="2569"/>
                    </a:lnTo>
                    <a:lnTo>
                      <a:pt x="456" y="2564"/>
                    </a:lnTo>
                    <a:lnTo>
                      <a:pt x="467" y="2560"/>
                    </a:lnTo>
                    <a:lnTo>
                      <a:pt x="479" y="2557"/>
                    </a:lnTo>
                    <a:lnTo>
                      <a:pt x="490" y="2556"/>
                    </a:lnTo>
                    <a:lnTo>
                      <a:pt x="503" y="2557"/>
                    </a:lnTo>
                    <a:lnTo>
                      <a:pt x="507" y="2557"/>
                    </a:lnTo>
                    <a:lnTo>
                      <a:pt x="512" y="2558"/>
                    </a:lnTo>
                    <a:lnTo>
                      <a:pt x="518" y="2559"/>
                    </a:lnTo>
                    <a:lnTo>
                      <a:pt x="522" y="2561"/>
                    </a:lnTo>
                    <a:lnTo>
                      <a:pt x="531" y="2567"/>
                    </a:lnTo>
                    <a:lnTo>
                      <a:pt x="540" y="2574"/>
                    </a:lnTo>
                    <a:lnTo>
                      <a:pt x="550" y="2580"/>
                    </a:lnTo>
                    <a:lnTo>
                      <a:pt x="559" y="2585"/>
                    </a:lnTo>
                    <a:lnTo>
                      <a:pt x="563" y="2588"/>
                    </a:lnTo>
                    <a:lnTo>
                      <a:pt x="568" y="2590"/>
                    </a:lnTo>
                    <a:lnTo>
                      <a:pt x="574" y="2591"/>
                    </a:lnTo>
                    <a:lnTo>
                      <a:pt x="578" y="2591"/>
                    </a:lnTo>
                    <a:lnTo>
                      <a:pt x="586" y="2590"/>
                    </a:lnTo>
                    <a:lnTo>
                      <a:pt x="594" y="2588"/>
                    </a:lnTo>
                    <a:lnTo>
                      <a:pt x="601" y="2583"/>
                    </a:lnTo>
                    <a:lnTo>
                      <a:pt x="608" y="2577"/>
                    </a:lnTo>
                    <a:lnTo>
                      <a:pt x="615" y="2571"/>
                    </a:lnTo>
                    <a:lnTo>
                      <a:pt x="621" y="2564"/>
                    </a:lnTo>
                    <a:lnTo>
                      <a:pt x="628" y="2554"/>
                    </a:lnTo>
                    <a:lnTo>
                      <a:pt x="632" y="2546"/>
                    </a:lnTo>
                    <a:lnTo>
                      <a:pt x="643" y="2527"/>
                    </a:lnTo>
                    <a:lnTo>
                      <a:pt x="649" y="2509"/>
                    </a:lnTo>
                    <a:lnTo>
                      <a:pt x="654" y="2493"/>
                    </a:lnTo>
                    <a:lnTo>
                      <a:pt x="655" y="2480"/>
                    </a:lnTo>
                    <a:lnTo>
                      <a:pt x="655" y="2466"/>
                    </a:lnTo>
                    <a:lnTo>
                      <a:pt x="654" y="2454"/>
                    </a:lnTo>
                    <a:lnTo>
                      <a:pt x="652" y="2442"/>
                    </a:lnTo>
                    <a:lnTo>
                      <a:pt x="648" y="2431"/>
                    </a:lnTo>
                    <a:lnTo>
                      <a:pt x="643" y="2411"/>
                    </a:lnTo>
                    <a:lnTo>
                      <a:pt x="634" y="2395"/>
                    </a:lnTo>
                    <a:lnTo>
                      <a:pt x="626" y="2381"/>
                    </a:lnTo>
                    <a:lnTo>
                      <a:pt x="620" y="2369"/>
                    </a:lnTo>
                    <a:lnTo>
                      <a:pt x="617" y="2363"/>
                    </a:lnTo>
                    <a:lnTo>
                      <a:pt x="615" y="2358"/>
                    </a:lnTo>
                    <a:lnTo>
                      <a:pt x="614" y="2353"/>
                    </a:lnTo>
                    <a:lnTo>
                      <a:pt x="614" y="2347"/>
                    </a:lnTo>
                    <a:lnTo>
                      <a:pt x="613" y="2335"/>
                    </a:lnTo>
                    <a:lnTo>
                      <a:pt x="612" y="2323"/>
                    </a:lnTo>
                    <a:lnTo>
                      <a:pt x="609" y="2311"/>
                    </a:lnTo>
                    <a:lnTo>
                      <a:pt x="607" y="2299"/>
                    </a:lnTo>
                    <a:lnTo>
                      <a:pt x="606" y="2285"/>
                    </a:lnTo>
                    <a:lnTo>
                      <a:pt x="605" y="2269"/>
                    </a:lnTo>
                    <a:lnTo>
                      <a:pt x="605" y="2251"/>
                    </a:lnTo>
                    <a:lnTo>
                      <a:pt x="607" y="2229"/>
                    </a:lnTo>
                    <a:lnTo>
                      <a:pt x="613" y="2221"/>
                    </a:lnTo>
                    <a:lnTo>
                      <a:pt x="621" y="2213"/>
                    </a:lnTo>
                    <a:lnTo>
                      <a:pt x="630" y="2204"/>
                    </a:lnTo>
                    <a:lnTo>
                      <a:pt x="639" y="2192"/>
                    </a:lnTo>
                    <a:lnTo>
                      <a:pt x="644" y="2185"/>
                    </a:lnTo>
                    <a:lnTo>
                      <a:pt x="648" y="2178"/>
                    </a:lnTo>
                    <a:lnTo>
                      <a:pt x="652" y="2170"/>
                    </a:lnTo>
                    <a:lnTo>
                      <a:pt x="655" y="2161"/>
                    </a:lnTo>
                    <a:lnTo>
                      <a:pt x="659" y="2152"/>
                    </a:lnTo>
                    <a:lnTo>
                      <a:pt x="661" y="2142"/>
                    </a:lnTo>
                    <a:lnTo>
                      <a:pt x="662" y="2130"/>
                    </a:lnTo>
                    <a:lnTo>
                      <a:pt x="662" y="2118"/>
                    </a:lnTo>
                    <a:lnTo>
                      <a:pt x="661" y="2105"/>
                    </a:lnTo>
                    <a:lnTo>
                      <a:pt x="657" y="2092"/>
                    </a:lnTo>
                    <a:lnTo>
                      <a:pt x="653" y="2081"/>
                    </a:lnTo>
                    <a:lnTo>
                      <a:pt x="648" y="2068"/>
                    </a:lnTo>
                    <a:lnTo>
                      <a:pt x="644" y="2056"/>
                    </a:lnTo>
                    <a:lnTo>
                      <a:pt x="639" y="2042"/>
                    </a:lnTo>
                    <a:lnTo>
                      <a:pt x="636" y="2028"/>
                    </a:lnTo>
                    <a:lnTo>
                      <a:pt x="634" y="2013"/>
                    </a:lnTo>
                    <a:lnTo>
                      <a:pt x="636" y="2006"/>
                    </a:lnTo>
                    <a:lnTo>
                      <a:pt x="638" y="1998"/>
                    </a:lnTo>
                    <a:lnTo>
                      <a:pt x="640" y="1990"/>
                    </a:lnTo>
                    <a:lnTo>
                      <a:pt x="644" y="1982"/>
                    </a:lnTo>
                    <a:lnTo>
                      <a:pt x="653" y="1966"/>
                    </a:lnTo>
                    <a:lnTo>
                      <a:pt x="664" y="1950"/>
                    </a:lnTo>
                    <a:lnTo>
                      <a:pt x="678" y="1933"/>
                    </a:lnTo>
                    <a:lnTo>
                      <a:pt x="693" y="1916"/>
                    </a:lnTo>
                    <a:lnTo>
                      <a:pt x="709" y="1898"/>
                    </a:lnTo>
                    <a:lnTo>
                      <a:pt x="726" y="1881"/>
                    </a:lnTo>
                    <a:lnTo>
                      <a:pt x="762" y="1848"/>
                    </a:lnTo>
                    <a:lnTo>
                      <a:pt x="797" y="1817"/>
                    </a:lnTo>
                    <a:lnTo>
                      <a:pt x="827" y="1791"/>
                    </a:lnTo>
                    <a:lnTo>
                      <a:pt x="850" y="1769"/>
                    </a:lnTo>
                    <a:lnTo>
                      <a:pt x="853" y="1776"/>
                    </a:lnTo>
                    <a:lnTo>
                      <a:pt x="858" y="1783"/>
                    </a:lnTo>
                    <a:lnTo>
                      <a:pt x="864" y="1791"/>
                    </a:lnTo>
                    <a:lnTo>
                      <a:pt x="871" y="1799"/>
                    </a:lnTo>
                    <a:lnTo>
                      <a:pt x="878" y="1807"/>
                    </a:lnTo>
                    <a:lnTo>
                      <a:pt x="887" y="1812"/>
                    </a:lnTo>
                    <a:lnTo>
                      <a:pt x="891" y="1815"/>
                    </a:lnTo>
                    <a:lnTo>
                      <a:pt x="896" y="1817"/>
                    </a:lnTo>
                    <a:lnTo>
                      <a:pt x="900" y="1818"/>
                    </a:lnTo>
                    <a:lnTo>
                      <a:pt x="906" y="1818"/>
                    </a:lnTo>
                    <a:lnTo>
                      <a:pt x="919" y="1817"/>
                    </a:lnTo>
                    <a:lnTo>
                      <a:pt x="931" y="1816"/>
                    </a:lnTo>
                    <a:lnTo>
                      <a:pt x="945" y="1812"/>
                    </a:lnTo>
                    <a:lnTo>
                      <a:pt x="958" y="1808"/>
                    </a:lnTo>
                    <a:lnTo>
                      <a:pt x="972" y="1802"/>
                    </a:lnTo>
                    <a:lnTo>
                      <a:pt x="986" y="1795"/>
                    </a:lnTo>
                    <a:lnTo>
                      <a:pt x="1000" y="1788"/>
                    </a:lnTo>
                    <a:lnTo>
                      <a:pt x="1014" y="1779"/>
                    </a:lnTo>
                    <a:lnTo>
                      <a:pt x="1028" y="1770"/>
                    </a:lnTo>
                    <a:lnTo>
                      <a:pt x="1043" y="1760"/>
                    </a:lnTo>
                    <a:lnTo>
                      <a:pt x="1056" y="1748"/>
                    </a:lnTo>
                    <a:lnTo>
                      <a:pt x="1070" y="1737"/>
                    </a:lnTo>
                    <a:lnTo>
                      <a:pt x="1098" y="1712"/>
                    </a:lnTo>
                    <a:lnTo>
                      <a:pt x="1124" y="1685"/>
                    </a:lnTo>
                    <a:lnTo>
                      <a:pt x="1148" y="1656"/>
                    </a:lnTo>
                    <a:lnTo>
                      <a:pt x="1171" y="1628"/>
                    </a:lnTo>
                    <a:lnTo>
                      <a:pt x="1192" y="1598"/>
                    </a:lnTo>
                    <a:lnTo>
                      <a:pt x="1209" y="1568"/>
                    </a:lnTo>
                    <a:lnTo>
                      <a:pt x="1217" y="1554"/>
                    </a:lnTo>
                    <a:lnTo>
                      <a:pt x="1224" y="1539"/>
                    </a:lnTo>
                    <a:lnTo>
                      <a:pt x="1231" y="1526"/>
                    </a:lnTo>
                    <a:lnTo>
                      <a:pt x="1236" y="1512"/>
                    </a:lnTo>
                    <a:lnTo>
                      <a:pt x="1240" y="1499"/>
                    </a:lnTo>
                    <a:lnTo>
                      <a:pt x="1243" y="1487"/>
                    </a:lnTo>
                    <a:lnTo>
                      <a:pt x="1246" y="1474"/>
                    </a:lnTo>
                    <a:lnTo>
                      <a:pt x="1247" y="1463"/>
                    </a:lnTo>
                    <a:lnTo>
                      <a:pt x="1246" y="1453"/>
                    </a:lnTo>
                    <a:lnTo>
                      <a:pt x="1243" y="1445"/>
                    </a:lnTo>
                    <a:lnTo>
                      <a:pt x="1239" y="1437"/>
                    </a:lnTo>
                    <a:lnTo>
                      <a:pt x="1233" y="1431"/>
                    </a:lnTo>
                    <a:lnTo>
                      <a:pt x="1228" y="1424"/>
                    </a:lnTo>
                    <a:lnTo>
                      <a:pt x="1224" y="1414"/>
                    </a:lnTo>
                    <a:lnTo>
                      <a:pt x="1222" y="1410"/>
                    </a:lnTo>
                    <a:lnTo>
                      <a:pt x="1220" y="1405"/>
                    </a:lnTo>
                    <a:lnTo>
                      <a:pt x="1219" y="1400"/>
                    </a:lnTo>
                    <a:lnTo>
                      <a:pt x="1219" y="1394"/>
                    </a:lnTo>
                    <a:lnTo>
                      <a:pt x="1220" y="1389"/>
                    </a:lnTo>
                    <a:lnTo>
                      <a:pt x="1224" y="1385"/>
                    </a:lnTo>
                    <a:lnTo>
                      <a:pt x="1228" y="1382"/>
                    </a:lnTo>
                    <a:lnTo>
                      <a:pt x="1233" y="1379"/>
                    </a:lnTo>
                    <a:lnTo>
                      <a:pt x="1239" y="1377"/>
                    </a:lnTo>
                    <a:lnTo>
                      <a:pt x="1243" y="1373"/>
                    </a:lnTo>
                    <a:lnTo>
                      <a:pt x="1246" y="1370"/>
                    </a:lnTo>
                    <a:lnTo>
                      <a:pt x="1247" y="1365"/>
                    </a:lnTo>
                    <a:lnTo>
                      <a:pt x="1248" y="1349"/>
                    </a:lnTo>
                    <a:lnTo>
                      <a:pt x="1250" y="1337"/>
                    </a:lnTo>
                    <a:lnTo>
                      <a:pt x="1251" y="1331"/>
                    </a:lnTo>
                    <a:lnTo>
                      <a:pt x="1252" y="1326"/>
                    </a:lnTo>
                    <a:lnTo>
                      <a:pt x="1255" y="1323"/>
                    </a:lnTo>
                    <a:lnTo>
                      <a:pt x="1257" y="1319"/>
                    </a:lnTo>
                    <a:lnTo>
                      <a:pt x="1260" y="1317"/>
                    </a:lnTo>
                    <a:lnTo>
                      <a:pt x="1264" y="1315"/>
                    </a:lnTo>
                    <a:lnTo>
                      <a:pt x="1267" y="1312"/>
                    </a:lnTo>
                    <a:lnTo>
                      <a:pt x="1271" y="1311"/>
                    </a:lnTo>
                    <a:lnTo>
                      <a:pt x="1279" y="1310"/>
                    </a:lnTo>
                    <a:lnTo>
                      <a:pt x="1289" y="1310"/>
                    </a:lnTo>
                    <a:lnTo>
                      <a:pt x="1301" y="1310"/>
                    </a:lnTo>
                    <a:lnTo>
                      <a:pt x="1316" y="1310"/>
                    </a:lnTo>
                    <a:lnTo>
                      <a:pt x="1334" y="1310"/>
                    </a:lnTo>
                    <a:lnTo>
                      <a:pt x="1353" y="1310"/>
                    </a:lnTo>
                    <a:lnTo>
                      <a:pt x="1375" y="1311"/>
                    </a:lnTo>
                    <a:lnTo>
                      <a:pt x="1398" y="1312"/>
                    </a:lnTo>
                    <a:lnTo>
                      <a:pt x="1423" y="1315"/>
                    </a:lnTo>
                    <a:lnTo>
                      <a:pt x="1449" y="1317"/>
                    </a:lnTo>
                    <a:lnTo>
                      <a:pt x="1457" y="1316"/>
                    </a:lnTo>
                    <a:lnTo>
                      <a:pt x="1463" y="1315"/>
                    </a:lnTo>
                    <a:lnTo>
                      <a:pt x="1469" y="1312"/>
                    </a:lnTo>
                    <a:lnTo>
                      <a:pt x="1475" y="1310"/>
                    </a:lnTo>
                    <a:lnTo>
                      <a:pt x="1481" y="1307"/>
                    </a:lnTo>
                    <a:lnTo>
                      <a:pt x="1485" y="1303"/>
                    </a:lnTo>
                    <a:lnTo>
                      <a:pt x="1489" y="1299"/>
                    </a:lnTo>
                    <a:lnTo>
                      <a:pt x="1492" y="1295"/>
                    </a:lnTo>
                    <a:lnTo>
                      <a:pt x="1498" y="1286"/>
                    </a:lnTo>
                    <a:lnTo>
                      <a:pt x="1502" y="1278"/>
                    </a:lnTo>
                    <a:lnTo>
                      <a:pt x="1504" y="1272"/>
                    </a:lnTo>
                    <a:lnTo>
                      <a:pt x="1505" y="1268"/>
                    </a:lnTo>
                    <a:lnTo>
                      <a:pt x="1505" y="1267"/>
                    </a:lnTo>
                    <a:lnTo>
                      <a:pt x="1505" y="1262"/>
                    </a:lnTo>
                    <a:lnTo>
                      <a:pt x="1505" y="1255"/>
                    </a:lnTo>
                    <a:lnTo>
                      <a:pt x="1505" y="1246"/>
                    </a:lnTo>
                    <a:lnTo>
                      <a:pt x="1505" y="1236"/>
                    </a:lnTo>
                    <a:lnTo>
                      <a:pt x="1505" y="1224"/>
                    </a:lnTo>
                    <a:lnTo>
                      <a:pt x="1505" y="1211"/>
                    </a:lnTo>
                    <a:lnTo>
                      <a:pt x="1505" y="1198"/>
                    </a:lnTo>
                    <a:lnTo>
                      <a:pt x="1507" y="1191"/>
                    </a:lnTo>
                    <a:lnTo>
                      <a:pt x="1509" y="1184"/>
                    </a:lnTo>
                    <a:lnTo>
                      <a:pt x="1514" y="1177"/>
                    </a:lnTo>
                    <a:lnTo>
                      <a:pt x="1518" y="1171"/>
                    </a:lnTo>
                    <a:lnTo>
                      <a:pt x="1530" y="1160"/>
                    </a:lnTo>
                    <a:lnTo>
                      <a:pt x="1543" y="1148"/>
                    </a:lnTo>
                    <a:lnTo>
                      <a:pt x="1554" y="1137"/>
                    </a:lnTo>
                    <a:lnTo>
                      <a:pt x="1564" y="1124"/>
                    </a:lnTo>
                    <a:lnTo>
                      <a:pt x="1569" y="1117"/>
                    </a:lnTo>
                    <a:lnTo>
                      <a:pt x="1571" y="1111"/>
                    </a:lnTo>
                    <a:lnTo>
                      <a:pt x="1574" y="1103"/>
                    </a:lnTo>
                    <a:lnTo>
                      <a:pt x="1575" y="1093"/>
                    </a:lnTo>
                    <a:lnTo>
                      <a:pt x="1574" y="1060"/>
                    </a:lnTo>
                    <a:lnTo>
                      <a:pt x="1571" y="1030"/>
                    </a:lnTo>
                    <a:lnTo>
                      <a:pt x="1567" y="1003"/>
                    </a:lnTo>
                    <a:lnTo>
                      <a:pt x="1561" y="979"/>
                    </a:lnTo>
                    <a:lnTo>
                      <a:pt x="1555" y="956"/>
                    </a:lnTo>
                    <a:lnTo>
                      <a:pt x="1548" y="933"/>
                    </a:lnTo>
                    <a:lnTo>
                      <a:pt x="1540" y="910"/>
                    </a:lnTo>
                    <a:lnTo>
                      <a:pt x="1532" y="885"/>
                    </a:lnTo>
                    <a:lnTo>
                      <a:pt x="1522" y="886"/>
                    </a:lnTo>
                    <a:lnTo>
                      <a:pt x="1513" y="887"/>
                    </a:lnTo>
                    <a:lnTo>
                      <a:pt x="1504" y="889"/>
                    </a:lnTo>
                    <a:lnTo>
                      <a:pt x="1494" y="893"/>
                    </a:lnTo>
                    <a:lnTo>
                      <a:pt x="1476" y="901"/>
                    </a:lnTo>
                    <a:lnTo>
                      <a:pt x="1460" y="909"/>
                    </a:lnTo>
                    <a:lnTo>
                      <a:pt x="1443" y="918"/>
                    </a:lnTo>
                    <a:lnTo>
                      <a:pt x="1424" y="926"/>
                    </a:lnTo>
                    <a:lnTo>
                      <a:pt x="1415" y="929"/>
                    </a:lnTo>
                    <a:lnTo>
                      <a:pt x="1406" y="932"/>
                    </a:lnTo>
                    <a:lnTo>
                      <a:pt x="1397" y="933"/>
                    </a:lnTo>
                    <a:lnTo>
                      <a:pt x="1387" y="934"/>
                    </a:lnTo>
                    <a:lnTo>
                      <a:pt x="1382" y="933"/>
                    </a:lnTo>
                    <a:lnTo>
                      <a:pt x="1379" y="932"/>
                    </a:lnTo>
                    <a:lnTo>
                      <a:pt x="1375" y="929"/>
                    </a:lnTo>
                    <a:lnTo>
                      <a:pt x="1371" y="927"/>
                    </a:lnTo>
                    <a:lnTo>
                      <a:pt x="1364" y="919"/>
                    </a:lnTo>
                    <a:lnTo>
                      <a:pt x="1358" y="910"/>
                    </a:lnTo>
                    <a:lnTo>
                      <a:pt x="1352" y="900"/>
                    </a:lnTo>
                    <a:lnTo>
                      <a:pt x="1348" y="889"/>
                    </a:lnTo>
                    <a:lnTo>
                      <a:pt x="1345" y="880"/>
                    </a:lnTo>
                    <a:lnTo>
                      <a:pt x="1344" y="871"/>
                    </a:lnTo>
                    <a:lnTo>
                      <a:pt x="1345" y="857"/>
                    </a:lnTo>
                    <a:lnTo>
                      <a:pt x="1346" y="844"/>
                    </a:lnTo>
                    <a:lnTo>
                      <a:pt x="1349" y="832"/>
                    </a:lnTo>
                    <a:lnTo>
                      <a:pt x="1352" y="819"/>
                    </a:lnTo>
                    <a:lnTo>
                      <a:pt x="1356" y="808"/>
                    </a:lnTo>
                    <a:lnTo>
                      <a:pt x="1360" y="796"/>
                    </a:lnTo>
                    <a:lnTo>
                      <a:pt x="1366" y="786"/>
                    </a:lnTo>
                    <a:lnTo>
                      <a:pt x="1372" y="776"/>
                    </a:lnTo>
                    <a:lnTo>
                      <a:pt x="1379" y="765"/>
                    </a:lnTo>
                    <a:lnTo>
                      <a:pt x="1387" y="755"/>
                    </a:lnTo>
                    <a:lnTo>
                      <a:pt x="1395" y="746"/>
                    </a:lnTo>
                    <a:lnTo>
                      <a:pt x="1404" y="738"/>
                    </a:lnTo>
                    <a:lnTo>
                      <a:pt x="1413" y="729"/>
                    </a:lnTo>
                    <a:lnTo>
                      <a:pt x="1422" y="721"/>
                    </a:lnTo>
                    <a:lnTo>
                      <a:pt x="1432" y="713"/>
                    </a:lnTo>
                    <a:lnTo>
                      <a:pt x="1444" y="706"/>
                    </a:lnTo>
                    <a:lnTo>
                      <a:pt x="1467" y="692"/>
                    </a:lnTo>
                    <a:lnTo>
                      <a:pt x="1491" y="679"/>
                    </a:lnTo>
                    <a:lnTo>
                      <a:pt x="1517" y="669"/>
                    </a:lnTo>
                    <a:lnTo>
                      <a:pt x="1545" y="660"/>
                    </a:lnTo>
                    <a:lnTo>
                      <a:pt x="1572" y="651"/>
                    </a:lnTo>
                    <a:lnTo>
                      <a:pt x="1601" y="644"/>
                    </a:lnTo>
                    <a:lnTo>
                      <a:pt x="1630" y="639"/>
                    </a:lnTo>
                    <a:lnTo>
                      <a:pt x="1658" y="635"/>
                    </a:lnTo>
                    <a:lnTo>
                      <a:pt x="1674" y="632"/>
                    </a:lnTo>
                    <a:lnTo>
                      <a:pt x="1693" y="630"/>
                    </a:lnTo>
                    <a:lnTo>
                      <a:pt x="1711" y="630"/>
                    </a:lnTo>
                    <a:lnTo>
                      <a:pt x="1732" y="629"/>
                    </a:lnTo>
                    <a:lnTo>
                      <a:pt x="1772" y="628"/>
                    </a:lnTo>
                    <a:lnTo>
                      <a:pt x="1811" y="625"/>
                    </a:lnTo>
                    <a:lnTo>
                      <a:pt x="1829" y="623"/>
                    </a:lnTo>
                    <a:lnTo>
                      <a:pt x="1846" y="620"/>
                    </a:lnTo>
                    <a:lnTo>
                      <a:pt x="1862" y="615"/>
                    </a:lnTo>
                    <a:lnTo>
                      <a:pt x="1875" y="608"/>
                    </a:lnTo>
                    <a:lnTo>
                      <a:pt x="1881" y="605"/>
                    </a:lnTo>
                    <a:lnTo>
                      <a:pt x="1887" y="601"/>
                    </a:lnTo>
                    <a:lnTo>
                      <a:pt x="1891" y="596"/>
                    </a:lnTo>
                    <a:lnTo>
                      <a:pt x="1895" y="591"/>
                    </a:lnTo>
                    <a:lnTo>
                      <a:pt x="1898" y="585"/>
                    </a:lnTo>
                    <a:lnTo>
                      <a:pt x="1900" y="578"/>
                    </a:lnTo>
                    <a:lnTo>
                      <a:pt x="1901" y="572"/>
                    </a:lnTo>
                    <a:lnTo>
                      <a:pt x="1901" y="565"/>
                    </a:lnTo>
                    <a:lnTo>
                      <a:pt x="1900" y="557"/>
                    </a:lnTo>
                    <a:lnTo>
                      <a:pt x="1899" y="550"/>
                    </a:lnTo>
                    <a:lnTo>
                      <a:pt x="1896" y="543"/>
                    </a:lnTo>
                    <a:lnTo>
                      <a:pt x="1891" y="536"/>
                    </a:lnTo>
                    <a:lnTo>
                      <a:pt x="1880" y="522"/>
                    </a:lnTo>
                    <a:lnTo>
                      <a:pt x="1867" y="508"/>
                    </a:lnTo>
                    <a:lnTo>
                      <a:pt x="1860" y="502"/>
                    </a:lnTo>
                    <a:lnTo>
                      <a:pt x="1854" y="494"/>
                    </a:lnTo>
                    <a:lnTo>
                      <a:pt x="1849" y="486"/>
                    </a:lnTo>
                    <a:lnTo>
                      <a:pt x="1843" y="476"/>
                    </a:lnTo>
                    <a:lnTo>
                      <a:pt x="1838" y="467"/>
                    </a:lnTo>
                    <a:lnTo>
                      <a:pt x="1835" y="456"/>
                    </a:lnTo>
                    <a:lnTo>
                      <a:pt x="1833" y="444"/>
                    </a:lnTo>
                    <a:lnTo>
                      <a:pt x="1831" y="432"/>
                    </a:lnTo>
                    <a:lnTo>
                      <a:pt x="1833" y="422"/>
                    </a:lnTo>
                    <a:lnTo>
                      <a:pt x="1835" y="412"/>
                    </a:lnTo>
                    <a:lnTo>
                      <a:pt x="1838" y="404"/>
                    </a:lnTo>
                    <a:lnTo>
                      <a:pt x="1844" y="396"/>
                    </a:lnTo>
                    <a:lnTo>
                      <a:pt x="1850" y="388"/>
                    </a:lnTo>
                    <a:lnTo>
                      <a:pt x="1857" y="381"/>
                    </a:lnTo>
                    <a:lnTo>
                      <a:pt x="1865" y="375"/>
                    </a:lnTo>
                    <a:lnTo>
                      <a:pt x="1874" y="370"/>
                    </a:lnTo>
                    <a:lnTo>
                      <a:pt x="1883" y="365"/>
                    </a:lnTo>
                    <a:lnTo>
                      <a:pt x="1893" y="361"/>
                    </a:lnTo>
                    <a:lnTo>
                      <a:pt x="1904" y="357"/>
                    </a:lnTo>
                    <a:lnTo>
                      <a:pt x="1914" y="354"/>
                    </a:lnTo>
                    <a:lnTo>
                      <a:pt x="1925" y="351"/>
                    </a:lnTo>
                    <a:lnTo>
                      <a:pt x="1936" y="350"/>
                    </a:lnTo>
                    <a:lnTo>
                      <a:pt x="1947" y="349"/>
                    </a:lnTo>
                    <a:lnTo>
                      <a:pt x="1958" y="349"/>
                    </a:lnTo>
                    <a:lnTo>
                      <a:pt x="1966" y="350"/>
                    </a:lnTo>
                    <a:lnTo>
                      <a:pt x="1975" y="351"/>
                    </a:lnTo>
                    <a:lnTo>
                      <a:pt x="1982" y="354"/>
                    </a:lnTo>
                    <a:lnTo>
                      <a:pt x="1990" y="357"/>
                    </a:lnTo>
                    <a:lnTo>
                      <a:pt x="1997" y="361"/>
                    </a:lnTo>
                    <a:lnTo>
                      <a:pt x="2002" y="365"/>
                    </a:lnTo>
                    <a:lnTo>
                      <a:pt x="2008" y="370"/>
                    </a:lnTo>
                    <a:lnTo>
                      <a:pt x="2014" y="374"/>
                    </a:lnTo>
                    <a:lnTo>
                      <a:pt x="2024" y="386"/>
                    </a:lnTo>
                    <a:lnTo>
                      <a:pt x="2034" y="398"/>
                    </a:lnTo>
                    <a:lnTo>
                      <a:pt x="2042" y="411"/>
                    </a:lnTo>
                    <a:lnTo>
                      <a:pt x="2052" y="425"/>
                    </a:lnTo>
                    <a:lnTo>
                      <a:pt x="2060" y="437"/>
                    </a:lnTo>
                    <a:lnTo>
                      <a:pt x="2069" y="450"/>
                    </a:lnTo>
                    <a:lnTo>
                      <a:pt x="2078" y="463"/>
                    </a:lnTo>
                    <a:lnTo>
                      <a:pt x="2088" y="473"/>
                    </a:lnTo>
                    <a:lnTo>
                      <a:pt x="2094" y="477"/>
                    </a:lnTo>
                    <a:lnTo>
                      <a:pt x="2100" y="482"/>
                    </a:lnTo>
                    <a:lnTo>
                      <a:pt x="2107" y="486"/>
                    </a:lnTo>
                    <a:lnTo>
                      <a:pt x="2114" y="489"/>
                    </a:lnTo>
                    <a:lnTo>
                      <a:pt x="2120" y="491"/>
                    </a:lnTo>
                    <a:lnTo>
                      <a:pt x="2128" y="494"/>
                    </a:lnTo>
                    <a:lnTo>
                      <a:pt x="2136" y="495"/>
                    </a:lnTo>
                    <a:lnTo>
                      <a:pt x="2146" y="495"/>
                    </a:lnTo>
                    <a:lnTo>
                      <a:pt x="2161" y="495"/>
                    </a:lnTo>
                    <a:lnTo>
                      <a:pt x="2177" y="494"/>
                    </a:lnTo>
                    <a:lnTo>
                      <a:pt x="2191" y="490"/>
                    </a:lnTo>
                    <a:lnTo>
                      <a:pt x="2208" y="487"/>
                    </a:lnTo>
                    <a:lnTo>
                      <a:pt x="2222" y="482"/>
                    </a:lnTo>
                    <a:lnTo>
                      <a:pt x="2236" y="475"/>
                    </a:lnTo>
                    <a:lnTo>
                      <a:pt x="2251" y="468"/>
                    </a:lnTo>
                    <a:lnTo>
                      <a:pt x="2266" y="459"/>
                    </a:lnTo>
                    <a:lnTo>
                      <a:pt x="2280" y="450"/>
                    </a:lnTo>
                    <a:lnTo>
                      <a:pt x="2294" y="440"/>
                    </a:lnTo>
                    <a:lnTo>
                      <a:pt x="2306" y="429"/>
                    </a:lnTo>
                    <a:lnTo>
                      <a:pt x="2319" y="417"/>
                    </a:lnTo>
                    <a:lnTo>
                      <a:pt x="2331" y="404"/>
                    </a:lnTo>
                    <a:lnTo>
                      <a:pt x="2343" y="391"/>
                    </a:lnTo>
                    <a:lnTo>
                      <a:pt x="2354" y="378"/>
                    </a:lnTo>
                    <a:lnTo>
                      <a:pt x="2366" y="364"/>
                    </a:lnTo>
                    <a:lnTo>
                      <a:pt x="2376" y="349"/>
                    </a:lnTo>
                    <a:lnTo>
                      <a:pt x="2385" y="333"/>
                    </a:lnTo>
                    <a:lnTo>
                      <a:pt x="2394" y="318"/>
                    </a:lnTo>
                    <a:lnTo>
                      <a:pt x="2404" y="302"/>
                    </a:lnTo>
                    <a:lnTo>
                      <a:pt x="2410" y="286"/>
                    </a:lnTo>
                    <a:lnTo>
                      <a:pt x="2418" y="270"/>
                    </a:lnTo>
                    <a:lnTo>
                      <a:pt x="2424" y="254"/>
                    </a:lnTo>
                    <a:lnTo>
                      <a:pt x="2430" y="238"/>
                    </a:lnTo>
                    <a:lnTo>
                      <a:pt x="2435" y="221"/>
                    </a:lnTo>
                    <a:lnTo>
                      <a:pt x="2439" y="205"/>
                    </a:lnTo>
                    <a:lnTo>
                      <a:pt x="2443" y="188"/>
                    </a:lnTo>
                    <a:lnTo>
                      <a:pt x="2445" y="172"/>
                    </a:lnTo>
                    <a:lnTo>
                      <a:pt x="2446" y="156"/>
                    </a:lnTo>
                    <a:lnTo>
                      <a:pt x="2447" y="141"/>
                    </a:lnTo>
                    <a:lnTo>
                      <a:pt x="2446" y="127"/>
                    </a:lnTo>
                    <a:lnTo>
                      <a:pt x="2445" y="112"/>
                    </a:lnTo>
                    <a:lnTo>
                      <a:pt x="2461" y="106"/>
                    </a:lnTo>
                    <a:lnTo>
                      <a:pt x="2476" y="99"/>
                    </a:lnTo>
                    <a:lnTo>
                      <a:pt x="2487" y="91"/>
                    </a:lnTo>
                    <a:lnTo>
                      <a:pt x="2499" y="83"/>
                    </a:lnTo>
                    <a:lnTo>
                      <a:pt x="2509" y="75"/>
                    </a:lnTo>
                    <a:lnTo>
                      <a:pt x="2519" y="66"/>
                    </a:lnTo>
                    <a:lnTo>
                      <a:pt x="2530" y="58"/>
                    </a:lnTo>
                    <a:lnTo>
                      <a:pt x="2542" y="49"/>
                    </a:lnTo>
                    <a:lnTo>
                      <a:pt x="2561" y="42"/>
                    </a:lnTo>
                    <a:lnTo>
                      <a:pt x="2579" y="36"/>
                    </a:lnTo>
                    <a:lnTo>
                      <a:pt x="2597" y="30"/>
                    </a:lnTo>
                    <a:lnTo>
                      <a:pt x="2616" y="24"/>
                    </a:lnTo>
                    <a:lnTo>
                      <a:pt x="2635" y="20"/>
                    </a:lnTo>
                    <a:lnTo>
                      <a:pt x="2655" y="14"/>
                    </a:lnTo>
                    <a:lnTo>
                      <a:pt x="2675" y="7"/>
                    </a:lnTo>
                    <a:lnTo>
                      <a:pt x="2695" y="0"/>
                    </a:lnTo>
                    <a:lnTo>
                      <a:pt x="2698" y="11"/>
                    </a:lnTo>
                    <a:lnTo>
                      <a:pt x="2701" y="21"/>
                    </a:lnTo>
                    <a:lnTo>
                      <a:pt x="2703" y="31"/>
                    </a:lnTo>
                    <a:lnTo>
                      <a:pt x="2704" y="42"/>
                    </a:lnTo>
                    <a:lnTo>
                      <a:pt x="2705" y="51"/>
                    </a:lnTo>
                    <a:lnTo>
                      <a:pt x="2705" y="60"/>
                    </a:lnTo>
                    <a:lnTo>
                      <a:pt x="2704" y="69"/>
                    </a:lnTo>
                    <a:lnTo>
                      <a:pt x="2703" y="77"/>
                    </a:lnTo>
                    <a:lnTo>
                      <a:pt x="2719" y="76"/>
                    </a:lnTo>
                    <a:lnTo>
                      <a:pt x="2731" y="75"/>
                    </a:lnTo>
                    <a:lnTo>
                      <a:pt x="2742" y="71"/>
                    </a:lnTo>
                    <a:lnTo>
                      <a:pt x="2750" y="68"/>
                    </a:lnTo>
                    <a:lnTo>
                      <a:pt x="2759" y="65"/>
                    </a:lnTo>
                    <a:lnTo>
                      <a:pt x="2768" y="59"/>
                    </a:lnTo>
                    <a:lnTo>
                      <a:pt x="2779" y="54"/>
                    </a:lnTo>
                    <a:lnTo>
                      <a:pt x="2793" y="49"/>
                    </a:lnTo>
                    <a:lnTo>
                      <a:pt x="2798" y="58"/>
                    </a:lnTo>
                    <a:lnTo>
                      <a:pt x="2804" y="65"/>
                    </a:lnTo>
                    <a:lnTo>
                      <a:pt x="2811" y="69"/>
                    </a:lnTo>
                    <a:lnTo>
                      <a:pt x="2817" y="74"/>
                    </a:lnTo>
                    <a:lnTo>
                      <a:pt x="2823" y="76"/>
                    </a:lnTo>
                    <a:lnTo>
                      <a:pt x="2831" y="78"/>
                    </a:lnTo>
                    <a:lnTo>
                      <a:pt x="2838" y="80"/>
                    </a:lnTo>
                    <a:lnTo>
                      <a:pt x="2845" y="81"/>
                    </a:lnTo>
                    <a:lnTo>
                      <a:pt x="2859" y="82"/>
                    </a:lnTo>
                    <a:lnTo>
                      <a:pt x="2874" y="83"/>
                    </a:lnTo>
                    <a:lnTo>
                      <a:pt x="2879" y="83"/>
                    </a:lnTo>
                    <a:lnTo>
                      <a:pt x="2886" y="85"/>
                    </a:lnTo>
                    <a:lnTo>
                      <a:pt x="2892" y="88"/>
                    </a:lnTo>
                    <a:lnTo>
                      <a:pt x="2898" y="91"/>
                    </a:lnTo>
                    <a:lnTo>
                      <a:pt x="2905" y="98"/>
                    </a:lnTo>
                    <a:lnTo>
                      <a:pt x="2912" y="105"/>
                    </a:lnTo>
                    <a:lnTo>
                      <a:pt x="2918" y="113"/>
                    </a:lnTo>
                    <a:lnTo>
                      <a:pt x="2924" y="121"/>
                    </a:lnTo>
                    <a:lnTo>
                      <a:pt x="2929" y="129"/>
                    </a:lnTo>
                    <a:lnTo>
                      <a:pt x="2933" y="138"/>
                    </a:lnTo>
                    <a:lnTo>
                      <a:pt x="2937" y="147"/>
                    </a:lnTo>
                    <a:lnTo>
                      <a:pt x="2941" y="156"/>
                    </a:lnTo>
                    <a:lnTo>
                      <a:pt x="2946" y="176"/>
                    </a:lnTo>
                    <a:lnTo>
                      <a:pt x="2950" y="195"/>
                    </a:lnTo>
                    <a:lnTo>
                      <a:pt x="2953" y="216"/>
                    </a:lnTo>
                    <a:lnTo>
                      <a:pt x="2953" y="237"/>
                    </a:lnTo>
                    <a:lnTo>
                      <a:pt x="2937" y="238"/>
                    </a:lnTo>
                    <a:lnTo>
                      <a:pt x="2922" y="240"/>
                    </a:lnTo>
                    <a:lnTo>
                      <a:pt x="2908" y="244"/>
                    </a:lnTo>
                    <a:lnTo>
                      <a:pt x="2895" y="248"/>
                    </a:lnTo>
                    <a:lnTo>
                      <a:pt x="2884" y="254"/>
                    </a:lnTo>
                    <a:lnTo>
                      <a:pt x="2874" y="261"/>
                    </a:lnTo>
                    <a:lnTo>
                      <a:pt x="2863" y="269"/>
                    </a:lnTo>
                    <a:lnTo>
                      <a:pt x="2855" y="277"/>
                    </a:lnTo>
                    <a:lnTo>
                      <a:pt x="2848" y="287"/>
                    </a:lnTo>
                    <a:lnTo>
                      <a:pt x="2842" y="297"/>
                    </a:lnTo>
                    <a:lnTo>
                      <a:pt x="2836" y="308"/>
                    </a:lnTo>
                    <a:lnTo>
                      <a:pt x="2831" y="319"/>
                    </a:lnTo>
                    <a:lnTo>
                      <a:pt x="2828" y="332"/>
                    </a:lnTo>
                    <a:lnTo>
                      <a:pt x="2824" y="343"/>
                    </a:lnTo>
                    <a:lnTo>
                      <a:pt x="2822" y="357"/>
                    </a:lnTo>
                    <a:lnTo>
                      <a:pt x="2821" y="370"/>
                    </a:lnTo>
                    <a:lnTo>
                      <a:pt x="2822" y="383"/>
                    </a:lnTo>
                    <a:lnTo>
                      <a:pt x="2824" y="397"/>
                    </a:lnTo>
                    <a:lnTo>
                      <a:pt x="2828" y="411"/>
                    </a:lnTo>
                    <a:lnTo>
                      <a:pt x="2832" y="425"/>
                    </a:lnTo>
                    <a:lnTo>
                      <a:pt x="2845" y="451"/>
                    </a:lnTo>
                    <a:lnTo>
                      <a:pt x="2859" y="479"/>
                    </a:lnTo>
                    <a:lnTo>
                      <a:pt x="2866" y="492"/>
                    </a:lnTo>
                    <a:lnTo>
                      <a:pt x="2873" y="507"/>
                    </a:lnTo>
                    <a:lnTo>
                      <a:pt x="2879" y="522"/>
                    </a:lnTo>
                    <a:lnTo>
                      <a:pt x="2885" y="539"/>
                    </a:lnTo>
                    <a:lnTo>
                      <a:pt x="2890" y="555"/>
                    </a:lnTo>
                    <a:lnTo>
                      <a:pt x="2894" y="574"/>
                    </a:lnTo>
                    <a:lnTo>
                      <a:pt x="2897" y="593"/>
                    </a:lnTo>
                    <a:lnTo>
                      <a:pt x="2898" y="613"/>
                    </a:lnTo>
                    <a:lnTo>
                      <a:pt x="2821" y="613"/>
                    </a:lnTo>
                    <a:lnTo>
                      <a:pt x="2816" y="615"/>
                    </a:lnTo>
                    <a:lnTo>
                      <a:pt x="2812" y="619"/>
                    </a:lnTo>
                    <a:lnTo>
                      <a:pt x="2807" y="623"/>
                    </a:lnTo>
                    <a:lnTo>
                      <a:pt x="2803" y="629"/>
                    </a:lnTo>
                    <a:lnTo>
                      <a:pt x="2791" y="643"/>
                    </a:lnTo>
                    <a:lnTo>
                      <a:pt x="2782" y="659"/>
                    </a:lnTo>
                    <a:lnTo>
                      <a:pt x="2773" y="676"/>
                    </a:lnTo>
                    <a:lnTo>
                      <a:pt x="2765" y="693"/>
                    </a:lnTo>
                    <a:lnTo>
                      <a:pt x="2762" y="702"/>
                    </a:lnTo>
                    <a:lnTo>
                      <a:pt x="2760" y="710"/>
                    </a:lnTo>
                    <a:lnTo>
                      <a:pt x="2759" y="718"/>
                    </a:lnTo>
                    <a:lnTo>
                      <a:pt x="2758" y="725"/>
                    </a:lnTo>
                    <a:lnTo>
                      <a:pt x="3016" y="871"/>
                    </a:lnTo>
                    <a:lnTo>
                      <a:pt x="3020" y="871"/>
                    </a:lnTo>
                    <a:lnTo>
                      <a:pt x="3026" y="869"/>
                    </a:lnTo>
                    <a:lnTo>
                      <a:pt x="3031" y="865"/>
                    </a:lnTo>
                    <a:lnTo>
                      <a:pt x="3035" y="862"/>
                    </a:lnTo>
                    <a:lnTo>
                      <a:pt x="3044" y="851"/>
                    </a:lnTo>
                    <a:lnTo>
                      <a:pt x="3053" y="839"/>
                    </a:lnTo>
                    <a:lnTo>
                      <a:pt x="3059" y="824"/>
                    </a:lnTo>
                    <a:lnTo>
                      <a:pt x="3066" y="809"/>
                    </a:lnTo>
                    <a:lnTo>
                      <a:pt x="3073" y="794"/>
                    </a:lnTo>
                    <a:lnTo>
                      <a:pt x="3079" y="780"/>
                    </a:lnTo>
                    <a:lnTo>
                      <a:pt x="3061" y="775"/>
                    </a:lnTo>
                    <a:lnTo>
                      <a:pt x="3042" y="769"/>
                    </a:lnTo>
                    <a:lnTo>
                      <a:pt x="3026" y="761"/>
                    </a:lnTo>
                    <a:lnTo>
                      <a:pt x="3011" y="753"/>
                    </a:lnTo>
                    <a:lnTo>
                      <a:pt x="3004" y="748"/>
                    </a:lnTo>
                    <a:lnTo>
                      <a:pt x="2999" y="742"/>
                    </a:lnTo>
                    <a:lnTo>
                      <a:pt x="2994" y="738"/>
                    </a:lnTo>
                    <a:lnTo>
                      <a:pt x="2989" y="731"/>
                    </a:lnTo>
                    <a:lnTo>
                      <a:pt x="2986" y="725"/>
                    </a:lnTo>
                    <a:lnTo>
                      <a:pt x="2983" y="718"/>
                    </a:lnTo>
                    <a:lnTo>
                      <a:pt x="2981" y="711"/>
                    </a:lnTo>
                    <a:lnTo>
                      <a:pt x="2980" y="703"/>
                    </a:lnTo>
                    <a:lnTo>
                      <a:pt x="2984" y="703"/>
                    </a:lnTo>
                    <a:lnTo>
                      <a:pt x="2992" y="702"/>
                    </a:lnTo>
                    <a:lnTo>
                      <a:pt x="3003" y="701"/>
                    </a:lnTo>
                    <a:lnTo>
                      <a:pt x="3017" y="700"/>
                    </a:lnTo>
                    <a:lnTo>
                      <a:pt x="3030" y="699"/>
                    </a:lnTo>
                    <a:lnTo>
                      <a:pt x="3042" y="698"/>
                    </a:lnTo>
                    <a:lnTo>
                      <a:pt x="3053" y="697"/>
                    </a:lnTo>
                    <a:lnTo>
                      <a:pt x="3057" y="697"/>
                    </a:lnTo>
                    <a:lnTo>
                      <a:pt x="3066" y="692"/>
                    </a:lnTo>
                    <a:lnTo>
                      <a:pt x="3073" y="686"/>
                    </a:lnTo>
                    <a:lnTo>
                      <a:pt x="3080" y="678"/>
                    </a:lnTo>
                    <a:lnTo>
                      <a:pt x="3086" y="670"/>
                    </a:lnTo>
                    <a:lnTo>
                      <a:pt x="3095" y="651"/>
                    </a:lnTo>
                    <a:lnTo>
                      <a:pt x="3104" y="631"/>
                    </a:lnTo>
                    <a:lnTo>
                      <a:pt x="3108" y="621"/>
                    </a:lnTo>
                    <a:lnTo>
                      <a:pt x="3112" y="612"/>
                    </a:lnTo>
                    <a:lnTo>
                      <a:pt x="3118" y="604"/>
                    </a:lnTo>
                    <a:lnTo>
                      <a:pt x="3122" y="597"/>
                    </a:lnTo>
                    <a:lnTo>
                      <a:pt x="3129" y="591"/>
                    </a:lnTo>
                    <a:lnTo>
                      <a:pt x="3136" y="588"/>
                    </a:lnTo>
                    <a:lnTo>
                      <a:pt x="3141" y="586"/>
                    </a:lnTo>
                    <a:lnTo>
                      <a:pt x="3145" y="585"/>
                    </a:lnTo>
                    <a:lnTo>
                      <a:pt x="3150" y="585"/>
                    </a:lnTo>
                    <a:lnTo>
                      <a:pt x="3155" y="585"/>
                    </a:lnTo>
                    <a:lnTo>
                      <a:pt x="3164" y="586"/>
                    </a:lnTo>
                    <a:lnTo>
                      <a:pt x="3171" y="588"/>
                    </a:lnTo>
                    <a:lnTo>
                      <a:pt x="3177" y="591"/>
                    </a:lnTo>
                    <a:lnTo>
                      <a:pt x="3183" y="594"/>
                    </a:lnTo>
                    <a:lnTo>
                      <a:pt x="3189" y="599"/>
                    </a:lnTo>
                    <a:lnTo>
                      <a:pt x="3192" y="605"/>
                    </a:lnTo>
                    <a:lnTo>
                      <a:pt x="3197" y="611"/>
                    </a:lnTo>
                    <a:lnTo>
                      <a:pt x="3200" y="616"/>
                    </a:lnTo>
                    <a:lnTo>
                      <a:pt x="3206" y="630"/>
                    </a:lnTo>
                    <a:lnTo>
                      <a:pt x="3212" y="644"/>
                    </a:lnTo>
                    <a:lnTo>
                      <a:pt x="3218" y="658"/>
                    </a:lnTo>
                    <a:lnTo>
                      <a:pt x="3225" y="669"/>
                    </a:lnTo>
                    <a:lnTo>
                      <a:pt x="3238" y="683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24" name="Freeform 543"/>
              <p:cNvSpPr>
                <a:spLocks/>
              </p:cNvSpPr>
              <p:nvPr/>
            </p:nvSpPr>
            <p:spPr bwMode="auto">
              <a:xfrm>
                <a:off x="1849" y="898"/>
                <a:ext cx="77" cy="53"/>
              </a:xfrm>
              <a:custGeom>
                <a:avLst/>
                <a:gdLst>
                  <a:gd name="T0" fmla="*/ 1 w 417"/>
                  <a:gd name="T1" fmla="*/ 1 h 285"/>
                  <a:gd name="T2" fmla="*/ 1 w 417"/>
                  <a:gd name="T3" fmla="*/ 1 h 285"/>
                  <a:gd name="T4" fmla="*/ 0 w 417"/>
                  <a:gd name="T5" fmla="*/ 1 h 285"/>
                  <a:gd name="T6" fmla="*/ 0 w 417"/>
                  <a:gd name="T7" fmla="*/ 1 h 285"/>
                  <a:gd name="T8" fmla="*/ 0 w 417"/>
                  <a:gd name="T9" fmla="*/ 1 h 285"/>
                  <a:gd name="T10" fmla="*/ 0 w 417"/>
                  <a:gd name="T11" fmla="*/ 1 h 285"/>
                  <a:gd name="T12" fmla="*/ 0 w 417"/>
                  <a:gd name="T13" fmla="*/ 1 h 285"/>
                  <a:gd name="T14" fmla="*/ 0 w 417"/>
                  <a:gd name="T15" fmla="*/ 1 h 285"/>
                  <a:gd name="T16" fmla="*/ 0 w 417"/>
                  <a:gd name="T17" fmla="*/ 1 h 285"/>
                  <a:gd name="T18" fmla="*/ 0 w 417"/>
                  <a:gd name="T19" fmla="*/ 1 h 285"/>
                  <a:gd name="T20" fmla="*/ 0 w 417"/>
                  <a:gd name="T21" fmla="*/ 1 h 285"/>
                  <a:gd name="T22" fmla="*/ 0 w 417"/>
                  <a:gd name="T23" fmla="*/ 1 h 285"/>
                  <a:gd name="T24" fmla="*/ 0 w 417"/>
                  <a:gd name="T25" fmla="*/ 1 h 285"/>
                  <a:gd name="T26" fmla="*/ 0 w 417"/>
                  <a:gd name="T27" fmla="*/ 0 h 285"/>
                  <a:gd name="T28" fmla="*/ 0 w 417"/>
                  <a:gd name="T29" fmla="*/ 0 h 285"/>
                  <a:gd name="T30" fmla="*/ 0 w 417"/>
                  <a:gd name="T31" fmla="*/ 0 h 285"/>
                  <a:gd name="T32" fmla="*/ 0 w 417"/>
                  <a:gd name="T33" fmla="*/ 0 h 285"/>
                  <a:gd name="T34" fmla="*/ 1 w 417"/>
                  <a:gd name="T35" fmla="*/ 0 h 285"/>
                  <a:gd name="T36" fmla="*/ 1 w 417"/>
                  <a:gd name="T37" fmla="*/ 0 h 285"/>
                  <a:gd name="T38" fmla="*/ 1 w 417"/>
                  <a:gd name="T39" fmla="*/ 0 h 285"/>
                  <a:gd name="T40" fmla="*/ 1 w 417"/>
                  <a:gd name="T41" fmla="*/ 0 h 285"/>
                  <a:gd name="T42" fmla="*/ 1 w 417"/>
                  <a:gd name="T43" fmla="*/ 0 h 285"/>
                  <a:gd name="T44" fmla="*/ 1 w 417"/>
                  <a:gd name="T45" fmla="*/ 0 h 285"/>
                  <a:gd name="T46" fmla="*/ 2 w 417"/>
                  <a:gd name="T47" fmla="*/ 0 h 285"/>
                  <a:gd name="T48" fmla="*/ 2 w 417"/>
                  <a:gd name="T49" fmla="*/ 0 h 285"/>
                  <a:gd name="T50" fmla="*/ 2 w 417"/>
                  <a:gd name="T51" fmla="*/ 1 h 285"/>
                  <a:gd name="T52" fmla="*/ 2 w 417"/>
                  <a:gd name="T53" fmla="*/ 1 h 285"/>
                  <a:gd name="T54" fmla="*/ 2 w 417"/>
                  <a:gd name="T55" fmla="*/ 1 h 285"/>
                  <a:gd name="T56" fmla="*/ 2 w 417"/>
                  <a:gd name="T57" fmla="*/ 1 h 285"/>
                  <a:gd name="T58" fmla="*/ 3 w 417"/>
                  <a:gd name="T59" fmla="*/ 2 h 285"/>
                  <a:gd name="T60" fmla="*/ 2 w 417"/>
                  <a:gd name="T61" fmla="*/ 2 h 285"/>
                  <a:gd name="T62" fmla="*/ 2 w 417"/>
                  <a:gd name="T63" fmla="*/ 2 h 285"/>
                  <a:gd name="T64" fmla="*/ 2 w 417"/>
                  <a:gd name="T65" fmla="*/ 2 h 285"/>
                  <a:gd name="T66" fmla="*/ 2 w 417"/>
                  <a:gd name="T67" fmla="*/ 2 h 285"/>
                  <a:gd name="T68" fmla="*/ 1 w 417"/>
                  <a:gd name="T69" fmla="*/ 1 h 285"/>
                  <a:gd name="T70" fmla="*/ 1 w 417"/>
                  <a:gd name="T71" fmla="*/ 1 h 285"/>
                  <a:gd name="T72" fmla="*/ 1 w 417"/>
                  <a:gd name="T73" fmla="*/ 2 h 285"/>
                  <a:gd name="T74" fmla="*/ 1 w 417"/>
                  <a:gd name="T75" fmla="*/ 2 h 285"/>
                  <a:gd name="T76" fmla="*/ 1 w 417"/>
                  <a:gd name="T77" fmla="*/ 2 h 285"/>
                  <a:gd name="T78" fmla="*/ 1 w 417"/>
                  <a:gd name="T79" fmla="*/ 2 h 285"/>
                  <a:gd name="T80" fmla="*/ 1 w 417"/>
                  <a:gd name="T81" fmla="*/ 2 h 285"/>
                  <a:gd name="T82" fmla="*/ 1 w 417"/>
                  <a:gd name="T83" fmla="*/ 2 h 285"/>
                  <a:gd name="T84" fmla="*/ 1 w 417"/>
                  <a:gd name="T85" fmla="*/ 2 h 285"/>
                  <a:gd name="T86" fmla="*/ 1 w 417"/>
                  <a:gd name="T87" fmla="*/ 2 h 285"/>
                  <a:gd name="T88" fmla="*/ 1 w 417"/>
                  <a:gd name="T89" fmla="*/ 2 h 285"/>
                  <a:gd name="T90" fmla="*/ 1 w 417"/>
                  <a:gd name="T91" fmla="*/ 1 h 285"/>
                  <a:gd name="T92" fmla="*/ 1 w 417"/>
                  <a:gd name="T93" fmla="*/ 1 h 285"/>
                  <a:gd name="T94" fmla="*/ 1 w 417"/>
                  <a:gd name="T95" fmla="*/ 1 h 28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417"/>
                  <a:gd name="T145" fmla="*/ 0 h 285"/>
                  <a:gd name="T146" fmla="*/ 417 w 417"/>
                  <a:gd name="T147" fmla="*/ 285 h 28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417" h="285">
                    <a:moveTo>
                      <a:pt x="118" y="181"/>
                    </a:moveTo>
                    <a:lnTo>
                      <a:pt x="103" y="181"/>
                    </a:lnTo>
                    <a:lnTo>
                      <a:pt x="90" y="181"/>
                    </a:lnTo>
                    <a:lnTo>
                      <a:pt x="79" y="181"/>
                    </a:lnTo>
                    <a:lnTo>
                      <a:pt x="69" y="181"/>
                    </a:lnTo>
                    <a:lnTo>
                      <a:pt x="59" y="181"/>
                    </a:lnTo>
                    <a:lnTo>
                      <a:pt x="50" y="181"/>
                    </a:lnTo>
                    <a:lnTo>
                      <a:pt x="42" y="181"/>
                    </a:lnTo>
                    <a:lnTo>
                      <a:pt x="34" y="181"/>
                    </a:lnTo>
                    <a:lnTo>
                      <a:pt x="28" y="181"/>
                    </a:lnTo>
                    <a:lnTo>
                      <a:pt x="23" y="181"/>
                    </a:lnTo>
                    <a:lnTo>
                      <a:pt x="18" y="180"/>
                    </a:lnTo>
                    <a:lnTo>
                      <a:pt x="15" y="178"/>
                    </a:lnTo>
                    <a:lnTo>
                      <a:pt x="11" y="175"/>
                    </a:lnTo>
                    <a:lnTo>
                      <a:pt x="8" y="173"/>
                    </a:lnTo>
                    <a:lnTo>
                      <a:pt x="5" y="171"/>
                    </a:lnTo>
                    <a:lnTo>
                      <a:pt x="4" y="167"/>
                    </a:lnTo>
                    <a:lnTo>
                      <a:pt x="2" y="160"/>
                    </a:lnTo>
                    <a:lnTo>
                      <a:pt x="1" y="152"/>
                    </a:lnTo>
                    <a:lnTo>
                      <a:pt x="0" y="143"/>
                    </a:lnTo>
                    <a:lnTo>
                      <a:pt x="0" y="133"/>
                    </a:lnTo>
                    <a:lnTo>
                      <a:pt x="1" y="123"/>
                    </a:lnTo>
                    <a:lnTo>
                      <a:pt x="2" y="111"/>
                    </a:lnTo>
                    <a:lnTo>
                      <a:pt x="4" y="100"/>
                    </a:lnTo>
                    <a:lnTo>
                      <a:pt x="8" y="88"/>
                    </a:lnTo>
                    <a:lnTo>
                      <a:pt x="12" y="78"/>
                    </a:lnTo>
                    <a:lnTo>
                      <a:pt x="18" y="66"/>
                    </a:lnTo>
                    <a:lnTo>
                      <a:pt x="24" y="56"/>
                    </a:lnTo>
                    <a:lnTo>
                      <a:pt x="31" y="46"/>
                    </a:lnTo>
                    <a:lnTo>
                      <a:pt x="38" y="37"/>
                    </a:lnTo>
                    <a:lnTo>
                      <a:pt x="46" y="27"/>
                    </a:lnTo>
                    <a:lnTo>
                      <a:pt x="54" y="19"/>
                    </a:lnTo>
                    <a:lnTo>
                      <a:pt x="62" y="14"/>
                    </a:lnTo>
                    <a:lnTo>
                      <a:pt x="70" y="8"/>
                    </a:lnTo>
                    <a:lnTo>
                      <a:pt x="79" y="3"/>
                    </a:lnTo>
                    <a:lnTo>
                      <a:pt x="88" y="1"/>
                    </a:lnTo>
                    <a:lnTo>
                      <a:pt x="97" y="0"/>
                    </a:lnTo>
                    <a:lnTo>
                      <a:pt x="118" y="1"/>
                    </a:lnTo>
                    <a:lnTo>
                      <a:pt x="136" y="2"/>
                    </a:lnTo>
                    <a:lnTo>
                      <a:pt x="155" y="5"/>
                    </a:lnTo>
                    <a:lnTo>
                      <a:pt x="172" y="7"/>
                    </a:lnTo>
                    <a:lnTo>
                      <a:pt x="188" y="11"/>
                    </a:lnTo>
                    <a:lnTo>
                      <a:pt x="203" y="16"/>
                    </a:lnTo>
                    <a:lnTo>
                      <a:pt x="216" y="21"/>
                    </a:lnTo>
                    <a:lnTo>
                      <a:pt x="230" y="26"/>
                    </a:lnTo>
                    <a:lnTo>
                      <a:pt x="242" y="33"/>
                    </a:lnTo>
                    <a:lnTo>
                      <a:pt x="253" y="40"/>
                    </a:lnTo>
                    <a:lnTo>
                      <a:pt x="265" y="47"/>
                    </a:lnTo>
                    <a:lnTo>
                      <a:pt x="275" y="56"/>
                    </a:lnTo>
                    <a:lnTo>
                      <a:pt x="284" y="64"/>
                    </a:lnTo>
                    <a:lnTo>
                      <a:pt x="293" y="73"/>
                    </a:lnTo>
                    <a:lnTo>
                      <a:pt x="301" y="82"/>
                    </a:lnTo>
                    <a:lnTo>
                      <a:pt x="309" y="93"/>
                    </a:lnTo>
                    <a:lnTo>
                      <a:pt x="324" y="113"/>
                    </a:lnTo>
                    <a:lnTo>
                      <a:pt x="338" y="136"/>
                    </a:lnTo>
                    <a:lnTo>
                      <a:pt x="352" y="159"/>
                    </a:lnTo>
                    <a:lnTo>
                      <a:pt x="363" y="182"/>
                    </a:lnTo>
                    <a:lnTo>
                      <a:pt x="376" y="206"/>
                    </a:lnTo>
                    <a:lnTo>
                      <a:pt x="390" y="232"/>
                    </a:lnTo>
                    <a:lnTo>
                      <a:pt x="402" y="256"/>
                    </a:lnTo>
                    <a:lnTo>
                      <a:pt x="417" y="279"/>
                    </a:lnTo>
                    <a:lnTo>
                      <a:pt x="355" y="279"/>
                    </a:lnTo>
                    <a:lnTo>
                      <a:pt x="346" y="274"/>
                    </a:lnTo>
                    <a:lnTo>
                      <a:pt x="335" y="267"/>
                    </a:lnTo>
                    <a:lnTo>
                      <a:pt x="322" y="261"/>
                    </a:lnTo>
                    <a:lnTo>
                      <a:pt x="308" y="256"/>
                    </a:lnTo>
                    <a:lnTo>
                      <a:pt x="293" y="250"/>
                    </a:lnTo>
                    <a:lnTo>
                      <a:pt x="278" y="245"/>
                    </a:lnTo>
                    <a:lnTo>
                      <a:pt x="265" y="241"/>
                    </a:lnTo>
                    <a:lnTo>
                      <a:pt x="251" y="237"/>
                    </a:lnTo>
                    <a:lnTo>
                      <a:pt x="246" y="237"/>
                    </a:lnTo>
                    <a:lnTo>
                      <a:pt x="243" y="240"/>
                    </a:lnTo>
                    <a:lnTo>
                      <a:pt x="239" y="242"/>
                    </a:lnTo>
                    <a:lnTo>
                      <a:pt x="236" y="245"/>
                    </a:lnTo>
                    <a:lnTo>
                      <a:pt x="229" y="252"/>
                    </a:lnTo>
                    <a:lnTo>
                      <a:pt x="222" y="261"/>
                    </a:lnTo>
                    <a:lnTo>
                      <a:pt x="214" y="271"/>
                    </a:lnTo>
                    <a:lnTo>
                      <a:pt x="206" y="279"/>
                    </a:lnTo>
                    <a:lnTo>
                      <a:pt x="203" y="282"/>
                    </a:lnTo>
                    <a:lnTo>
                      <a:pt x="198" y="284"/>
                    </a:lnTo>
                    <a:lnTo>
                      <a:pt x="192" y="285"/>
                    </a:lnTo>
                    <a:lnTo>
                      <a:pt x="188" y="285"/>
                    </a:lnTo>
                    <a:lnTo>
                      <a:pt x="179" y="285"/>
                    </a:lnTo>
                    <a:lnTo>
                      <a:pt x="171" y="283"/>
                    </a:lnTo>
                    <a:lnTo>
                      <a:pt x="164" y="280"/>
                    </a:lnTo>
                    <a:lnTo>
                      <a:pt x="157" y="275"/>
                    </a:lnTo>
                    <a:lnTo>
                      <a:pt x="150" y="271"/>
                    </a:lnTo>
                    <a:lnTo>
                      <a:pt x="144" y="264"/>
                    </a:lnTo>
                    <a:lnTo>
                      <a:pt x="140" y="257"/>
                    </a:lnTo>
                    <a:lnTo>
                      <a:pt x="135" y="250"/>
                    </a:lnTo>
                    <a:lnTo>
                      <a:pt x="130" y="242"/>
                    </a:lnTo>
                    <a:lnTo>
                      <a:pt x="127" y="233"/>
                    </a:lnTo>
                    <a:lnTo>
                      <a:pt x="125" y="225"/>
                    </a:lnTo>
                    <a:lnTo>
                      <a:pt x="122" y="216"/>
                    </a:lnTo>
                    <a:lnTo>
                      <a:pt x="119" y="198"/>
                    </a:lnTo>
                    <a:lnTo>
                      <a:pt x="118" y="181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25" name="Freeform 544"/>
              <p:cNvSpPr>
                <a:spLocks/>
              </p:cNvSpPr>
              <p:nvPr/>
            </p:nvSpPr>
            <p:spPr bwMode="auto">
              <a:xfrm>
                <a:off x="2384" y="817"/>
                <a:ext cx="157" cy="196"/>
              </a:xfrm>
              <a:custGeom>
                <a:avLst/>
                <a:gdLst>
                  <a:gd name="T0" fmla="*/ 5 w 846"/>
                  <a:gd name="T1" fmla="*/ 6 h 1060"/>
                  <a:gd name="T2" fmla="*/ 5 w 846"/>
                  <a:gd name="T3" fmla="*/ 6 h 1060"/>
                  <a:gd name="T4" fmla="*/ 5 w 846"/>
                  <a:gd name="T5" fmla="*/ 5 h 1060"/>
                  <a:gd name="T6" fmla="*/ 4 w 846"/>
                  <a:gd name="T7" fmla="*/ 5 h 1060"/>
                  <a:gd name="T8" fmla="*/ 4 w 846"/>
                  <a:gd name="T9" fmla="*/ 5 h 1060"/>
                  <a:gd name="T10" fmla="*/ 3 w 846"/>
                  <a:gd name="T11" fmla="*/ 6 h 1060"/>
                  <a:gd name="T12" fmla="*/ 2 w 846"/>
                  <a:gd name="T13" fmla="*/ 6 h 1060"/>
                  <a:gd name="T14" fmla="*/ 3 w 846"/>
                  <a:gd name="T15" fmla="*/ 7 h 1060"/>
                  <a:gd name="T16" fmla="*/ 2 w 846"/>
                  <a:gd name="T17" fmla="*/ 7 h 1060"/>
                  <a:gd name="T18" fmla="*/ 2 w 846"/>
                  <a:gd name="T19" fmla="*/ 6 h 1060"/>
                  <a:gd name="T20" fmla="*/ 1 w 846"/>
                  <a:gd name="T21" fmla="*/ 6 h 1060"/>
                  <a:gd name="T22" fmla="*/ 1 w 846"/>
                  <a:gd name="T23" fmla="*/ 6 h 1060"/>
                  <a:gd name="T24" fmla="*/ 0 w 846"/>
                  <a:gd name="T25" fmla="*/ 6 h 1060"/>
                  <a:gd name="T26" fmla="*/ 0 w 846"/>
                  <a:gd name="T27" fmla="*/ 5 h 1060"/>
                  <a:gd name="T28" fmla="*/ 1 w 846"/>
                  <a:gd name="T29" fmla="*/ 5 h 1060"/>
                  <a:gd name="T30" fmla="*/ 1 w 846"/>
                  <a:gd name="T31" fmla="*/ 4 h 1060"/>
                  <a:gd name="T32" fmla="*/ 1 w 846"/>
                  <a:gd name="T33" fmla="*/ 4 h 1060"/>
                  <a:gd name="T34" fmla="*/ 1 w 846"/>
                  <a:gd name="T35" fmla="*/ 4 h 1060"/>
                  <a:gd name="T36" fmla="*/ 1 w 846"/>
                  <a:gd name="T37" fmla="*/ 4 h 1060"/>
                  <a:gd name="T38" fmla="*/ 1 w 846"/>
                  <a:gd name="T39" fmla="*/ 3 h 1060"/>
                  <a:gd name="T40" fmla="*/ 1 w 846"/>
                  <a:gd name="T41" fmla="*/ 3 h 1060"/>
                  <a:gd name="T42" fmla="*/ 0 w 846"/>
                  <a:gd name="T43" fmla="*/ 2 h 1060"/>
                  <a:gd name="T44" fmla="*/ 1 w 846"/>
                  <a:gd name="T45" fmla="*/ 2 h 1060"/>
                  <a:gd name="T46" fmla="*/ 1 w 846"/>
                  <a:gd name="T47" fmla="*/ 2 h 1060"/>
                  <a:gd name="T48" fmla="*/ 1 w 846"/>
                  <a:gd name="T49" fmla="*/ 2 h 1060"/>
                  <a:gd name="T50" fmla="*/ 2 w 846"/>
                  <a:gd name="T51" fmla="*/ 2 h 1060"/>
                  <a:gd name="T52" fmla="*/ 2 w 846"/>
                  <a:gd name="T53" fmla="*/ 2 h 1060"/>
                  <a:gd name="T54" fmla="*/ 2 w 846"/>
                  <a:gd name="T55" fmla="*/ 2 h 1060"/>
                  <a:gd name="T56" fmla="*/ 2 w 846"/>
                  <a:gd name="T57" fmla="*/ 2 h 1060"/>
                  <a:gd name="T58" fmla="*/ 3 w 846"/>
                  <a:gd name="T59" fmla="*/ 3 h 1060"/>
                  <a:gd name="T60" fmla="*/ 3 w 846"/>
                  <a:gd name="T61" fmla="*/ 3 h 1060"/>
                  <a:gd name="T62" fmla="*/ 3 w 846"/>
                  <a:gd name="T63" fmla="*/ 3 h 1060"/>
                  <a:gd name="T64" fmla="*/ 3 w 846"/>
                  <a:gd name="T65" fmla="*/ 2 h 1060"/>
                  <a:gd name="T66" fmla="*/ 3 w 846"/>
                  <a:gd name="T67" fmla="*/ 2 h 1060"/>
                  <a:gd name="T68" fmla="*/ 2 w 846"/>
                  <a:gd name="T69" fmla="*/ 1 h 1060"/>
                  <a:gd name="T70" fmla="*/ 2 w 846"/>
                  <a:gd name="T71" fmla="*/ 1 h 1060"/>
                  <a:gd name="T72" fmla="*/ 1 w 846"/>
                  <a:gd name="T73" fmla="*/ 2 h 1060"/>
                  <a:gd name="T74" fmla="*/ 1 w 846"/>
                  <a:gd name="T75" fmla="*/ 1 h 1060"/>
                  <a:gd name="T76" fmla="*/ 1 w 846"/>
                  <a:gd name="T77" fmla="*/ 1 h 1060"/>
                  <a:gd name="T78" fmla="*/ 1 w 846"/>
                  <a:gd name="T79" fmla="*/ 1 h 1060"/>
                  <a:gd name="T80" fmla="*/ 1 w 846"/>
                  <a:gd name="T81" fmla="*/ 0 h 1060"/>
                  <a:gd name="T82" fmla="*/ 2 w 846"/>
                  <a:gd name="T83" fmla="*/ 0 h 1060"/>
                  <a:gd name="T84" fmla="*/ 2 w 846"/>
                  <a:gd name="T85" fmla="*/ 1 h 1060"/>
                  <a:gd name="T86" fmla="*/ 2 w 846"/>
                  <a:gd name="T87" fmla="*/ 1 h 1060"/>
                  <a:gd name="T88" fmla="*/ 3 w 846"/>
                  <a:gd name="T89" fmla="*/ 1 h 1060"/>
                  <a:gd name="T90" fmla="*/ 3 w 846"/>
                  <a:gd name="T91" fmla="*/ 2 h 1060"/>
                  <a:gd name="T92" fmla="*/ 4 w 846"/>
                  <a:gd name="T93" fmla="*/ 1 h 1060"/>
                  <a:gd name="T94" fmla="*/ 4 w 846"/>
                  <a:gd name="T95" fmla="*/ 2 h 1060"/>
                  <a:gd name="T96" fmla="*/ 5 w 846"/>
                  <a:gd name="T97" fmla="*/ 2 h 1060"/>
                  <a:gd name="T98" fmla="*/ 5 w 846"/>
                  <a:gd name="T99" fmla="*/ 2 h 1060"/>
                  <a:gd name="T100" fmla="*/ 4 w 846"/>
                  <a:gd name="T101" fmla="*/ 3 h 1060"/>
                  <a:gd name="T102" fmla="*/ 4 w 846"/>
                  <a:gd name="T103" fmla="*/ 3 h 1060"/>
                  <a:gd name="T104" fmla="*/ 4 w 846"/>
                  <a:gd name="T105" fmla="*/ 4 h 1060"/>
                  <a:gd name="T106" fmla="*/ 4 w 846"/>
                  <a:gd name="T107" fmla="*/ 4 h 1060"/>
                  <a:gd name="T108" fmla="*/ 5 w 846"/>
                  <a:gd name="T109" fmla="*/ 4 h 1060"/>
                  <a:gd name="T110" fmla="*/ 5 w 846"/>
                  <a:gd name="T111" fmla="*/ 5 h 1060"/>
                  <a:gd name="T112" fmla="*/ 5 w 846"/>
                  <a:gd name="T113" fmla="*/ 5 h 1060"/>
                  <a:gd name="T114" fmla="*/ 5 w 846"/>
                  <a:gd name="T115" fmla="*/ 6 h 106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46"/>
                  <a:gd name="T175" fmla="*/ 0 h 1060"/>
                  <a:gd name="T176" fmla="*/ 846 w 846"/>
                  <a:gd name="T177" fmla="*/ 1060 h 106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46" h="1060">
                    <a:moveTo>
                      <a:pt x="841" y="947"/>
                    </a:moveTo>
                    <a:lnTo>
                      <a:pt x="833" y="941"/>
                    </a:lnTo>
                    <a:lnTo>
                      <a:pt x="824" y="937"/>
                    </a:lnTo>
                    <a:lnTo>
                      <a:pt x="813" y="932"/>
                    </a:lnTo>
                    <a:lnTo>
                      <a:pt x="801" y="928"/>
                    </a:lnTo>
                    <a:lnTo>
                      <a:pt x="788" y="924"/>
                    </a:lnTo>
                    <a:lnTo>
                      <a:pt x="774" y="922"/>
                    </a:lnTo>
                    <a:lnTo>
                      <a:pt x="760" y="920"/>
                    </a:lnTo>
                    <a:lnTo>
                      <a:pt x="744" y="920"/>
                    </a:lnTo>
                    <a:lnTo>
                      <a:pt x="745" y="910"/>
                    </a:lnTo>
                    <a:lnTo>
                      <a:pt x="745" y="902"/>
                    </a:lnTo>
                    <a:lnTo>
                      <a:pt x="747" y="896"/>
                    </a:lnTo>
                    <a:lnTo>
                      <a:pt x="749" y="889"/>
                    </a:lnTo>
                    <a:lnTo>
                      <a:pt x="753" y="877"/>
                    </a:lnTo>
                    <a:lnTo>
                      <a:pt x="759" y="867"/>
                    </a:lnTo>
                    <a:lnTo>
                      <a:pt x="765" y="859"/>
                    </a:lnTo>
                    <a:lnTo>
                      <a:pt x="770" y="851"/>
                    </a:lnTo>
                    <a:lnTo>
                      <a:pt x="776" y="843"/>
                    </a:lnTo>
                    <a:lnTo>
                      <a:pt x="780" y="836"/>
                    </a:lnTo>
                    <a:lnTo>
                      <a:pt x="763" y="823"/>
                    </a:lnTo>
                    <a:lnTo>
                      <a:pt x="749" y="814"/>
                    </a:lnTo>
                    <a:lnTo>
                      <a:pt x="734" y="807"/>
                    </a:lnTo>
                    <a:lnTo>
                      <a:pt x="719" y="801"/>
                    </a:lnTo>
                    <a:lnTo>
                      <a:pt x="704" y="798"/>
                    </a:lnTo>
                    <a:lnTo>
                      <a:pt x="688" y="796"/>
                    </a:lnTo>
                    <a:lnTo>
                      <a:pt x="672" y="795"/>
                    </a:lnTo>
                    <a:lnTo>
                      <a:pt x="653" y="793"/>
                    </a:lnTo>
                    <a:lnTo>
                      <a:pt x="639" y="793"/>
                    </a:lnTo>
                    <a:lnTo>
                      <a:pt x="624" y="795"/>
                    </a:lnTo>
                    <a:lnTo>
                      <a:pt x="610" y="797"/>
                    </a:lnTo>
                    <a:lnTo>
                      <a:pt x="597" y="798"/>
                    </a:lnTo>
                    <a:lnTo>
                      <a:pt x="585" y="801"/>
                    </a:lnTo>
                    <a:lnTo>
                      <a:pt x="572" y="805"/>
                    </a:lnTo>
                    <a:lnTo>
                      <a:pt x="561" y="808"/>
                    </a:lnTo>
                    <a:lnTo>
                      <a:pt x="550" y="812"/>
                    </a:lnTo>
                    <a:lnTo>
                      <a:pt x="530" y="822"/>
                    </a:lnTo>
                    <a:lnTo>
                      <a:pt x="511" y="832"/>
                    </a:lnTo>
                    <a:lnTo>
                      <a:pt x="494" y="845"/>
                    </a:lnTo>
                    <a:lnTo>
                      <a:pt x="477" y="858"/>
                    </a:lnTo>
                    <a:lnTo>
                      <a:pt x="446" y="886"/>
                    </a:lnTo>
                    <a:lnTo>
                      <a:pt x="416" y="917"/>
                    </a:lnTo>
                    <a:lnTo>
                      <a:pt x="400" y="932"/>
                    </a:lnTo>
                    <a:lnTo>
                      <a:pt x="384" y="947"/>
                    </a:lnTo>
                    <a:lnTo>
                      <a:pt x="367" y="961"/>
                    </a:lnTo>
                    <a:lnTo>
                      <a:pt x="347" y="975"/>
                    </a:lnTo>
                    <a:lnTo>
                      <a:pt x="355" y="985"/>
                    </a:lnTo>
                    <a:lnTo>
                      <a:pt x="364" y="993"/>
                    </a:lnTo>
                    <a:lnTo>
                      <a:pt x="374" y="1001"/>
                    </a:lnTo>
                    <a:lnTo>
                      <a:pt x="383" y="1008"/>
                    </a:lnTo>
                    <a:lnTo>
                      <a:pt x="393" y="1014"/>
                    </a:lnTo>
                    <a:lnTo>
                      <a:pt x="403" y="1019"/>
                    </a:lnTo>
                    <a:lnTo>
                      <a:pt x="414" y="1025"/>
                    </a:lnTo>
                    <a:lnTo>
                      <a:pt x="424" y="1031"/>
                    </a:lnTo>
                    <a:lnTo>
                      <a:pt x="416" y="1035"/>
                    </a:lnTo>
                    <a:lnTo>
                      <a:pt x="407" y="1041"/>
                    </a:lnTo>
                    <a:lnTo>
                      <a:pt x="398" y="1047"/>
                    </a:lnTo>
                    <a:lnTo>
                      <a:pt x="387" y="1053"/>
                    </a:lnTo>
                    <a:lnTo>
                      <a:pt x="377" y="1056"/>
                    </a:lnTo>
                    <a:lnTo>
                      <a:pt x="366" y="1058"/>
                    </a:lnTo>
                    <a:lnTo>
                      <a:pt x="353" y="1060"/>
                    </a:lnTo>
                    <a:lnTo>
                      <a:pt x="340" y="1058"/>
                    </a:lnTo>
                    <a:lnTo>
                      <a:pt x="329" y="1058"/>
                    </a:lnTo>
                    <a:lnTo>
                      <a:pt x="320" y="1056"/>
                    </a:lnTo>
                    <a:lnTo>
                      <a:pt x="311" y="1054"/>
                    </a:lnTo>
                    <a:lnTo>
                      <a:pt x="303" y="1051"/>
                    </a:lnTo>
                    <a:lnTo>
                      <a:pt x="297" y="1048"/>
                    </a:lnTo>
                    <a:lnTo>
                      <a:pt x="291" y="1043"/>
                    </a:lnTo>
                    <a:lnTo>
                      <a:pt x="285" y="1039"/>
                    </a:lnTo>
                    <a:lnTo>
                      <a:pt x="281" y="1033"/>
                    </a:lnTo>
                    <a:lnTo>
                      <a:pt x="275" y="1022"/>
                    </a:lnTo>
                    <a:lnTo>
                      <a:pt x="270" y="1008"/>
                    </a:lnTo>
                    <a:lnTo>
                      <a:pt x="267" y="995"/>
                    </a:lnTo>
                    <a:lnTo>
                      <a:pt x="264" y="982"/>
                    </a:lnTo>
                    <a:lnTo>
                      <a:pt x="259" y="984"/>
                    </a:lnTo>
                    <a:lnTo>
                      <a:pt x="253" y="985"/>
                    </a:lnTo>
                    <a:lnTo>
                      <a:pt x="249" y="985"/>
                    </a:lnTo>
                    <a:lnTo>
                      <a:pt x="244" y="984"/>
                    </a:lnTo>
                    <a:lnTo>
                      <a:pt x="240" y="984"/>
                    </a:lnTo>
                    <a:lnTo>
                      <a:pt x="236" y="983"/>
                    </a:lnTo>
                    <a:lnTo>
                      <a:pt x="231" y="982"/>
                    </a:lnTo>
                    <a:lnTo>
                      <a:pt x="229" y="982"/>
                    </a:lnTo>
                    <a:lnTo>
                      <a:pt x="214" y="980"/>
                    </a:lnTo>
                    <a:lnTo>
                      <a:pt x="199" y="978"/>
                    </a:lnTo>
                    <a:lnTo>
                      <a:pt x="183" y="974"/>
                    </a:lnTo>
                    <a:lnTo>
                      <a:pt x="167" y="967"/>
                    </a:lnTo>
                    <a:lnTo>
                      <a:pt x="150" y="959"/>
                    </a:lnTo>
                    <a:lnTo>
                      <a:pt x="134" y="949"/>
                    </a:lnTo>
                    <a:lnTo>
                      <a:pt x="117" y="939"/>
                    </a:lnTo>
                    <a:lnTo>
                      <a:pt x="101" y="929"/>
                    </a:lnTo>
                    <a:lnTo>
                      <a:pt x="86" y="917"/>
                    </a:lnTo>
                    <a:lnTo>
                      <a:pt x="70" y="905"/>
                    </a:lnTo>
                    <a:lnTo>
                      <a:pt x="56" y="892"/>
                    </a:lnTo>
                    <a:lnTo>
                      <a:pt x="42" y="879"/>
                    </a:lnTo>
                    <a:lnTo>
                      <a:pt x="30" y="866"/>
                    </a:lnTo>
                    <a:lnTo>
                      <a:pt x="18" y="853"/>
                    </a:lnTo>
                    <a:lnTo>
                      <a:pt x="8" y="840"/>
                    </a:lnTo>
                    <a:lnTo>
                      <a:pt x="0" y="829"/>
                    </a:lnTo>
                    <a:lnTo>
                      <a:pt x="0" y="773"/>
                    </a:lnTo>
                    <a:lnTo>
                      <a:pt x="29" y="768"/>
                    </a:lnTo>
                    <a:lnTo>
                      <a:pt x="58" y="766"/>
                    </a:lnTo>
                    <a:lnTo>
                      <a:pt x="88" y="762"/>
                    </a:lnTo>
                    <a:lnTo>
                      <a:pt x="115" y="758"/>
                    </a:lnTo>
                    <a:lnTo>
                      <a:pt x="127" y="754"/>
                    </a:lnTo>
                    <a:lnTo>
                      <a:pt x="139" y="750"/>
                    </a:lnTo>
                    <a:lnTo>
                      <a:pt x="149" y="745"/>
                    </a:lnTo>
                    <a:lnTo>
                      <a:pt x="157" y="738"/>
                    </a:lnTo>
                    <a:lnTo>
                      <a:pt x="160" y="735"/>
                    </a:lnTo>
                    <a:lnTo>
                      <a:pt x="164" y="730"/>
                    </a:lnTo>
                    <a:lnTo>
                      <a:pt x="167" y="726"/>
                    </a:lnTo>
                    <a:lnTo>
                      <a:pt x="170" y="721"/>
                    </a:lnTo>
                    <a:lnTo>
                      <a:pt x="171" y="715"/>
                    </a:lnTo>
                    <a:lnTo>
                      <a:pt x="172" y="710"/>
                    </a:lnTo>
                    <a:lnTo>
                      <a:pt x="173" y="703"/>
                    </a:lnTo>
                    <a:lnTo>
                      <a:pt x="173" y="696"/>
                    </a:lnTo>
                    <a:lnTo>
                      <a:pt x="173" y="683"/>
                    </a:lnTo>
                    <a:lnTo>
                      <a:pt x="171" y="672"/>
                    </a:lnTo>
                    <a:lnTo>
                      <a:pt x="167" y="662"/>
                    </a:lnTo>
                    <a:lnTo>
                      <a:pt x="164" y="654"/>
                    </a:lnTo>
                    <a:lnTo>
                      <a:pt x="158" y="648"/>
                    </a:lnTo>
                    <a:lnTo>
                      <a:pt x="152" y="643"/>
                    </a:lnTo>
                    <a:lnTo>
                      <a:pt x="144" y="639"/>
                    </a:lnTo>
                    <a:lnTo>
                      <a:pt x="136" y="636"/>
                    </a:lnTo>
                    <a:lnTo>
                      <a:pt x="128" y="634"/>
                    </a:lnTo>
                    <a:lnTo>
                      <a:pt x="118" y="633"/>
                    </a:lnTo>
                    <a:lnTo>
                      <a:pt x="108" y="633"/>
                    </a:lnTo>
                    <a:lnTo>
                      <a:pt x="97" y="633"/>
                    </a:lnTo>
                    <a:lnTo>
                      <a:pt x="73" y="633"/>
                    </a:lnTo>
                    <a:lnTo>
                      <a:pt x="48" y="634"/>
                    </a:lnTo>
                    <a:lnTo>
                      <a:pt x="48" y="578"/>
                    </a:lnTo>
                    <a:lnTo>
                      <a:pt x="60" y="573"/>
                    </a:lnTo>
                    <a:lnTo>
                      <a:pt x="71" y="569"/>
                    </a:lnTo>
                    <a:lnTo>
                      <a:pt x="82" y="564"/>
                    </a:lnTo>
                    <a:lnTo>
                      <a:pt x="93" y="558"/>
                    </a:lnTo>
                    <a:lnTo>
                      <a:pt x="103" y="551"/>
                    </a:lnTo>
                    <a:lnTo>
                      <a:pt x="113" y="545"/>
                    </a:lnTo>
                    <a:lnTo>
                      <a:pt x="123" y="538"/>
                    </a:lnTo>
                    <a:lnTo>
                      <a:pt x="131" y="530"/>
                    </a:lnTo>
                    <a:lnTo>
                      <a:pt x="139" y="522"/>
                    </a:lnTo>
                    <a:lnTo>
                      <a:pt x="145" y="512"/>
                    </a:lnTo>
                    <a:lnTo>
                      <a:pt x="151" y="503"/>
                    </a:lnTo>
                    <a:lnTo>
                      <a:pt x="157" y="493"/>
                    </a:lnTo>
                    <a:lnTo>
                      <a:pt x="160" y="481"/>
                    </a:lnTo>
                    <a:lnTo>
                      <a:pt x="164" y="470"/>
                    </a:lnTo>
                    <a:lnTo>
                      <a:pt x="166" y="459"/>
                    </a:lnTo>
                    <a:lnTo>
                      <a:pt x="166" y="446"/>
                    </a:lnTo>
                    <a:lnTo>
                      <a:pt x="89" y="438"/>
                    </a:lnTo>
                    <a:lnTo>
                      <a:pt x="85" y="437"/>
                    </a:lnTo>
                    <a:lnTo>
                      <a:pt x="79" y="433"/>
                    </a:lnTo>
                    <a:lnTo>
                      <a:pt x="74" y="428"/>
                    </a:lnTo>
                    <a:lnTo>
                      <a:pt x="70" y="422"/>
                    </a:lnTo>
                    <a:lnTo>
                      <a:pt x="60" y="408"/>
                    </a:lnTo>
                    <a:lnTo>
                      <a:pt x="51" y="392"/>
                    </a:lnTo>
                    <a:lnTo>
                      <a:pt x="45" y="376"/>
                    </a:lnTo>
                    <a:lnTo>
                      <a:pt x="39" y="361"/>
                    </a:lnTo>
                    <a:lnTo>
                      <a:pt x="35" y="348"/>
                    </a:lnTo>
                    <a:lnTo>
                      <a:pt x="34" y="340"/>
                    </a:lnTo>
                    <a:lnTo>
                      <a:pt x="49" y="340"/>
                    </a:lnTo>
                    <a:lnTo>
                      <a:pt x="64" y="340"/>
                    </a:lnTo>
                    <a:lnTo>
                      <a:pt x="79" y="339"/>
                    </a:lnTo>
                    <a:lnTo>
                      <a:pt x="94" y="337"/>
                    </a:lnTo>
                    <a:lnTo>
                      <a:pt x="108" y="336"/>
                    </a:lnTo>
                    <a:lnTo>
                      <a:pt x="123" y="335"/>
                    </a:lnTo>
                    <a:lnTo>
                      <a:pt x="137" y="335"/>
                    </a:lnTo>
                    <a:lnTo>
                      <a:pt x="152" y="334"/>
                    </a:lnTo>
                    <a:lnTo>
                      <a:pt x="159" y="335"/>
                    </a:lnTo>
                    <a:lnTo>
                      <a:pt x="164" y="336"/>
                    </a:lnTo>
                    <a:lnTo>
                      <a:pt x="170" y="338"/>
                    </a:lnTo>
                    <a:lnTo>
                      <a:pt x="174" y="342"/>
                    </a:lnTo>
                    <a:lnTo>
                      <a:pt x="183" y="350"/>
                    </a:lnTo>
                    <a:lnTo>
                      <a:pt x="191" y="359"/>
                    </a:lnTo>
                    <a:lnTo>
                      <a:pt x="198" y="367"/>
                    </a:lnTo>
                    <a:lnTo>
                      <a:pt x="207" y="375"/>
                    </a:lnTo>
                    <a:lnTo>
                      <a:pt x="212" y="378"/>
                    </a:lnTo>
                    <a:lnTo>
                      <a:pt x="218" y="381"/>
                    </a:lnTo>
                    <a:lnTo>
                      <a:pt x="223" y="382"/>
                    </a:lnTo>
                    <a:lnTo>
                      <a:pt x="229" y="383"/>
                    </a:lnTo>
                    <a:lnTo>
                      <a:pt x="236" y="383"/>
                    </a:lnTo>
                    <a:lnTo>
                      <a:pt x="243" y="382"/>
                    </a:lnTo>
                    <a:lnTo>
                      <a:pt x="250" y="379"/>
                    </a:lnTo>
                    <a:lnTo>
                      <a:pt x="254" y="376"/>
                    </a:lnTo>
                    <a:lnTo>
                      <a:pt x="260" y="370"/>
                    </a:lnTo>
                    <a:lnTo>
                      <a:pt x="265" y="365"/>
                    </a:lnTo>
                    <a:lnTo>
                      <a:pt x="269" y="359"/>
                    </a:lnTo>
                    <a:lnTo>
                      <a:pt x="274" y="352"/>
                    </a:lnTo>
                    <a:lnTo>
                      <a:pt x="282" y="337"/>
                    </a:lnTo>
                    <a:lnTo>
                      <a:pt x="291" y="322"/>
                    </a:lnTo>
                    <a:lnTo>
                      <a:pt x="296" y="315"/>
                    </a:lnTo>
                    <a:lnTo>
                      <a:pt x="300" y="309"/>
                    </a:lnTo>
                    <a:lnTo>
                      <a:pt x="306" y="304"/>
                    </a:lnTo>
                    <a:lnTo>
                      <a:pt x="313" y="299"/>
                    </a:lnTo>
                    <a:lnTo>
                      <a:pt x="313" y="312"/>
                    </a:lnTo>
                    <a:lnTo>
                      <a:pt x="313" y="324"/>
                    </a:lnTo>
                    <a:lnTo>
                      <a:pt x="313" y="335"/>
                    </a:lnTo>
                    <a:lnTo>
                      <a:pt x="313" y="345"/>
                    </a:lnTo>
                    <a:lnTo>
                      <a:pt x="313" y="354"/>
                    </a:lnTo>
                    <a:lnTo>
                      <a:pt x="313" y="363"/>
                    </a:lnTo>
                    <a:lnTo>
                      <a:pt x="313" y="370"/>
                    </a:lnTo>
                    <a:lnTo>
                      <a:pt x="313" y="376"/>
                    </a:lnTo>
                    <a:lnTo>
                      <a:pt x="324" y="376"/>
                    </a:lnTo>
                    <a:lnTo>
                      <a:pt x="335" y="376"/>
                    </a:lnTo>
                    <a:lnTo>
                      <a:pt x="343" y="376"/>
                    </a:lnTo>
                    <a:lnTo>
                      <a:pt x="350" y="376"/>
                    </a:lnTo>
                    <a:lnTo>
                      <a:pt x="355" y="376"/>
                    </a:lnTo>
                    <a:lnTo>
                      <a:pt x="362" y="376"/>
                    </a:lnTo>
                    <a:lnTo>
                      <a:pt x="368" y="376"/>
                    </a:lnTo>
                    <a:lnTo>
                      <a:pt x="375" y="376"/>
                    </a:lnTo>
                    <a:lnTo>
                      <a:pt x="385" y="393"/>
                    </a:lnTo>
                    <a:lnTo>
                      <a:pt x="395" y="410"/>
                    </a:lnTo>
                    <a:lnTo>
                      <a:pt x="406" y="426"/>
                    </a:lnTo>
                    <a:lnTo>
                      <a:pt x="416" y="439"/>
                    </a:lnTo>
                    <a:lnTo>
                      <a:pt x="422" y="445"/>
                    </a:lnTo>
                    <a:lnTo>
                      <a:pt x="428" y="451"/>
                    </a:lnTo>
                    <a:lnTo>
                      <a:pt x="434" y="455"/>
                    </a:lnTo>
                    <a:lnTo>
                      <a:pt x="441" y="459"/>
                    </a:lnTo>
                    <a:lnTo>
                      <a:pt x="448" y="462"/>
                    </a:lnTo>
                    <a:lnTo>
                      <a:pt x="456" y="464"/>
                    </a:lnTo>
                    <a:lnTo>
                      <a:pt x="464" y="465"/>
                    </a:lnTo>
                    <a:lnTo>
                      <a:pt x="472" y="467"/>
                    </a:lnTo>
                    <a:lnTo>
                      <a:pt x="480" y="467"/>
                    </a:lnTo>
                    <a:lnTo>
                      <a:pt x="487" y="465"/>
                    </a:lnTo>
                    <a:lnTo>
                      <a:pt x="493" y="463"/>
                    </a:lnTo>
                    <a:lnTo>
                      <a:pt x="499" y="462"/>
                    </a:lnTo>
                    <a:lnTo>
                      <a:pt x="504" y="460"/>
                    </a:lnTo>
                    <a:lnTo>
                      <a:pt x="509" y="456"/>
                    </a:lnTo>
                    <a:lnTo>
                      <a:pt x="512" y="453"/>
                    </a:lnTo>
                    <a:lnTo>
                      <a:pt x="516" y="449"/>
                    </a:lnTo>
                    <a:lnTo>
                      <a:pt x="522" y="443"/>
                    </a:lnTo>
                    <a:lnTo>
                      <a:pt x="526" y="434"/>
                    </a:lnTo>
                    <a:lnTo>
                      <a:pt x="527" y="425"/>
                    </a:lnTo>
                    <a:lnTo>
                      <a:pt x="528" y="417"/>
                    </a:lnTo>
                    <a:lnTo>
                      <a:pt x="528" y="320"/>
                    </a:lnTo>
                    <a:lnTo>
                      <a:pt x="514" y="319"/>
                    </a:lnTo>
                    <a:lnTo>
                      <a:pt x="499" y="316"/>
                    </a:lnTo>
                    <a:lnTo>
                      <a:pt x="483" y="313"/>
                    </a:lnTo>
                    <a:lnTo>
                      <a:pt x="467" y="308"/>
                    </a:lnTo>
                    <a:lnTo>
                      <a:pt x="450" y="304"/>
                    </a:lnTo>
                    <a:lnTo>
                      <a:pt x="434" y="299"/>
                    </a:lnTo>
                    <a:lnTo>
                      <a:pt x="418" y="292"/>
                    </a:lnTo>
                    <a:lnTo>
                      <a:pt x="403" y="287"/>
                    </a:lnTo>
                    <a:lnTo>
                      <a:pt x="389" y="278"/>
                    </a:lnTo>
                    <a:lnTo>
                      <a:pt x="375" y="272"/>
                    </a:lnTo>
                    <a:lnTo>
                      <a:pt x="362" y="264"/>
                    </a:lnTo>
                    <a:lnTo>
                      <a:pt x="351" y="254"/>
                    </a:lnTo>
                    <a:lnTo>
                      <a:pt x="340" y="245"/>
                    </a:lnTo>
                    <a:lnTo>
                      <a:pt x="331" y="236"/>
                    </a:lnTo>
                    <a:lnTo>
                      <a:pt x="324" y="226"/>
                    </a:lnTo>
                    <a:lnTo>
                      <a:pt x="320" y="215"/>
                    </a:lnTo>
                    <a:lnTo>
                      <a:pt x="306" y="218"/>
                    </a:lnTo>
                    <a:lnTo>
                      <a:pt x="295" y="221"/>
                    </a:lnTo>
                    <a:lnTo>
                      <a:pt x="284" y="225"/>
                    </a:lnTo>
                    <a:lnTo>
                      <a:pt x="276" y="229"/>
                    </a:lnTo>
                    <a:lnTo>
                      <a:pt x="268" y="235"/>
                    </a:lnTo>
                    <a:lnTo>
                      <a:pt x="261" y="242"/>
                    </a:lnTo>
                    <a:lnTo>
                      <a:pt x="256" y="248"/>
                    </a:lnTo>
                    <a:lnTo>
                      <a:pt x="250" y="254"/>
                    </a:lnTo>
                    <a:lnTo>
                      <a:pt x="240" y="268"/>
                    </a:lnTo>
                    <a:lnTo>
                      <a:pt x="229" y="281"/>
                    </a:lnTo>
                    <a:lnTo>
                      <a:pt x="223" y="287"/>
                    </a:lnTo>
                    <a:lnTo>
                      <a:pt x="218" y="292"/>
                    </a:lnTo>
                    <a:lnTo>
                      <a:pt x="210" y="296"/>
                    </a:lnTo>
                    <a:lnTo>
                      <a:pt x="202" y="299"/>
                    </a:lnTo>
                    <a:lnTo>
                      <a:pt x="204" y="264"/>
                    </a:lnTo>
                    <a:lnTo>
                      <a:pt x="206" y="235"/>
                    </a:lnTo>
                    <a:lnTo>
                      <a:pt x="209" y="211"/>
                    </a:lnTo>
                    <a:lnTo>
                      <a:pt x="210" y="191"/>
                    </a:lnTo>
                    <a:lnTo>
                      <a:pt x="211" y="174"/>
                    </a:lnTo>
                    <a:lnTo>
                      <a:pt x="211" y="158"/>
                    </a:lnTo>
                    <a:lnTo>
                      <a:pt x="210" y="142"/>
                    </a:lnTo>
                    <a:lnTo>
                      <a:pt x="209" y="125"/>
                    </a:lnTo>
                    <a:lnTo>
                      <a:pt x="201" y="125"/>
                    </a:lnTo>
                    <a:lnTo>
                      <a:pt x="191" y="126"/>
                    </a:lnTo>
                    <a:lnTo>
                      <a:pt x="182" y="127"/>
                    </a:lnTo>
                    <a:lnTo>
                      <a:pt x="173" y="128"/>
                    </a:lnTo>
                    <a:lnTo>
                      <a:pt x="164" y="129"/>
                    </a:lnTo>
                    <a:lnTo>
                      <a:pt x="156" y="131"/>
                    </a:lnTo>
                    <a:lnTo>
                      <a:pt x="147" y="132"/>
                    </a:lnTo>
                    <a:lnTo>
                      <a:pt x="139" y="132"/>
                    </a:lnTo>
                    <a:lnTo>
                      <a:pt x="140" y="124"/>
                    </a:lnTo>
                    <a:lnTo>
                      <a:pt x="143" y="114"/>
                    </a:lnTo>
                    <a:lnTo>
                      <a:pt x="145" y="108"/>
                    </a:lnTo>
                    <a:lnTo>
                      <a:pt x="150" y="100"/>
                    </a:lnTo>
                    <a:lnTo>
                      <a:pt x="154" y="93"/>
                    </a:lnTo>
                    <a:lnTo>
                      <a:pt x="159" y="87"/>
                    </a:lnTo>
                    <a:lnTo>
                      <a:pt x="165" y="81"/>
                    </a:lnTo>
                    <a:lnTo>
                      <a:pt x="171" y="76"/>
                    </a:lnTo>
                    <a:lnTo>
                      <a:pt x="184" y="65"/>
                    </a:lnTo>
                    <a:lnTo>
                      <a:pt x="199" y="56"/>
                    </a:lnTo>
                    <a:lnTo>
                      <a:pt x="215" y="49"/>
                    </a:lnTo>
                    <a:lnTo>
                      <a:pt x="233" y="42"/>
                    </a:lnTo>
                    <a:lnTo>
                      <a:pt x="268" y="31"/>
                    </a:lnTo>
                    <a:lnTo>
                      <a:pt x="305" y="22"/>
                    </a:lnTo>
                    <a:lnTo>
                      <a:pt x="322" y="17"/>
                    </a:lnTo>
                    <a:lnTo>
                      <a:pt x="339" y="11"/>
                    </a:lnTo>
                    <a:lnTo>
                      <a:pt x="354" y="6"/>
                    </a:lnTo>
                    <a:lnTo>
                      <a:pt x="368" y="0"/>
                    </a:lnTo>
                    <a:lnTo>
                      <a:pt x="417" y="0"/>
                    </a:lnTo>
                    <a:lnTo>
                      <a:pt x="406" y="19"/>
                    </a:lnTo>
                    <a:lnTo>
                      <a:pt x="394" y="35"/>
                    </a:lnTo>
                    <a:lnTo>
                      <a:pt x="383" y="49"/>
                    </a:lnTo>
                    <a:lnTo>
                      <a:pt x="371" y="63"/>
                    </a:lnTo>
                    <a:lnTo>
                      <a:pt x="362" y="76"/>
                    </a:lnTo>
                    <a:lnTo>
                      <a:pt x="354" y="89"/>
                    </a:lnTo>
                    <a:lnTo>
                      <a:pt x="352" y="97"/>
                    </a:lnTo>
                    <a:lnTo>
                      <a:pt x="350" y="106"/>
                    </a:lnTo>
                    <a:lnTo>
                      <a:pt x="348" y="116"/>
                    </a:lnTo>
                    <a:lnTo>
                      <a:pt x="347" y="125"/>
                    </a:lnTo>
                    <a:lnTo>
                      <a:pt x="347" y="137"/>
                    </a:lnTo>
                    <a:lnTo>
                      <a:pt x="350" y="149"/>
                    </a:lnTo>
                    <a:lnTo>
                      <a:pt x="354" y="162"/>
                    </a:lnTo>
                    <a:lnTo>
                      <a:pt x="360" y="173"/>
                    </a:lnTo>
                    <a:lnTo>
                      <a:pt x="368" y="186"/>
                    </a:lnTo>
                    <a:lnTo>
                      <a:pt x="377" y="197"/>
                    </a:lnTo>
                    <a:lnTo>
                      <a:pt x="387" y="207"/>
                    </a:lnTo>
                    <a:lnTo>
                      <a:pt x="399" y="218"/>
                    </a:lnTo>
                    <a:lnTo>
                      <a:pt x="411" y="228"/>
                    </a:lnTo>
                    <a:lnTo>
                      <a:pt x="424" y="237"/>
                    </a:lnTo>
                    <a:lnTo>
                      <a:pt x="438" y="245"/>
                    </a:lnTo>
                    <a:lnTo>
                      <a:pt x="453" y="251"/>
                    </a:lnTo>
                    <a:lnTo>
                      <a:pt x="467" y="257"/>
                    </a:lnTo>
                    <a:lnTo>
                      <a:pt x="480" y="261"/>
                    </a:lnTo>
                    <a:lnTo>
                      <a:pt x="494" y="264"/>
                    </a:lnTo>
                    <a:lnTo>
                      <a:pt x="508" y="265"/>
                    </a:lnTo>
                    <a:lnTo>
                      <a:pt x="525" y="264"/>
                    </a:lnTo>
                    <a:lnTo>
                      <a:pt x="542" y="261"/>
                    </a:lnTo>
                    <a:lnTo>
                      <a:pt x="558" y="258"/>
                    </a:lnTo>
                    <a:lnTo>
                      <a:pt x="574" y="254"/>
                    </a:lnTo>
                    <a:lnTo>
                      <a:pt x="591" y="250"/>
                    </a:lnTo>
                    <a:lnTo>
                      <a:pt x="609" y="246"/>
                    </a:lnTo>
                    <a:lnTo>
                      <a:pt x="627" y="244"/>
                    </a:lnTo>
                    <a:lnTo>
                      <a:pt x="647" y="243"/>
                    </a:lnTo>
                    <a:lnTo>
                      <a:pt x="659" y="244"/>
                    </a:lnTo>
                    <a:lnTo>
                      <a:pt x="671" y="245"/>
                    </a:lnTo>
                    <a:lnTo>
                      <a:pt x="682" y="246"/>
                    </a:lnTo>
                    <a:lnTo>
                      <a:pt x="691" y="249"/>
                    </a:lnTo>
                    <a:lnTo>
                      <a:pt x="700" y="252"/>
                    </a:lnTo>
                    <a:lnTo>
                      <a:pt x="708" y="256"/>
                    </a:lnTo>
                    <a:lnTo>
                      <a:pt x="715" y="259"/>
                    </a:lnTo>
                    <a:lnTo>
                      <a:pt x="721" y="265"/>
                    </a:lnTo>
                    <a:lnTo>
                      <a:pt x="726" y="270"/>
                    </a:lnTo>
                    <a:lnTo>
                      <a:pt x="730" y="276"/>
                    </a:lnTo>
                    <a:lnTo>
                      <a:pt x="734" y="283"/>
                    </a:lnTo>
                    <a:lnTo>
                      <a:pt x="736" y="290"/>
                    </a:lnTo>
                    <a:lnTo>
                      <a:pt x="737" y="299"/>
                    </a:lnTo>
                    <a:lnTo>
                      <a:pt x="738" y="307"/>
                    </a:lnTo>
                    <a:lnTo>
                      <a:pt x="738" y="317"/>
                    </a:lnTo>
                    <a:lnTo>
                      <a:pt x="737" y="327"/>
                    </a:lnTo>
                    <a:lnTo>
                      <a:pt x="737" y="337"/>
                    </a:lnTo>
                    <a:lnTo>
                      <a:pt x="736" y="345"/>
                    </a:lnTo>
                    <a:lnTo>
                      <a:pt x="735" y="354"/>
                    </a:lnTo>
                    <a:lnTo>
                      <a:pt x="733" y="361"/>
                    </a:lnTo>
                    <a:lnTo>
                      <a:pt x="729" y="369"/>
                    </a:lnTo>
                    <a:lnTo>
                      <a:pt x="727" y="376"/>
                    </a:lnTo>
                    <a:lnTo>
                      <a:pt x="723" y="382"/>
                    </a:lnTo>
                    <a:lnTo>
                      <a:pt x="719" y="387"/>
                    </a:lnTo>
                    <a:lnTo>
                      <a:pt x="710" y="399"/>
                    </a:lnTo>
                    <a:lnTo>
                      <a:pt x="699" y="409"/>
                    </a:lnTo>
                    <a:lnTo>
                      <a:pt x="689" y="418"/>
                    </a:lnTo>
                    <a:lnTo>
                      <a:pt x="677" y="428"/>
                    </a:lnTo>
                    <a:lnTo>
                      <a:pt x="666" y="437"/>
                    </a:lnTo>
                    <a:lnTo>
                      <a:pt x="655" y="447"/>
                    </a:lnTo>
                    <a:lnTo>
                      <a:pt x="644" y="457"/>
                    </a:lnTo>
                    <a:lnTo>
                      <a:pt x="635" y="468"/>
                    </a:lnTo>
                    <a:lnTo>
                      <a:pt x="626" y="480"/>
                    </a:lnTo>
                    <a:lnTo>
                      <a:pt x="619" y="494"/>
                    </a:lnTo>
                    <a:lnTo>
                      <a:pt x="617" y="502"/>
                    </a:lnTo>
                    <a:lnTo>
                      <a:pt x="614" y="510"/>
                    </a:lnTo>
                    <a:lnTo>
                      <a:pt x="613" y="519"/>
                    </a:lnTo>
                    <a:lnTo>
                      <a:pt x="612" y="529"/>
                    </a:lnTo>
                    <a:lnTo>
                      <a:pt x="613" y="549"/>
                    </a:lnTo>
                    <a:lnTo>
                      <a:pt x="616" y="568"/>
                    </a:lnTo>
                    <a:lnTo>
                      <a:pt x="618" y="576"/>
                    </a:lnTo>
                    <a:lnTo>
                      <a:pt x="621" y="582"/>
                    </a:lnTo>
                    <a:lnTo>
                      <a:pt x="624" y="589"/>
                    </a:lnTo>
                    <a:lnTo>
                      <a:pt x="627" y="596"/>
                    </a:lnTo>
                    <a:lnTo>
                      <a:pt x="635" y="607"/>
                    </a:lnTo>
                    <a:lnTo>
                      <a:pt x="644" y="616"/>
                    </a:lnTo>
                    <a:lnTo>
                      <a:pt x="655" y="624"/>
                    </a:lnTo>
                    <a:lnTo>
                      <a:pt x="666" y="629"/>
                    </a:lnTo>
                    <a:lnTo>
                      <a:pt x="679" y="635"/>
                    </a:lnTo>
                    <a:lnTo>
                      <a:pt x="691" y="640"/>
                    </a:lnTo>
                    <a:lnTo>
                      <a:pt x="704" y="644"/>
                    </a:lnTo>
                    <a:lnTo>
                      <a:pt x="718" y="649"/>
                    </a:lnTo>
                    <a:lnTo>
                      <a:pt x="731" y="652"/>
                    </a:lnTo>
                    <a:lnTo>
                      <a:pt x="745" y="657"/>
                    </a:lnTo>
                    <a:lnTo>
                      <a:pt x="759" y="663"/>
                    </a:lnTo>
                    <a:lnTo>
                      <a:pt x="773" y="668"/>
                    </a:lnTo>
                    <a:lnTo>
                      <a:pt x="786" y="679"/>
                    </a:lnTo>
                    <a:lnTo>
                      <a:pt x="799" y="690"/>
                    </a:lnTo>
                    <a:lnTo>
                      <a:pt x="810" y="702"/>
                    </a:lnTo>
                    <a:lnTo>
                      <a:pt x="820" y="713"/>
                    </a:lnTo>
                    <a:lnTo>
                      <a:pt x="827" y="725"/>
                    </a:lnTo>
                    <a:lnTo>
                      <a:pt x="832" y="737"/>
                    </a:lnTo>
                    <a:lnTo>
                      <a:pt x="838" y="750"/>
                    </a:lnTo>
                    <a:lnTo>
                      <a:pt x="841" y="762"/>
                    </a:lnTo>
                    <a:lnTo>
                      <a:pt x="844" y="775"/>
                    </a:lnTo>
                    <a:lnTo>
                      <a:pt x="845" y="789"/>
                    </a:lnTo>
                    <a:lnTo>
                      <a:pt x="846" y="803"/>
                    </a:lnTo>
                    <a:lnTo>
                      <a:pt x="846" y="818"/>
                    </a:lnTo>
                    <a:lnTo>
                      <a:pt x="844" y="846"/>
                    </a:lnTo>
                    <a:lnTo>
                      <a:pt x="841" y="877"/>
                    </a:lnTo>
                    <a:lnTo>
                      <a:pt x="841" y="890"/>
                    </a:lnTo>
                    <a:lnTo>
                      <a:pt x="841" y="900"/>
                    </a:lnTo>
                    <a:lnTo>
                      <a:pt x="841" y="910"/>
                    </a:lnTo>
                    <a:lnTo>
                      <a:pt x="841" y="918"/>
                    </a:lnTo>
                    <a:lnTo>
                      <a:pt x="841" y="924"/>
                    </a:lnTo>
                    <a:lnTo>
                      <a:pt x="841" y="929"/>
                    </a:lnTo>
                    <a:lnTo>
                      <a:pt x="841" y="932"/>
                    </a:lnTo>
                    <a:lnTo>
                      <a:pt x="841" y="933"/>
                    </a:lnTo>
                    <a:lnTo>
                      <a:pt x="841" y="94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26" name="Freeform 545"/>
              <p:cNvSpPr>
                <a:spLocks/>
              </p:cNvSpPr>
              <p:nvPr/>
            </p:nvSpPr>
            <p:spPr bwMode="auto">
              <a:xfrm>
                <a:off x="2554" y="1039"/>
                <a:ext cx="118" cy="138"/>
              </a:xfrm>
              <a:custGeom>
                <a:avLst/>
                <a:gdLst>
                  <a:gd name="T0" fmla="*/ 4 w 642"/>
                  <a:gd name="T1" fmla="*/ 4 h 752"/>
                  <a:gd name="T2" fmla="*/ 4 w 642"/>
                  <a:gd name="T3" fmla="*/ 4 h 752"/>
                  <a:gd name="T4" fmla="*/ 3 w 642"/>
                  <a:gd name="T5" fmla="*/ 4 h 752"/>
                  <a:gd name="T6" fmla="*/ 3 w 642"/>
                  <a:gd name="T7" fmla="*/ 4 h 752"/>
                  <a:gd name="T8" fmla="*/ 2 w 642"/>
                  <a:gd name="T9" fmla="*/ 5 h 752"/>
                  <a:gd name="T10" fmla="*/ 1 w 642"/>
                  <a:gd name="T11" fmla="*/ 5 h 752"/>
                  <a:gd name="T12" fmla="*/ 1 w 642"/>
                  <a:gd name="T13" fmla="*/ 5 h 752"/>
                  <a:gd name="T14" fmla="*/ 1 w 642"/>
                  <a:gd name="T15" fmla="*/ 4 h 752"/>
                  <a:gd name="T16" fmla="*/ 1 w 642"/>
                  <a:gd name="T17" fmla="*/ 4 h 752"/>
                  <a:gd name="T18" fmla="*/ 1 w 642"/>
                  <a:gd name="T19" fmla="*/ 4 h 752"/>
                  <a:gd name="T20" fmla="*/ 1 w 642"/>
                  <a:gd name="T21" fmla="*/ 4 h 752"/>
                  <a:gd name="T22" fmla="*/ 1 w 642"/>
                  <a:gd name="T23" fmla="*/ 3 h 752"/>
                  <a:gd name="T24" fmla="*/ 1 w 642"/>
                  <a:gd name="T25" fmla="*/ 3 h 752"/>
                  <a:gd name="T26" fmla="*/ 1 w 642"/>
                  <a:gd name="T27" fmla="*/ 3 h 752"/>
                  <a:gd name="T28" fmla="*/ 1 w 642"/>
                  <a:gd name="T29" fmla="*/ 3 h 752"/>
                  <a:gd name="T30" fmla="*/ 1 w 642"/>
                  <a:gd name="T31" fmla="*/ 3 h 752"/>
                  <a:gd name="T32" fmla="*/ 1 w 642"/>
                  <a:gd name="T33" fmla="*/ 3 h 752"/>
                  <a:gd name="T34" fmla="*/ 2 w 642"/>
                  <a:gd name="T35" fmla="*/ 3 h 752"/>
                  <a:gd name="T36" fmla="*/ 2 w 642"/>
                  <a:gd name="T37" fmla="*/ 3 h 752"/>
                  <a:gd name="T38" fmla="*/ 2 w 642"/>
                  <a:gd name="T39" fmla="*/ 3 h 752"/>
                  <a:gd name="T40" fmla="*/ 2 w 642"/>
                  <a:gd name="T41" fmla="*/ 2 h 752"/>
                  <a:gd name="T42" fmla="*/ 2 w 642"/>
                  <a:gd name="T43" fmla="*/ 2 h 752"/>
                  <a:gd name="T44" fmla="*/ 1 w 642"/>
                  <a:gd name="T45" fmla="*/ 2 h 752"/>
                  <a:gd name="T46" fmla="*/ 1 w 642"/>
                  <a:gd name="T47" fmla="*/ 2 h 752"/>
                  <a:gd name="T48" fmla="*/ 1 w 642"/>
                  <a:gd name="T49" fmla="*/ 2 h 752"/>
                  <a:gd name="T50" fmla="*/ 1 w 642"/>
                  <a:gd name="T51" fmla="*/ 2 h 752"/>
                  <a:gd name="T52" fmla="*/ 1 w 642"/>
                  <a:gd name="T53" fmla="*/ 2 h 752"/>
                  <a:gd name="T54" fmla="*/ 1 w 642"/>
                  <a:gd name="T55" fmla="*/ 2 h 752"/>
                  <a:gd name="T56" fmla="*/ 1 w 642"/>
                  <a:gd name="T57" fmla="*/ 2 h 752"/>
                  <a:gd name="T58" fmla="*/ 1 w 642"/>
                  <a:gd name="T59" fmla="*/ 2 h 752"/>
                  <a:gd name="T60" fmla="*/ 1 w 642"/>
                  <a:gd name="T61" fmla="*/ 2 h 752"/>
                  <a:gd name="T62" fmla="*/ 1 w 642"/>
                  <a:gd name="T63" fmla="*/ 2 h 752"/>
                  <a:gd name="T64" fmla="*/ 1 w 642"/>
                  <a:gd name="T65" fmla="*/ 1 h 752"/>
                  <a:gd name="T66" fmla="*/ 1 w 642"/>
                  <a:gd name="T67" fmla="*/ 1 h 752"/>
                  <a:gd name="T68" fmla="*/ 1 w 642"/>
                  <a:gd name="T69" fmla="*/ 1 h 752"/>
                  <a:gd name="T70" fmla="*/ 0 w 642"/>
                  <a:gd name="T71" fmla="*/ 1 h 752"/>
                  <a:gd name="T72" fmla="*/ 0 w 642"/>
                  <a:gd name="T73" fmla="*/ 0 h 752"/>
                  <a:gd name="T74" fmla="*/ 0 w 642"/>
                  <a:gd name="T75" fmla="*/ 0 h 752"/>
                  <a:gd name="T76" fmla="*/ 0 w 642"/>
                  <a:gd name="T77" fmla="*/ 0 h 752"/>
                  <a:gd name="T78" fmla="*/ 1 w 642"/>
                  <a:gd name="T79" fmla="*/ 0 h 752"/>
                  <a:gd name="T80" fmla="*/ 1 w 642"/>
                  <a:gd name="T81" fmla="*/ 1 h 752"/>
                  <a:gd name="T82" fmla="*/ 1 w 642"/>
                  <a:gd name="T83" fmla="*/ 1 h 752"/>
                  <a:gd name="T84" fmla="*/ 1 w 642"/>
                  <a:gd name="T85" fmla="*/ 1 h 752"/>
                  <a:gd name="T86" fmla="*/ 2 w 642"/>
                  <a:gd name="T87" fmla="*/ 1 h 752"/>
                  <a:gd name="T88" fmla="*/ 2 w 642"/>
                  <a:gd name="T89" fmla="*/ 2 h 752"/>
                  <a:gd name="T90" fmla="*/ 2 w 642"/>
                  <a:gd name="T91" fmla="*/ 2 h 752"/>
                  <a:gd name="T92" fmla="*/ 3 w 642"/>
                  <a:gd name="T93" fmla="*/ 2 h 752"/>
                  <a:gd name="T94" fmla="*/ 3 w 642"/>
                  <a:gd name="T95" fmla="*/ 3 h 752"/>
                  <a:gd name="T96" fmla="*/ 4 w 642"/>
                  <a:gd name="T97" fmla="*/ 3 h 752"/>
                  <a:gd name="T98" fmla="*/ 4 w 642"/>
                  <a:gd name="T99" fmla="*/ 3 h 752"/>
                  <a:gd name="T100" fmla="*/ 4 w 642"/>
                  <a:gd name="T101" fmla="*/ 3 h 752"/>
                  <a:gd name="T102" fmla="*/ 4 w 642"/>
                  <a:gd name="T103" fmla="*/ 4 h 75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42"/>
                  <a:gd name="T157" fmla="*/ 0 h 752"/>
                  <a:gd name="T158" fmla="*/ 642 w 642"/>
                  <a:gd name="T159" fmla="*/ 752 h 75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42" h="752">
                    <a:moveTo>
                      <a:pt x="628" y="607"/>
                    </a:moveTo>
                    <a:lnTo>
                      <a:pt x="628" y="615"/>
                    </a:lnTo>
                    <a:lnTo>
                      <a:pt x="630" y="622"/>
                    </a:lnTo>
                    <a:lnTo>
                      <a:pt x="631" y="630"/>
                    </a:lnTo>
                    <a:lnTo>
                      <a:pt x="633" y="638"/>
                    </a:lnTo>
                    <a:lnTo>
                      <a:pt x="634" y="646"/>
                    </a:lnTo>
                    <a:lnTo>
                      <a:pt x="636" y="654"/>
                    </a:lnTo>
                    <a:lnTo>
                      <a:pt x="640" y="662"/>
                    </a:lnTo>
                    <a:lnTo>
                      <a:pt x="642" y="669"/>
                    </a:lnTo>
                    <a:lnTo>
                      <a:pt x="608" y="669"/>
                    </a:lnTo>
                    <a:lnTo>
                      <a:pt x="577" y="671"/>
                    </a:lnTo>
                    <a:lnTo>
                      <a:pt x="547" y="675"/>
                    </a:lnTo>
                    <a:lnTo>
                      <a:pt x="519" y="680"/>
                    </a:lnTo>
                    <a:lnTo>
                      <a:pt x="494" y="687"/>
                    </a:lnTo>
                    <a:lnTo>
                      <a:pt x="469" y="694"/>
                    </a:lnTo>
                    <a:lnTo>
                      <a:pt x="445" y="703"/>
                    </a:lnTo>
                    <a:lnTo>
                      <a:pt x="422" y="711"/>
                    </a:lnTo>
                    <a:lnTo>
                      <a:pt x="399" y="719"/>
                    </a:lnTo>
                    <a:lnTo>
                      <a:pt x="375" y="727"/>
                    </a:lnTo>
                    <a:lnTo>
                      <a:pt x="352" y="735"/>
                    </a:lnTo>
                    <a:lnTo>
                      <a:pt x="328" y="742"/>
                    </a:lnTo>
                    <a:lnTo>
                      <a:pt x="303" y="747"/>
                    </a:lnTo>
                    <a:lnTo>
                      <a:pt x="275" y="751"/>
                    </a:lnTo>
                    <a:lnTo>
                      <a:pt x="248" y="752"/>
                    </a:lnTo>
                    <a:lnTo>
                      <a:pt x="217" y="752"/>
                    </a:lnTo>
                    <a:lnTo>
                      <a:pt x="208" y="751"/>
                    </a:lnTo>
                    <a:lnTo>
                      <a:pt x="198" y="749"/>
                    </a:lnTo>
                    <a:lnTo>
                      <a:pt x="189" y="746"/>
                    </a:lnTo>
                    <a:lnTo>
                      <a:pt x="182" y="741"/>
                    </a:lnTo>
                    <a:lnTo>
                      <a:pt x="177" y="735"/>
                    </a:lnTo>
                    <a:lnTo>
                      <a:pt x="172" y="730"/>
                    </a:lnTo>
                    <a:lnTo>
                      <a:pt x="170" y="724"/>
                    </a:lnTo>
                    <a:lnTo>
                      <a:pt x="169" y="718"/>
                    </a:lnTo>
                    <a:lnTo>
                      <a:pt x="170" y="707"/>
                    </a:lnTo>
                    <a:lnTo>
                      <a:pt x="172" y="697"/>
                    </a:lnTo>
                    <a:lnTo>
                      <a:pt x="177" y="688"/>
                    </a:lnTo>
                    <a:lnTo>
                      <a:pt x="181" y="680"/>
                    </a:lnTo>
                    <a:lnTo>
                      <a:pt x="195" y="666"/>
                    </a:lnTo>
                    <a:lnTo>
                      <a:pt x="210" y="654"/>
                    </a:lnTo>
                    <a:lnTo>
                      <a:pt x="218" y="647"/>
                    </a:lnTo>
                    <a:lnTo>
                      <a:pt x="226" y="640"/>
                    </a:lnTo>
                    <a:lnTo>
                      <a:pt x="233" y="632"/>
                    </a:lnTo>
                    <a:lnTo>
                      <a:pt x="239" y="624"/>
                    </a:lnTo>
                    <a:lnTo>
                      <a:pt x="244" y="615"/>
                    </a:lnTo>
                    <a:lnTo>
                      <a:pt x="249" y="605"/>
                    </a:lnTo>
                    <a:lnTo>
                      <a:pt x="251" y="592"/>
                    </a:lnTo>
                    <a:lnTo>
                      <a:pt x="252" y="578"/>
                    </a:lnTo>
                    <a:lnTo>
                      <a:pt x="252" y="567"/>
                    </a:lnTo>
                    <a:lnTo>
                      <a:pt x="251" y="556"/>
                    </a:lnTo>
                    <a:lnTo>
                      <a:pt x="250" y="547"/>
                    </a:lnTo>
                    <a:lnTo>
                      <a:pt x="247" y="539"/>
                    </a:lnTo>
                    <a:lnTo>
                      <a:pt x="242" y="531"/>
                    </a:lnTo>
                    <a:lnTo>
                      <a:pt x="237" y="525"/>
                    </a:lnTo>
                    <a:lnTo>
                      <a:pt x="233" y="520"/>
                    </a:lnTo>
                    <a:lnTo>
                      <a:pt x="228" y="514"/>
                    </a:lnTo>
                    <a:lnTo>
                      <a:pt x="218" y="504"/>
                    </a:lnTo>
                    <a:lnTo>
                      <a:pt x="209" y="492"/>
                    </a:lnTo>
                    <a:lnTo>
                      <a:pt x="205" y="486"/>
                    </a:lnTo>
                    <a:lnTo>
                      <a:pt x="204" y="478"/>
                    </a:lnTo>
                    <a:lnTo>
                      <a:pt x="203" y="470"/>
                    </a:lnTo>
                    <a:lnTo>
                      <a:pt x="203" y="460"/>
                    </a:lnTo>
                    <a:lnTo>
                      <a:pt x="204" y="453"/>
                    </a:lnTo>
                    <a:lnTo>
                      <a:pt x="206" y="446"/>
                    </a:lnTo>
                    <a:lnTo>
                      <a:pt x="211" y="439"/>
                    </a:lnTo>
                    <a:lnTo>
                      <a:pt x="217" y="434"/>
                    </a:lnTo>
                    <a:lnTo>
                      <a:pt x="225" y="429"/>
                    </a:lnTo>
                    <a:lnTo>
                      <a:pt x="233" y="424"/>
                    </a:lnTo>
                    <a:lnTo>
                      <a:pt x="242" y="421"/>
                    </a:lnTo>
                    <a:lnTo>
                      <a:pt x="252" y="419"/>
                    </a:lnTo>
                    <a:lnTo>
                      <a:pt x="258" y="433"/>
                    </a:lnTo>
                    <a:lnTo>
                      <a:pt x="264" y="444"/>
                    </a:lnTo>
                    <a:lnTo>
                      <a:pt x="271" y="455"/>
                    </a:lnTo>
                    <a:lnTo>
                      <a:pt x="279" y="465"/>
                    </a:lnTo>
                    <a:lnTo>
                      <a:pt x="287" y="473"/>
                    </a:lnTo>
                    <a:lnTo>
                      <a:pt x="296" y="481"/>
                    </a:lnTo>
                    <a:lnTo>
                      <a:pt x="305" y="488"/>
                    </a:lnTo>
                    <a:lnTo>
                      <a:pt x="314" y="493"/>
                    </a:lnTo>
                    <a:lnTo>
                      <a:pt x="335" y="505"/>
                    </a:lnTo>
                    <a:lnTo>
                      <a:pt x="356" y="514"/>
                    </a:lnTo>
                    <a:lnTo>
                      <a:pt x="377" y="525"/>
                    </a:lnTo>
                    <a:lnTo>
                      <a:pt x="398" y="537"/>
                    </a:lnTo>
                    <a:lnTo>
                      <a:pt x="405" y="398"/>
                    </a:lnTo>
                    <a:lnTo>
                      <a:pt x="380" y="375"/>
                    </a:lnTo>
                    <a:lnTo>
                      <a:pt x="358" y="353"/>
                    </a:lnTo>
                    <a:lnTo>
                      <a:pt x="338" y="333"/>
                    </a:lnTo>
                    <a:lnTo>
                      <a:pt x="319" y="314"/>
                    </a:lnTo>
                    <a:lnTo>
                      <a:pt x="310" y="305"/>
                    </a:lnTo>
                    <a:lnTo>
                      <a:pt x="299" y="296"/>
                    </a:lnTo>
                    <a:lnTo>
                      <a:pt x="289" y="288"/>
                    </a:lnTo>
                    <a:lnTo>
                      <a:pt x="278" y="280"/>
                    </a:lnTo>
                    <a:lnTo>
                      <a:pt x="264" y="272"/>
                    </a:lnTo>
                    <a:lnTo>
                      <a:pt x="250" y="265"/>
                    </a:lnTo>
                    <a:lnTo>
                      <a:pt x="235" y="258"/>
                    </a:lnTo>
                    <a:lnTo>
                      <a:pt x="217" y="251"/>
                    </a:lnTo>
                    <a:lnTo>
                      <a:pt x="216" y="277"/>
                    </a:lnTo>
                    <a:lnTo>
                      <a:pt x="213" y="301"/>
                    </a:lnTo>
                    <a:lnTo>
                      <a:pt x="211" y="321"/>
                    </a:lnTo>
                    <a:lnTo>
                      <a:pt x="206" y="340"/>
                    </a:lnTo>
                    <a:lnTo>
                      <a:pt x="204" y="347"/>
                    </a:lnTo>
                    <a:lnTo>
                      <a:pt x="200" y="353"/>
                    </a:lnTo>
                    <a:lnTo>
                      <a:pt x="195" y="359"/>
                    </a:lnTo>
                    <a:lnTo>
                      <a:pt x="190" y="364"/>
                    </a:lnTo>
                    <a:lnTo>
                      <a:pt x="184" y="367"/>
                    </a:lnTo>
                    <a:lnTo>
                      <a:pt x="176" y="369"/>
                    </a:lnTo>
                    <a:lnTo>
                      <a:pt x="165" y="371"/>
                    </a:lnTo>
                    <a:lnTo>
                      <a:pt x="155" y="369"/>
                    </a:lnTo>
                    <a:lnTo>
                      <a:pt x="150" y="369"/>
                    </a:lnTo>
                    <a:lnTo>
                      <a:pt x="147" y="367"/>
                    </a:lnTo>
                    <a:lnTo>
                      <a:pt x="143" y="364"/>
                    </a:lnTo>
                    <a:lnTo>
                      <a:pt x="142" y="360"/>
                    </a:lnTo>
                    <a:lnTo>
                      <a:pt x="140" y="349"/>
                    </a:lnTo>
                    <a:lnTo>
                      <a:pt x="141" y="336"/>
                    </a:lnTo>
                    <a:lnTo>
                      <a:pt x="142" y="324"/>
                    </a:lnTo>
                    <a:lnTo>
                      <a:pt x="145" y="311"/>
                    </a:lnTo>
                    <a:lnTo>
                      <a:pt x="147" y="301"/>
                    </a:lnTo>
                    <a:lnTo>
                      <a:pt x="148" y="293"/>
                    </a:lnTo>
                    <a:lnTo>
                      <a:pt x="138" y="298"/>
                    </a:lnTo>
                    <a:lnTo>
                      <a:pt x="129" y="303"/>
                    </a:lnTo>
                    <a:lnTo>
                      <a:pt x="120" y="306"/>
                    </a:lnTo>
                    <a:lnTo>
                      <a:pt x="112" y="310"/>
                    </a:lnTo>
                    <a:lnTo>
                      <a:pt x="104" y="313"/>
                    </a:lnTo>
                    <a:lnTo>
                      <a:pt x="96" y="316"/>
                    </a:lnTo>
                    <a:lnTo>
                      <a:pt x="88" y="318"/>
                    </a:lnTo>
                    <a:lnTo>
                      <a:pt x="78" y="321"/>
                    </a:lnTo>
                    <a:lnTo>
                      <a:pt x="86" y="306"/>
                    </a:lnTo>
                    <a:lnTo>
                      <a:pt x="93" y="294"/>
                    </a:lnTo>
                    <a:lnTo>
                      <a:pt x="100" y="283"/>
                    </a:lnTo>
                    <a:lnTo>
                      <a:pt x="107" y="273"/>
                    </a:lnTo>
                    <a:lnTo>
                      <a:pt x="112" y="264"/>
                    </a:lnTo>
                    <a:lnTo>
                      <a:pt x="116" y="254"/>
                    </a:lnTo>
                    <a:lnTo>
                      <a:pt x="119" y="242"/>
                    </a:lnTo>
                    <a:lnTo>
                      <a:pt x="119" y="231"/>
                    </a:lnTo>
                    <a:lnTo>
                      <a:pt x="119" y="223"/>
                    </a:lnTo>
                    <a:lnTo>
                      <a:pt x="118" y="213"/>
                    </a:lnTo>
                    <a:lnTo>
                      <a:pt x="117" y="207"/>
                    </a:lnTo>
                    <a:lnTo>
                      <a:pt x="114" y="199"/>
                    </a:lnTo>
                    <a:lnTo>
                      <a:pt x="108" y="184"/>
                    </a:lnTo>
                    <a:lnTo>
                      <a:pt x="100" y="169"/>
                    </a:lnTo>
                    <a:lnTo>
                      <a:pt x="90" y="155"/>
                    </a:lnTo>
                    <a:lnTo>
                      <a:pt x="79" y="142"/>
                    </a:lnTo>
                    <a:lnTo>
                      <a:pt x="67" y="129"/>
                    </a:lnTo>
                    <a:lnTo>
                      <a:pt x="55" y="116"/>
                    </a:lnTo>
                    <a:lnTo>
                      <a:pt x="44" y="102"/>
                    </a:lnTo>
                    <a:lnTo>
                      <a:pt x="32" y="90"/>
                    </a:lnTo>
                    <a:lnTo>
                      <a:pt x="23" y="76"/>
                    </a:lnTo>
                    <a:lnTo>
                      <a:pt x="14" y="62"/>
                    </a:lnTo>
                    <a:lnTo>
                      <a:pt x="7" y="47"/>
                    </a:lnTo>
                    <a:lnTo>
                      <a:pt x="2" y="32"/>
                    </a:lnTo>
                    <a:lnTo>
                      <a:pt x="1" y="25"/>
                    </a:lnTo>
                    <a:lnTo>
                      <a:pt x="0" y="17"/>
                    </a:lnTo>
                    <a:lnTo>
                      <a:pt x="0" y="9"/>
                    </a:lnTo>
                    <a:lnTo>
                      <a:pt x="1" y="0"/>
                    </a:lnTo>
                    <a:lnTo>
                      <a:pt x="15" y="6"/>
                    </a:lnTo>
                    <a:lnTo>
                      <a:pt x="28" y="12"/>
                    </a:lnTo>
                    <a:lnTo>
                      <a:pt x="39" y="20"/>
                    </a:lnTo>
                    <a:lnTo>
                      <a:pt x="51" y="29"/>
                    </a:lnTo>
                    <a:lnTo>
                      <a:pt x="60" y="39"/>
                    </a:lnTo>
                    <a:lnTo>
                      <a:pt x="69" y="49"/>
                    </a:lnTo>
                    <a:lnTo>
                      <a:pt x="77" y="61"/>
                    </a:lnTo>
                    <a:lnTo>
                      <a:pt x="85" y="72"/>
                    </a:lnTo>
                    <a:lnTo>
                      <a:pt x="98" y="98"/>
                    </a:lnTo>
                    <a:lnTo>
                      <a:pt x="109" y="121"/>
                    </a:lnTo>
                    <a:lnTo>
                      <a:pt x="118" y="142"/>
                    </a:lnTo>
                    <a:lnTo>
                      <a:pt x="126" y="161"/>
                    </a:lnTo>
                    <a:lnTo>
                      <a:pt x="133" y="169"/>
                    </a:lnTo>
                    <a:lnTo>
                      <a:pt x="140" y="174"/>
                    </a:lnTo>
                    <a:lnTo>
                      <a:pt x="149" y="181"/>
                    </a:lnTo>
                    <a:lnTo>
                      <a:pt x="158" y="186"/>
                    </a:lnTo>
                    <a:lnTo>
                      <a:pt x="170" y="191"/>
                    </a:lnTo>
                    <a:lnTo>
                      <a:pt x="181" y="195"/>
                    </a:lnTo>
                    <a:lnTo>
                      <a:pt x="193" y="200"/>
                    </a:lnTo>
                    <a:lnTo>
                      <a:pt x="205" y="203"/>
                    </a:lnTo>
                    <a:lnTo>
                      <a:pt x="229" y="209"/>
                    </a:lnTo>
                    <a:lnTo>
                      <a:pt x="253" y="213"/>
                    </a:lnTo>
                    <a:lnTo>
                      <a:pt x="275" y="218"/>
                    </a:lnTo>
                    <a:lnTo>
                      <a:pt x="294" y="224"/>
                    </a:lnTo>
                    <a:lnTo>
                      <a:pt x="310" y="230"/>
                    </a:lnTo>
                    <a:lnTo>
                      <a:pt x="323" y="236"/>
                    </a:lnTo>
                    <a:lnTo>
                      <a:pt x="336" y="244"/>
                    </a:lnTo>
                    <a:lnTo>
                      <a:pt x="346" y="254"/>
                    </a:lnTo>
                    <a:lnTo>
                      <a:pt x="356" y="263"/>
                    </a:lnTo>
                    <a:lnTo>
                      <a:pt x="364" y="273"/>
                    </a:lnTo>
                    <a:lnTo>
                      <a:pt x="370" y="283"/>
                    </a:lnTo>
                    <a:lnTo>
                      <a:pt x="376" y="295"/>
                    </a:lnTo>
                    <a:lnTo>
                      <a:pt x="389" y="317"/>
                    </a:lnTo>
                    <a:lnTo>
                      <a:pt x="400" y="340"/>
                    </a:lnTo>
                    <a:lnTo>
                      <a:pt x="407" y="350"/>
                    </a:lnTo>
                    <a:lnTo>
                      <a:pt x="415" y="359"/>
                    </a:lnTo>
                    <a:lnTo>
                      <a:pt x="423" y="368"/>
                    </a:lnTo>
                    <a:lnTo>
                      <a:pt x="433" y="376"/>
                    </a:lnTo>
                    <a:lnTo>
                      <a:pt x="458" y="396"/>
                    </a:lnTo>
                    <a:lnTo>
                      <a:pt x="483" y="418"/>
                    </a:lnTo>
                    <a:lnTo>
                      <a:pt x="508" y="439"/>
                    </a:lnTo>
                    <a:lnTo>
                      <a:pt x="534" y="462"/>
                    </a:lnTo>
                    <a:lnTo>
                      <a:pt x="562" y="484"/>
                    </a:lnTo>
                    <a:lnTo>
                      <a:pt x="588" y="504"/>
                    </a:lnTo>
                    <a:lnTo>
                      <a:pt x="602" y="514"/>
                    </a:lnTo>
                    <a:lnTo>
                      <a:pt x="616" y="522"/>
                    </a:lnTo>
                    <a:lnTo>
                      <a:pt x="628" y="530"/>
                    </a:lnTo>
                    <a:lnTo>
                      <a:pt x="642" y="537"/>
                    </a:lnTo>
                    <a:lnTo>
                      <a:pt x="641" y="538"/>
                    </a:lnTo>
                    <a:lnTo>
                      <a:pt x="640" y="541"/>
                    </a:lnTo>
                    <a:lnTo>
                      <a:pt x="638" y="546"/>
                    </a:lnTo>
                    <a:lnTo>
                      <a:pt x="635" y="553"/>
                    </a:lnTo>
                    <a:lnTo>
                      <a:pt x="633" y="563"/>
                    </a:lnTo>
                    <a:lnTo>
                      <a:pt x="631" y="575"/>
                    </a:lnTo>
                    <a:lnTo>
                      <a:pt x="628" y="590"/>
                    </a:lnTo>
                    <a:lnTo>
                      <a:pt x="628" y="607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27" name="Freeform 546"/>
              <p:cNvSpPr>
                <a:spLocks/>
              </p:cNvSpPr>
              <p:nvPr/>
            </p:nvSpPr>
            <p:spPr bwMode="auto">
              <a:xfrm>
                <a:off x="783" y="1242"/>
                <a:ext cx="54" cy="22"/>
              </a:xfrm>
              <a:custGeom>
                <a:avLst/>
                <a:gdLst>
                  <a:gd name="T0" fmla="*/ 0 w 293"/>
                  <a:gd name="T1" fmla="*/ 1 h 119"/>
                  <a:gd name="T2" fmla="*/ 0 w 293"/>
                  <a:gd name="T3" fmla="*/ 1 h 119"/>
                  <a:gd name="T4" fmla="*/ 0 w 293"/>
                  <a:gd name="T5" fmla="*/ 1 h 119"/>
                  <a:gd name="T6" fmla="*/ 0 w 293"/>
                  <a:gd name="T7" fmla="*/ 1 h 119"/>
                  <a:gd name="T8" fmla="*/ 0 w 293"/>
                  <a:gd name="T9" fmla="*/ 1 h 119"/>
                  <a:gd name="T10" fmla="*/ 0 w 293"/>
                  <a:gd name="T11" fmla="*/ 1 h 119"/>
                  <a:gd name="T12" fmla="*/ 0 w 293"/>
                  <a:gd name="T13" fmla="*/ 1 h 119"/>
                  <a:gd name="T14" fmla="*/ 0 w 293"/>
                  <a:gd name="T15" fmla="*/ 1 h 119"/>
                  <a:gd name="T16" fmla="*/ 0 w 293"/>
                  <a:gd name="T17" fmla="*/ 1 h 119"/>
                  <a:gd name="T18" fmla="*/ 0 w 293"/>
                  <a:gd name="T19" fmla="*/ 0 h 119"/>
                  <a:gd name="T20" fmla="*/ 0 w 293"/>
                  <a:gd name="T21" fmla="*/ 0 h 119"/>
                  <a:gd name="T22" fmla="*/ 0 w 293"/>
                  <a:gd name="T23" fmla="*/ 0 h 119"/>
                  <a:gd name="T24" fmla="*/ 0 w 293"/>
                  <a:gd name="T25" fmla="*/ 0 h 119"/>
                  <a:gd name="T26" fmla="*/ 0 w 293"/>
                  <a:gd name="T27" fmla="*/ 0 h 119"/>
                  <a:gd name="T28" fmla="*/ 0 w 293"/>
                  <a:gd name="T29" fmla="*/ 0 h 119"/>
                  <a:gd name="T30" fmla="*/ 0 w 293"/>
                  <a:gd name="T31" fmla="*/ 0 h 119"/>
                  <a:gd name="T32" fmla="*/ 0 w 293"/>
                  <a:gd name="T33" fmla="*/ 0 h 119"/>
                  <a:gd name="T34" fmla="*/ 0 w 293"/>
                  <a:gd name="T35" fmla="*/ 0 h 119"/>
                  <a:gd name="T36" fmla="*/ 0 w 293"/>
                  <a:gd name="T37" fmla="*/ 0 h 119"/>
                  <a:gd name="T38" fmla="*/ 0 w 293"/>
                  <a:gd name="T39" fmla="*/ 0 h 119"/>
                  <a:gd name="T40" fmla="*/ 0 w 293"/>
                  <a:gd name="T41" fmla="*/ 0 h 119"/>
                  <a:gd name="T42" fmla="*/ 0 w 293"/>
                  <a:gd name="T43" fmla="*/ 0 h 119"/>
                  <a:gd name="T44" fmla="*/ 0 w 293"/>
                  <a:gd name="T45" fmla="*/ 0 h 119"/>
                  <a:gd name="T46" fmla="*/ 0 w 293"/>
                  <a:gd name="T47" fmla="*/ 0 h 119"/>
                  <a:gd name="T48" fmla="*/ 1 w 293"/>
                  <a:gd name="T49" fmla="*/ 0 h 119"/>
                  <a:gd name="T50" fmla="*/ 1 w 293"/>
                  <a:gd name="T51" fmla="*/ 0 h 119"/>
                  <a:gd name="T52" fmla="*/ 1 w 293"/>
                  <a:gd name="T53" fmla="*/ 0 h 119"/>
                  <a:gd name="T54" fmla="*/ 1 w 293"/>
                  <a:gd name="T55" fmla="*/ 0 h 119"/>
                  <a:gd name="T56" fmla="*/ 1 w 293"/>
                  <a:gd name="T57" fmla="*/ 0 h 119"/>
                  <a:gd name="T58" fmla="*/ 1 w 293"/>
                  <a:gd name="T59" fmla="*/ 0 h 119"/>
                  <a:gd name="T60" fmla="*/ 1 w 293"/>
                  <a:gd name="T61" fmla="*/ 0 h 119"/>
                  <a:gd name="T62" fmla="*/ 1 w 293"/>
                  <a:gd name="T63" fmla="*/ 0 h 119"/>
                  <a:gd name="T64" fmla="*/ 1 w 293"/>
                  <a:gd name="T65" fmla="*/ 0 h 119"/>
                  <a:gd name="T66" fmla="*/ 1 w 293"/>
                  <a:gd name="T67" fmla="*/ 0 h 119"/>
                  <a:gd name="T68" fmla="*/ 2 w 293"/>
                  <a:gd name="T69" fmla="*/ 0 h 119"/>
                  <a:gd name="T70" fmla="*/ 2 w 293"/>
                  <a:gd name="T71" fmla="*/ 0 h 119"/>
                  <a:gd name="T72" fmla="*/ 2 w 293"/>
                  <a:gd name="T73" fmla="*/ 0 h 119"/>
                  <a:gd name="T74" fmla="*/ 2 w 293"/>
                  <a:gd name="T75" fmla="*/ 0 h 119"/>
                  <a:gd name="T76" fmla="*/ 1 w 293"/>
                  <a:gd name="T77" fmla="*/ 0 h 119"/>
                  <a:gd name="T78" fmla="*/ 1 w 293"/>
                  <a:gd name="T79" fmla="*/ 0 h 119"/>
                  <a:gd name="T80" fmla="*/ 1 w 293"/>
                  <a:gd name="T81" fmla="*/ 1 h 119"/>
                  <a:gd name="T82" fmla="*/ 1 w 293"/>
                  <a:gd name="T83" fmla="*/ 1 h 119"/>
                  <a:gd name="T84" fmla="*/ 1 w 293"/>
                  <a:gd name="T85" fmla="*/ 1 h 119"/>
                  <a:gd name="T86" fmla="*/ 0 w 293"/>
                  <a:gd name="T87" fmla="*/ 1 h 119"/>
                  <a:gd name="T88" fmla="*/ 0 w 293"/>
                  <a:gd name="T89" fmla="*/ 1 h 11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93"/>
                  <a:gd name="T136" fmla="*/ 0 h 119"/>
                  <a:gd name="T137" fmla="*/ 293 w 293"/>
                  <a:gd name="T138" fmla="*/ 119 h 11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93" h="119">
                    <a:moveTo>
                      <a:pt x="41" y="119"/>
                    </a:moveTo>
                    <a:lnTo>
                      <a:pt x="38" y="119"/>
                    </a:lnTo>
                    <a:lnTo>
                      <a:pt x="33" y="118"/>
                    </a:lnTo>
                    <a:lnTo>
                      <a:pt x="30" y="116"/>
                    </a:lnTo>
                    <a:lnTo>
                      <a:pt x="27" y="112"/>
                    </a:lnTo>
                    <a:lnTo>
                      <a:pt x="19" y="106"/>
                    </a:lnTo>
                    <a:lnTo>
                      <a:pt x="13" y="96"/>
                    </a:lnTo>
                    <a:lnTo>
                      <a:pt x="7" y="87"/>
                    </a:lnTo>
                    <a:lnTo>
                      <a:pt x="4" y="78"/>
                    </a:lnTo>
                    <a:lnTo>
                      <a:pt x="0" y="70"/>
                    </a:lnTo>
                    <a:lnTo>
                      <a:pt x="0" y="64"/>
                    </a:lnTo>
                    <a:lnTo>
                      <a:pt x="0" y="57"/>
                    </a:lnTo>
                    <a:lnTo>
                      <a:pt x="1" y="50"/>
                    </a:lnTo>
                    <a:lnTo>
                      <a:pt x="3" y="45"/>
                    </a:lnTo>
                    <a:lnTo>
                      <a:pt x="4" y="39"/>
                    </a:lnTo>
                    <a:lnTo>
                      <a:pt x="6" y="34"/>
                    </a:lnTo>
                    <a:lnTo>
                      <a:pt x="9" y="30"/>
                    </a:lnTo>
                    <a:lnTo>
                      <a:pt x="13" y="25"/>
                    </a:lnTo>
                    <a:lnTo>
                      <a:pt x="16" y="22"/>
                    </a:lnTo>
                    <a:lnTo>
                      <a:pt x="24" y="15"/>
                    </a:lnTo>
                    <a:lnTo>
                      <a:pt x="33" y="10"/>
                    </a:lnTo>
                    <a:lnTo>
                      <a:pt x="45" y="7"/>
                    </a:lnTo>
                    <a:lnTo>
                      <a:pt x="56" y="3"/>
                    </a:lnTo>
                    <a:lnTo>
                      <a:pt x="69" y="2"/>
                    </a:lnTo>
                    <a:lnTo>
                      <a:pt x="82" y="1"/>
                    </a:lnTo>
                    <a:lnTo>
                      <a:pt x="95" y="0"/>
                    </a:lnTo>
                    <a:lnTo>
                      <a:pt x="108" y="0"/>
                    </a:lnTo>
                    <a:lnTo>
                      <a:pt x="136" y="1"/>
                    </a:lnTo>
                    <a:lnTo>
                      <a:pt x="160" y="1"/>
                    </a:lnTo>
                    <a:lnTo>
                      <a:pt x="183" y="1"/>
                    </a:lnTo>
                    <a:lnTo>
                      <a:pt x="202" y="2"/>
                    </a:lnTo>
                    <a:lnTo>
                      <a:pt x="220" y="3"/>
                    </a:lnTo>
                    <a:lnTo>
                      <a:pt x="236" y="6"/>
                    </a:lnTo>
                    <a:lnTo>
                      <a:pt x="251" y="9"/>
                    </a:lnTo>
                    <a:lnTo>
                      <a:pt x="265" y="13"/>
                    </a:lnTo>
                    <a:lnTo>
                      <a:pt x="279" y="17"/>
                    </a:lnTo>
                    <a:lnTo>
                      <a:pt x="293" y="22"/>
                    </a:lnTo>
                    <a:lnTo>
                      <a:pt x="273" y="30"/>
                    </a:lnTo>
                    <a:lnTo>
                      <a:pt x="241" y="44"/>
                    </a:lnTo>
                    <a:lnTo>
                      <a:pt x="201" y="58"/>
                    </a:lnTo>
                    <a:lnTo>
                      <a:pt x="156" y="76"/>
                    </a:lnTo>
                    <a:lnTo>
                      <a:pt x="114" y="92"/>
                    </a:lnTo>
                    <a:lnTo>
                      <a:pt x="77" y="107"/>
                    </a:lnTo>
                    <a:lnTo>
                      <a:pt x="51" y="116"/>
                    </a:lnTo>
                    <a:lnTo>
                      <a:pt x="41" y="119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28" name="Freeform 547"/>
              <p:cNvSpPr>
                <a:spLocks/>
              </p:cNvSpPr>
              <p:nvPr/>
            </p:nvSpPr>
            <p:spPr bwMode="auto">
              <a:xfrm>
                <a:off x="853" y="1225"/>
                <a:ext cx="55" cy="12"/>
              </a:xfrm>
              <a:custGeom>
                <a:avLst/>
                <a:gdLst>
                  <a:gd name="T0" fmla="*/ 0 w 299"/>
                  <a:gd name="T1" fmla="*/ 0 h 63"/>
                  <a:gd name="T2" fmla="*/ 0 w 299"/>
                  <a:gd name="T3" fmla="*/ 0 h 63"/>
                  <a:gd name="T4" fmla="*/ 0 w 299"/>
                  <a:gd name="T5" fmla="*/ 0 h 63"/>
                  <a:gd name="T6" fmla="*/ 0 w 299"/>
                  <a:gd name="T7" fmla="*/ 0 h 63"/>
                  <a:gd name="T8" fmla="*/ 0 w 299"/>
                  <a:gd name="T9" fmla="*/ 0 h 63"/>
                  <a:gd name="T10" fmla="*/ 0 w 299"/>
                  <a:gd name="T11" fmla="*/ 0 h 63"/>
                  <a:gd name="T12" fmla="*/ 0 w 299"/>
                  <a:gd name="T13" fmla="*/ 0 h 63"/>
                  <a:gd name="T14" fmla="*/ 0 w 299"/>
                  <a:gd name="T15" fmla="*/ 0 h 63"/>
                  <a:gd name="T16" fmla="*/ 0 w 299"/>
                  <a:gd name="T17" fmla="*/ 0 h 63"/>
                  <a:gd name="T18" fmla="*/ 0 w 299"/>
                  <a:gd name="T19" fmla="*/ 0 h 63"/>
                  <a:gd name="T20" fmla="*/ 0 w 299"/>
                  <a:gd name="T21" fmla="*/ 0 h 63"/>
                  <a:gd name="T22" fmla="*/ 0 w 299"/>
                  <a:gd name="T23" fmla="*/ 0 h 63"/>
                  <a:gd name="T24" fmla="*/ 0 w 299"/>
                  <a:gd name="T25" fmla="*/ 0 h 63"/>
                  <a:gd name="T26" fmla="*/ 0 w 299"/>
                  <a:gd name="T27" fmla="*/ 0 h 63"/>
                  <a:gd name="T28" fmla="*/ 0 w 299"/>
                  <a:gd name="T29" fmla="*/ 0 h 63"/>
                  <a:gd name="T30" fmla="*/ 0 w 299"/>
                  <a:gd name="T31" fmla="*/ 0 h 63"/>
                  <a:gd name="T32" fmla="*/ 0 w 299"/>
                  <a:gd name="T33" fmla="*/ 0 h 63"/>
                  <a:gd name="T34" fmla="*/ 0 w 299"/>
                  <a:gd name="T35" fmla="*/ 0 h 63"/>
                  <a:gd name="T36" fmla="*/ 0 w 299"/>
                  <a:gd name="T37" fmla="*/ 0 h 63"/>
                  <a:gd name="T38" fmla="*/ 0 w 299"/>
                  <a:gd name="T39" fmla="*/ 0 h 63"/>
                  <a:gd name="T40" fmla="*/ 0 w 299"/>
                  <a:gd name="T41" fmla="*/ 0 h 63"/>
                  <a:gd name="T42" fmla="*/ 0 w 299"/>
                  <a:gd name="T43" fmla="*/ 0 h 63"/>
                  <a:gd name="T44" fmla="*/ 1 w 299"/>
                  <a:gd name="T45" fmla="*/ 0 h 63"/>
                  <a:gd name="T46" fmla="*/ 1 w 299"/>
                  <a:gd name="T47" fmla="*/ 0 h 63"/>
                  <a:gd name="T48" fmla="*/ 1 w 299"/>
                  <a:gd name="T49" fmla="*/ 0 h 63"/>
                  <a:gd name="T50" fmla="*/ 1 w 299"/>
                  <a:gd name="T51" fmla="*/ 0 h 63"/>
                  <a:gd name="T52" fmla="*/ 1 w 299"/>
                  <a:gd name="T53" fmla="*/ 0 h 63"/>
                  <a:gd name="T54" fmla="*/ 1 w 299"/>
                  <a:gd name="T55" fmla="*/ 0 h 63"/>
                  <a:gd name="T56" fmla="*/ 2 w 299"/>
                  <a:gd name="T57" fmla="*/ 0 h 63"/>
                  <a:gd name="T58" fmla="*/ 2 w 299"/>
                  <a:gd name="T59" fmla="*/ 0 h 63"/>
                  <a:gd name="T60" fmla="*/ 2 w 299"/>
                  <a:gd name="T61" fmla="*/ 0 h 63"/>
                  <a:gd name="T62" fmla="*/ 2 w 299"/>
                  <a:gd name="T63" fmla="*/ 0 h 63"/>
                  <a:gd name="T64" fmla="*/ 2 w 299"/>
                  <a:gd name="T65" fmla="*/ 0 h 63"/>
                  <a:gd name="T66" fmla="*/ 2 w 299"/>
                  <a:gd name="T67" fmla="*/ 0 h 63"/>
                  <a:gd name="T68" fmla="*/ 1 w 299"/>
                  <a:gd name="T69" fmla="*/ 0 h 63"/>
                  <a:gd name="T70" fmla="*/ 1 w 299"/>
                  <a:gd name="T71" fmla="*/ 0 h 63"/>
                  <a:gd name="T72" fmla="*/ 1 w 299"/>
                  <a:gd name="T73" fmla="*/ 0 h 63"/>
                  <a:gd name="T74" fmla="*/ 1 w 299"/>
                  <a:gd name="T75" fmla="*/ 0 h 63"/>
                  <a:gd name="T76" fmla="*/ 1 w 299"/>
                  <a:gd name="T77" fmla="*/ 0 h 63"/>
                  <a:gd name="T78" fmla="*/ 1 w 299"/>
                  <a:gd name="T79" fmla="*/ 0 h 63"/>
                  <a:gd name="T80" fmla="*/ 0 w 299"/>
                  <a:gd name="T81" fmla="*/ 0 h 6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99"/>
                  <a:gd name="T124" fmla="*/ 0 h 63"/>
                  <a:gd name="T125" fmla="*/ 299 w 299"/>
                  <a:gd name="T126" fmla="*/ 63 h 6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99" h="63">
                    <a:moveTo>
                      <a:pt x="69" y="63"/>
                    </a:moveTo>
                    <a:lnTo>
                      <a:pt x="55" y="63"/>
                    </a:lnTo>
                    <a:lnTo>
                      <a:pt x="43" y="63"/>
                    </a:lnTo>
                    <a:lnTo>
                      <a:pt x="32" y="63"/>
                    </a:lnTo>
                    <a:lnTo>
                      <a:pt x="24" y="63"/>
                    </a:lnTo>
                    <a:lnTo>
                      <a:pt x="16" y="63"/>
                    </a:lnTo>
                    <a:lnTo>
                      <a:pt x="10" y="63"/>
                    </a:lnTo>
                    <a:lnTo>
                      <a:pt x="5" y="63"/>
                    </a:lnTo>
                    <a:lnTo>
                      <a:pt x="0" y="63"/>
                    </a:lnTo>
                    <a:lnTo>
                      <a:pt x="0" y="50"/>
                    </a:lnTo>
                    <a:lnTo>
                      <a:pt x="1" y="40"/>
                    </a:lnTo>
                    <a:lnTo>
                      <a:pt x="4" y="31"/>
                    </a:lnTo>
                    <a:lnTo>
                      <a:pt x="7" y="22"/>
                    </a:lnTo>
                    <a:lnTo>
                      <a:pt x="10" y="17"/>
                    </a:lnTo>
                    <a:lnTo>
                      <a:pt x="15" y="12"/>
                    </a:lnTo>
                    <a:lnTo>
                      <a:pt x="21" y="8"/>
                    </a:lnTo>
                    <a:lnTo>
                      <a:pt x="27" y="5"/>
                    </a:lnTo>
                    <a:lnTo>
                      <a:pt x="33" y="3"/>
                    </a:lnTo>
                    <a:lnTo>
                      <a:pt x="40" y="1"/>
                    </a:lnTo>
                    <a:lnTo>
                      <a:pt x="47" y="0"/>
                    </a:lnTo>
                    <a:lnTo>
                      <a:pt x="55" y="0"/>
                    </a:lnTo>
                    <a:lnTo>
                      <a:pt x="72" y="0"/>
                    </a:lnTo>
                    <a:lnTo>
                      <a:pt x="91" y="0"/>
                    </a:lnTo>
                    <a:lnTo>
                      <a:pt x="119" y="0"/>
                    </a:lnTo>
                    <a:lnTo>
                      <a:pt x="150" y="1"/>
                    </a:lnTo>
                    <a:lnTo>
                      <a:pt x="181" y="3"/>
                    </a:lnTo>
                    <a:lnTo>
                      <a:pt x="210" y="6"/>
                    </a:lnTo>
                    <a:lnTo>
                      <a:pt x="237" y="11"/>
                    </a:lnTo>
                    <a:lnTo>
                      <a:pt x="263" y="17"/>
                    </a:lnTo>
                    <a:lnTo>
                      <a:pt x="273" y="21"/>
                    </a:lnTo>
                    <a:lnTo>
                      <a:pt x="283" y="25"/>
                    </a:lnTo>
                    <a:lnTo>
                      <a:pt x="291" y="29"/>
                    </a:lnTo>
                    <a:lnTo>
                      <a:pt x="299" y="34"/>
                    </a:lnTo>
                    <a:lnTo>
                      <a:pt x="271" y="35"/>
                    </a:lnTo>
                    <a:lnTo>
                      <a:pt x="242" y="39"/>
                    </a:lnTo>
                    <a:lnTo>
                      <a:pt x="215" y="43"/>
                    </a:lnTo>
                    <a:lnTo>
                      <a:pt x="187" y="48"/>
                    </a:lnTo>
                    <a:lnTo>
                      <a:pt x="158" y="53"/>
                    </a:lnTo>
                    <a:lnTo>
                      <a:pt x="130" y="58"/>
                    </a:lnTo>
                    <a:lnTo>
                      <a:pt x="100" y="61"/>
                    </a:lnTo>
                    <a:lnTo>
                      <a:pt x="69" y="63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29" name="Freeform 548"/>
              <p:cNvSpPr>
                <a:spLocks/>
              </p:cNvSpPr>
              <p:nvPr/>
            </p:nvSpPr>
            <p:spPr bwMode="auto">
              <a:xfrm>
                <a:off x="937" y="1212"/>
                <a:ext cx="40" cy="14"/>
              </a:xfrm>
              <a:custGeom>
                <a:avLst/>
                <a:gdLst>
                  <a:gd name="T0" fmla="*/ 1 w 217"/>
                  <a:gd name="T1" fmla="*/ 0 h 76"/>
                  <a:gd name="T2" fmla="*/ 1 w 217"/>
                  <a:gd name="T3" fmla="*/ 0 h 76"/>
                  <a:gd name="T4" fmla="*/ 1 w 217"/>
                  <a:gd name="T5" fmla="*/ 0 h 76"/>
                  <a:gd name="T6" fmla="*/ 1 w 217"/>
                  <a:gd name="T7" fmla="*/ 0 h 76"/>
                  <a:gd name="T8" fmla="*/ 1 w 217"/>
                  <a:gd name="T9" fmla="*/ 0 h 76"/>
                  <a:gd name="T10" fmla="*/ 1 w 217"/>
                  <a:gd name="T11" fmla="*/ 0 h 76"/>
                  <a:gd name="T12" fmla="*/ 1 w 217"/>
                  <a:gd name="T13" fmla="*/ 0 h 76"/>
                  <a:gd name="T14" fmla="*/ 0 w 217"/>
                  <a:gd name="T15" fmla="*/ 1 h 76"/>
                  <a:gd name="T16" fmla="*/ 0 w 217"/>
                  <a:gd name="T17" fmla="*/ 1 h 76"/>
                  <a:gd name="T18" fmla="*/ 0 w 217"/>
                  <a:gd name="T19" fmla="*/ 1 h 76"/>
                  <a:gd name="T20" fmla="*/ 0 w 217"/>
                  <a:gd name="T21" fmla="*/ 1 h 76"/>
                  <a:gd name="T22" fmla="*/ 0 w 217"/>
                  <a:gd name="T23" fmla="*/ 1 h 76"/>
                  <a:gd name="T24" fmla="*/ 0 w 217"/>
                  <a:gd name="T25" fmla="*/ 0 h 76"/>
                  <a:gd name="T26" fmla="*/ 0 w 217"/>
                  <a:gd name="T27" fmla="*/ 0 h 76"/>
                  <a:gd name="T28" fmla="*/ 0 w 217"/>
                  <a:gd name="T29" fmla="*/ 0 h 76"/>
                  <a:gd name="T30" fmla="*/ 0 w 217"/>
                  <a:gd name="T31" fmla="*/ 0 h 76"/>
                  <a:gd name="T32" fmla="*/ 0 w 217"/>
                  <a:gd name="T33" fmla="*/ 0 h 76"/>
                  <a:gd name="T34" fmla="*/ 0 w 217"/>
                  <a:gd name="T35" fmla="*/ 0 h 76"/>
                  <a:gd name="T36" fmla="*/ 0 w 217"/>
                  <a:gd name="T37" fmla="*/ 0 h 76"/>
                  <a:gd name="T38" fmla="*/ 0 w 217"/>
                  <a:gd name="T39" fmla="*/ 0 h 76"/>
                  <a:gd name="T40" fmla="*/ 0 w 217"/>
                  <a:gd name="T41" fmla="*/ 0 h 76"/>
                  <a:gd name="T42" fmla="*/ 0 w 217"/>
                  <a:gd name="T43" fmla="*/ 0 h 76"/>
                  <a:gd name="T44" fmla="*/ 0 w 217"/>
                  <a:gd name="T45" fmla="*/ 0 h 76"/>
                  <a:gd name="T46" fmla="*/ 1 w 217"/>
                  <a:gd name="T47" fmla="*/ 0 h 76"/>
                  <a:gd name="T48" fmla="*/ 1 w 217"/>
                  <a:gd name="T49" fmla="*/ 0 h 76"/>
                  <a:gd name="T50" fmla="*/ 1 w 217"/>
                  <a:gd name="T51" fmla="*/ 0 h 76"/>
                  <a:gd name="T52" fmla="*/ 1 w 217"/>
                  <a:gd name="T53" fmla="*/ 0 h 76"/>
                  <a:gd name="T54" fmla="*/ 1 w 217"/>
                  <a:gd name="T55" fmla="*/ 0 h 76"/>
                  <a:gd name="T56" fmla="*/ 1 w 217"/>
                  <a:gd name="T57" fmla="*/ 0 h 76"/>
                  <a:gd name="T58" fmla="*/ 1 w 217"/>
                  <a:gd name="T59" fmla="*/ 0 h 76"/>
                  <a:gd name="T60" fmla="*/ 1 w 217"/>
                  <a:gd name="T61" fmla="*/ 0 h 76"/>
                  <a:gd name="T62" fmla="*/ 1 w 217"/>
                  <a:gd name="T63" fmla="*/ 0 h 76"/>
                  <a:gd name="T64" fmla="*/ 1 w 217"/>
                  <a:gd name="T65" fmla="*/ 0 h 76"/>
                  <a:gd name="T66" fmla="*/ 1 w 217"/>
                  <a:gd name="T67" fmla="*/ 0 h 76"/>
                  <a:gd name="T68" fmla="*/ 1 w 217"/>
                  <a:gd name="T69" fmla="*/ 0 h 76"/>
                  <a:gd name="T70" fmla="*/ 1 w 217"/>
                  <a:gd name="T71" fmla="*/ 0 h 76"/>
                  <a:gd name="T72" fmla="*/ 1 w 217"/>
                  <a:gd name="T73" fmla="*/ 0 h 76"/>
                  <a:gd name="T74" fmla="*/ 1 w 217"/>
                  <a:gd name="T75" fmla="*/ 0 h 76"/>
                  <a:gd name="T76" fmla="*/ 1 w 217"/>
                  <a:gd name="T77" fmla="*/ 0 h 76"/>
                  <a:gd name="T78" fmla="*/ 1 w 217"/>
                  <a:gd name="T79" fmla="*/ 0 h 76"/>
                  <a:gd name="T80" fmla="*/ 1 w 217"/>
                  <a:gd name="T81" fmla="*/ 0 h 76"/>
                  <a:gd name="T82" fmla="*/ 1 w 217"/>
                  <a:gd name="T83" fmla="*/ 0 h 76"/>
                  <a:gd name="T84" fmla="*/ 1 w 217"/>
                  <a:gd name="T85" fmla="*/ 0 h 7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17"/>
                  <a:gd name="T130" fmla="*/ 0 h 76"/>
                  <a:gd name="T131" fmla="*/ 217 w 217"/>
                  <a:gd name="T132" fmla="*/ 76 h 7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17" h="76">
                    <a:moveTo>
                      <a:pt x="160" y="49"/>
                    </a:moveTo>
                    <a:lnTo>
                      <a:pt x="148" y="50"/>
                    </a:lnTo>
                    <a:lnTo>
                      <a:pt x="135" y="53"/>
                    </a:lnTo>
                    <a:lnTo>
                      <a:pt x="123" y="57"/>
                    </a:lnTo>
                    <a:lnTo>
                      <a:pt x="109" y="63"/>
                    </a:lnTo>
                    <a:lnTo>
                      <a:pt x="95" y="67"/>
                    </a:lnTo>
                    <a:lnTo>
                      <a:pt x="79" y="72"/>
                    </a:lnTo>
                    <a:lnTo>
                      <a:pt x="62" y="75"/>
                    </a:lnTo>
                    <a:lnTo>
                      <a:pt x="42" y="76"/>
                    </a:lnTo>
                    <a:lnTo>
                      <a:pt x="34" y="76"/>
                    </a:lnTo>
                    <a:lnTo>
                      <a:pt x="29" y="75"/>
                    </a:lnTo>
                    <a:lnTo>
                      <a:pt x="23" y="74"/>
                    </a:lnTo>
                    <a:lnTo>
                      <a:pt x="18" y="72"/>
                    </a:lnTo>
                    <a:lnTo>
                      <a:pt x="14" y="70"/>
                    </a:lnTo>
                    <a:lnTo>
                      <a:pt x="10" y="66"/>
                    </a:lnTo>
                    <a:lnTo>
                      <a:pt x="8" y="63"/>
                    </a:lnTo>
                    <a:lnTo>
                      <a:pt x="6" y="59"/>
                    </a:lnTo>
                    <a:lnTo>
                      <a:pt x="2" y="51"/>
                    </a:lnTo>
                    <a:lnTo>
                      <a:pt x="1" y="41"/>
                    </a:lnTo>
                    <a:lnTo>
                      <a:pt x="0" y="32"/>
                    </a:lnTo>
                    <a:lnTo>
                      <a:pt x="0" y="20"/>
                    </a:lnTo>
                    <a:lnTo>
                      <a:pt x="35" y="13"/>
                    </a:lnTo>
                    <a:lnTo>
                      <a:pt x="66" y="6"/>
                    </a:lnTo>
                    <a:lnTo>
                      <a:pt x="81" y="4"/>
                    </a:lnTo>
                    <a:lnTo>
                      <a:pt x="95" y="2"/>
                    </a:lnTo>
                    <a:lnTo>
                      <a:pt x="109" y="1"/>
                    </a:lnTo>
                    <a:lnTo>
                      <a:pt x="121" y="0"/>
                    </a:lnTo>
                    <a:lnTo>
                      <a:pt x="134" y="1"/>
                    </a:lnTo>
                    <a:lnTo>
                      <a:pt x="145" y="2"/>
                    </a:lnTo>
                    <a:lnTo>
                      <a:pt x="158" y="5"/>
                    </a:lnTo>
                    <a:lnTo>
                      <a:pt x="170" y="9"/>
                    </a:lnTo>
                    <a:lnTo>
                      <a:pt x="181" y="14"/>
                    </a:lnTo>
                    <a:lnTo>
                      <a:pt x="193" y="21"/>
                    </a:lnTo>
                    <a:lnTo>
                      <a:pt x="204" y="31"/>
                    </a:lnTo>
                    <a:lnTo>
                      <a:pt x="217" y="42"/>
                    </a:lnTo>
                    <a:lnTo>
                      <a:pt x="206" y="42"/>
                    </a:lnTo>
                    <a:lnTo>
                      <a:pt x="196" y="43"/>
                    </a:lnTo>
                    <a:lnTo>
                      <a:pt x="186" y="44"/>
                    </a:lnTo>
                    <a:lnTo>
                      <a:pt x="178" y="45"/>
                    </a:lnTo>
                    <a:lnTo>
                      <a:pt x="171" y="47"/>
                    </a:lnTo>
                    <a:lnTo>
                      <a:pt x="165" y="48"/>
                    </a:lnTo>
                    <a:lnTo>
                      <a:pt x="162" y="48"/>
                    </a:lnTo>
                    <a:lnTo>
                      <a:pt x="160" y="49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30" name="Freeform 549"/>
              <p:cNvSpPr>
                <a:spLocks/>
              </p:cNvSpPr>
              <p:nvPr/>
            </p:nvSpPr>
            <p:spPr bwMode="auto">
              <a:xfrm>
                <a:off x="993" y="1202"/>
                <a:ext cx="34" cy="7"/>
              </a:xfrm>
              <a:custGeom>
                <a:avLst/>
                <a:gdLst>
                  <a:gd name="T0" fmla="*/ 1 w 179"/>
                  <a:gd name="T1" fmla="*/ 0 h 38"/>
                  <a:gd name="T2" fmla="*/ 1 w 179"/>
                  <a:gd name="T3" fmla="*/ 0 h 38"/>
                  <a:gd name="T4" fmla="*/ 1 w 179"/>
                  <a:gd name="T5" fmla="*/ 0 h 38"/>
                  <a:gd name="T6" fmla="*/ 1 w 179"/>
                  <a:gd name="T7" fmla="*/ 0 h 38"/>
                  <a:gd name="T8" fmla="*/ 1 w 179"/>
                  <a:gd name="T9" fmla="*/ 0 h 38"/>
                  <a:gd name="T10" fmla="*/ 1 w 179"/>
                  <a:gd name="T11" fmla="*/ 0 h 38"/>
                  <a:gd name="T12" fmla="*/ 1 w 179"/>
                  <a:gd name="T13" fmla="*/ 0 h 38"/>
                  <a:gd name="T14" fmla="*/ 1 w 179"/>
                  <a:gd name="T15" fmla="*/ 0 h 38"/>
                  <a:gd name="T16" fmla="*/ 1 w 179"/>
                  <a:gd name="T17" fmla="*/ 0 h 38"/>
                  <a:gd name="T18" fmla="*/ 1 w 179"/>
                  <a:gd name="T19" fmla="*/ 0 h 38"/>
                  <a:gd name="T20" fmla="*/ 0 w 179"/>
                  <a:gd name="T21" fmla="*/ 0 h 38"/>
                  <a:gd name="T22" fmla="*/ 0 w 179"/>
                  <a:gd name="T23" fmla="*/ 0 h 38"/>
                  <a:gd name="T24" fmla="*/ 0 w 179"/>
                  <a:gd name="T25" fmla="*/ 0 h 38"/>
                  <a:gd name="T26" fmla="*/ 0 w 179"/>
                  <a:gd name="T27" fmla="*/ 0 h 38"/>
                  <a:gd name="T28" fmla="*/ 0 w 179"/>
                  <a:gd name="T29" fmla="*/ 0 h 38"/>
                  <a:gd name="T30" fmla="*/ 1 w 179"/>
                  <a:gd name="T31" fmla="*/ 0 h 38"/>
                  <a:gd name="T32" fmla="*/ 1 w 179"/>
                  <a:gd name="T33" fmla="*/ 0 h 38"/>
                  <a:gd name="T34" fmla="*/ 1 w 179"/>
                  <a:gd name="T35" fmla="*/ 0 h 38"/>
                  <a:gd name="T36" fmla="*/ 1 w 179"/>
                  <a:gd name="T37" fmla="*/ 0 h 38"/>
                  <a:gd name="T38" fmla="*/ 1 w 179"/>
                  <a:gd name="T39" fmla="*/ 0 h 38"/>
                  <a:gd name="T40" fmla="*/ 1 w 179"/>
                  <a:gd name="T41" fmla="*/ 0 h 38"/>
                  <a:gd name="T42" fmla="*/ 1 w 179"/>
                  <a:gd name="T43" fmla="*/ 0 h 38"/>
                  <a:gd name="T44" fmla="*/ 1 w 179"/>
                  <a:gd name="T45" fmla="*/ 0 h 38"/>
                  <a:gd name="T46" fmla="*/ 1 w 179"/>
                  <a:gd name="T47" fmla="*/ 0 h 38"/>
                  <a:gd name="T48" fmla="*/ 1 w 179"/>
                  <a:gd name="T49" fmla="*/ 0 h 3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79"/>
                  <a:gd name="T76" fmla="*/ 0 h 38"/>
                  <a:gd name="T77" fmla="*/ 179 w 179"/>
                  <a:gd name="T78" fmla="*/ 38 h 38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79" h="38">
                    <a:moveTo>
                      <a:pt x="179" y="12"/>
                    </a:moveTo>
                    <a:lnTo>
                      <a:pt x="161" y="1"/>
                    </a:lnTo>
                    <a:lnTo>
                      <a:pt x="153" y="5"/>
                    </a:lnTo>
                    <a:lnTo>
                      <a:pt x="147" y="8"/>
                    </a:lnTo>
                    <a:lnTo>
                      <a:pt x="141" y="10"/>
                    </a:lnTo>
                    <a:lnTo>
                      <a:pt x="137" y="11"/>
                    </a:lnTo>
                    <a:lnTo>
                      <a:pt x="126" y="11"/>
                    </a:lnTo>
                    <a:lnTo>
                      <a:pt x="114" y="10"/>
                    </a:lnTo>
                    <a:lnTo>
                      <a:pt x="96" y="7"/>
                    </a:lnTo>
                    <a:lnTo>
                      <a:pt x="74" y="3"/>
                    </a:lnTo>
                    <a:lnTo>
                      <a:pt x="41" y="1"/>
                    </a:lnTo>
                    <a:lnTo>
                      <a:pt x="0" y="0"/>
                    </a:lnTo>
                    <a:lnTo>
                      <a:pt x="0" y="25"/>
                    </a:lnTo>
                    <a:lnTo>
                      <a:pt x="40" y="26"/>
                    </a:lnTo>
                    <a:lnTo>
                      <a:pt x="70" y="28"/>
                    </a:lnTo>
                    <a:lnTo>
                      <a:pt x="93" y="32"/>
                    </a:lnTo>
                    <a:lnTo>
                      <a:pt x="110" y="35"/>
                    </a:lnTo>
                    <a:lnTo>
                      <a:pt x="125" y="38"/>
                    </a:lnTo>
                    <a:lnTo>
                      <a:pt x="139" y="36"/>
                    </a:lnTo>
                    <a:lnTo>
                      <a:pt x="147" y="35"/>
                    </a:lnTo>
                    <a:lnTo>
                      <a:pt x="155" y="32"/>
                    </a:lnTo>
                    <a:lnTo>
                      <a:pt x="163" y="28"/>
                    </a:lnTo>
                    <a:lnTo>
                      <a:pt x="172" y="24"/>
                    </a:lnTo>
                    <a:lnTo>
                      <a:pt x="155" y="12"/>
                    </a:lnTo>
                    <a:lnTo>
                      <a:pt x="179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31" name="Freeform 550"/>
              <p:cNvSpPr>
                <a:spLocks/>
              </p:cNvSpPr>
              <p:nvPr/>
            </p:nvSpPr>
            <p:spPr bwMode="auto">
              <a:xfrm>
                <a:off x="1040" y="1199"/>
                <a:ext cx="28" cy="17"/>
              </a:xfrm>
              <a:custGeom>
                <a:avLst/>
                <a:gdLst>
                  <a:gd name="T0" fmla="*/ 0 w 151"/>
                  <a:gd name="T1" fmla="*/ 0 h 88"/>
                  <a:gd name="T2" fmla="*/ 0 w 151"/>
                  <a:gd name="T3" fmla="*/ 0 h 88"/>
                  <a:gd name="T4" fmla="*/ 0 w 151"/>
                  <a:gd name="T5" fmla="*/ 0 h 88"/>
                  <a:gd name="T6" fmla="*/ 0 w 151"/>
                  <a:gd name="T7" fmla="*/ 0 h 88"/>
                  <a:gd name="T8" fmla="*/ 0 w 151"/>
                  <a:gd name="T9" fmla="*/ 0 h 88"/>
                  <a:gd name="T10" fmla="*/ 0 w 151"/>
                  <a:gd name="T11" fmla="*/ 0 h 88"/>
                  <a:gd name="T12" fmla="*/ 0 w 151"/>
                  <a:gd name="T13" fmla="*/ 0 h 88"/>
                  <a:gd name="T14" fmla="*/ 0 w 151"/>
                  <a:gd name="T15" fmla="*/ 1 h 88"/>
                  <a:gd name="T16" fmla="*/ 0 w 151"/>
                  <a:gd name="T17" fmla="*/ 1 h 88"/>
                  <a:gd name="T18" fmla="*/ 0 w 151"/>
                  <a:gd name="T19" fmla="*/ 1 h 88"/>
                  <a:gd name="T20" fmla="*/ 1 w 151"/>
                  <a:gd name="T21" fmla="*/ 1 h 88"/>
                  <a:gd name="T22" fmla="*/ 1 w 151"/>
                  <a:gd name="T23" fmla="*/ 1 h 88"/>
                  <a:gd name="T24" fmla="*/ 1 w 151"/>
                  <a:gd name="T25" fmla="*/ 1 h 88"/>
                  <a:gd name="T26" fmla="*/ 1 w 151"/>
                  <a:gd name="T27" fmla="*/ 1 h 88"/>
                  <a:gd name="T28" fmla="*/ 1 w 151"/>
                  <a:gd name="T29" fmla="*/ 0 h 88"/>
                  <a:gd name="T30" fmla="*/ 1 w 151"/>
                  <a:gd name="T31" fmla="*/ 0 h 88"/>
                  <a:gd name="T32" fmla="*/ 1 w 151"/>
                  <a:gd name="T33" fmla="*/ 0 h 88"/>
                  <a:gd name="T34" fmla="*/ 1 w 151"/>
                  <a:gd name="T35" fmla="*/ 0 h 88"/>
                  <a:gd name="T36" fmla="*/ 0 w 151"/>
                  <a:gd name="T37" fmla="*/ 0 h 88"/>
                  <a:gd name="T38" fmla="*/ 0 w 151"/>
                  <a:gd name="T39" fmla="*/ 0 h 88"/>
                  <a:gd name="T40" fmla="*/ 0 w 151"/>
                  <a:gd name="T41" fmla="*/ 0 h 88"/>
                  <a:gd name="T42" fmla="*/ 0 w 151"/>
                  <a:gd name="T43" fmla="*/ 0 h 88"/>
                  <a:gd name="T44" fmla="*/ 0 w 151"/>
                  <a:gd name="T45" fmla="*/ 0 h 88"/>
                  <a:gd name="T46" fmla="*/ 0 w 151"/>
                  <a:gd name="T47" fmla="*/ 0 h 88"/>
                  <a:gd name="T48" fmla="*/ 0 w 151"/>
                  <a:gd name="T49" fmla="*/ 0 h 88"/>
                  <a:gd name="T50" fmla="*/ 0 w 151"/>
                  <a:gd name="T51" fmla="*/ 0 h 88"/>
                  <a:gd name="T52" fmla="*/ 0 w 151"/>
                  <a:gd name="T53" fmla="*/ 0 h 88"/>
                  <a:gd name="T54" fmla="*/ 0 w 151"/>
                  <a:gd name="T55" fmla="*/ 0 h 88"/>
                  <a:gd name="T56" fmla="*/ 0 w 151"/>
                  <a:gd name="T57" fmla="*/ 0 h 8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51"/>
                  <a:gd name="T88" fmla="*/ 0 h 88"/>
                  <a:gd name="T89" fmla="*/ 151 w 151"/>
                  <a:gd name="T90" fmla="*/ 88 h 8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51" h="88">
                    <a:moveTo>
                      <a:pt x="10" y="0"/>
                    </a:moveTo>
                    <a:lnTo>
                      <a:pt x="0" y="18"/>
                    </a:lnTo>
                    <a:lnTo>
                      <a:pt x="4" y="30"/>
                    </a:lnTo>
                    <a:lnTo>
                      <a:pt x="10" y="39"/>
                    </a:lnTo>
                    <a:lnTo>
                      <a:pt x="16" y="48"/>
                    </a:lnTo>
                    <a:lnTo>
                      <a:pt x="24" y="55"/>
                    </a:lnTo>
                    <a:lnTo>
                      <a:pt x="30" y="62"/>
                    </a:lnTo>
                    <a:lnTo>
                      <a:pt x="40" y="67"/>
                    </a:lnTo>
                    <a:lnTo>
                      <a:pt x="49" y="72"/>
                    </a:lnTo>
                    <a:lnTo>
                      <a:pt x="58" y="75"/>
                    </a:lnTo>
                    <a:lnTo>
                      <a:pt x="78" y="80"/>
                    </a:lnTo>
                    <a:lnTo>
                      <a:pt x="99" y="83"/>
                    </a:lnTo>
                    <a:lnTo>
                      <a:pt x="123" y="86"/>
                    </a:lnTo>
                    <a:lnTo>
                      <a:pt x="149" y="88"/>
                    </a:lnTo>
                    <a:lnTo>
                      <a:pt x="151" y="63"/>
                    </a:lnTo>
                    <a:lnTo>
                      <a:pt x="126" y="61"/>
                    </a:lnTo>
                    <a:lnTo>
                      <a:pt x="103" y="58"/>
                    </a:lnTo>
                    <a:lnTo>
                      <a:pt x="82" y="55"/>
                    </a:lnTo>
                    <a:lnTo>
                      <a:pt x="65" y="50"/>
                    </a:lnTo>
                    <a:lnTo>
                      <a:pt x="57" y="48"/>
                    </a:lnTo>
                    <a:lnTo>
                      <a:pt x="50" y="44"/>
                    </a:lnTo>
                    <a:lnTo>
                      <a:pt x="44" y="40"/>
                    </a:lnTo>
                    <a:lnTo>
                      <a:pt x="39" y="35"/>
                    </a:lnTo>
                    <a:lnTo>
                      <a:pt x="34" y="31"/>
                    </a:lnTo>
                    <a:lnTo>
                      <a:pt x="29" y="24"/>
                    </a:lnTo>
                    <a:lnTo>
                      <a:pt x="25" y="17"/>
                    </a:lnTo>
                    <a:lnTo>
                      <a:pt x="21" y="8"/>
                    </a:lnTo>
                    <a:lnTo>
                      <a:pt x="10" y="26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32" name="Freeform 551"/>
              <p:cNvSpPr>
                <a:spLocks/>
              </p:cNvSpPr>
              <p:nvPr/>
            </p:nvSpPr>
            <p:spPr bwMode="auto">
              <a:xfrm>
                <a:off x="1114" y="1233"/>
                <a:ext cx="15" cy="12"/>
              </a:xfrm>
              <a:custGeom>
                <a:avLst/>
                <a:gdLst>
                  <a:gd name="T0" fmla="*/ 0 w 78"/>
                  <a:gd name="T1" fmla="*/ 0 h 67"/>
                  <a:gd name="T2" fmla="*/ 0 w 78"/>
                  <a:gd name="T3" fmla="*/ 0 h 67"/>
                  <a:gd name="T4" fmla="*/ 0 w 78"/>
                  <a:gd name="T5" fmla="*/ 0 h 67"/>
                  <a:gd name="T6" fmla="*/ 0 w 78"/>
                  <a:gd name="T7" fmla="*/ 0 h 67"/>
                  <a:gd name="T8" fmla="*/ 0 w 78"/>
                  <a:gd name="T9" fmla="*/ 0 h 67"/>
                  <a:gd name="T10" fmla="*/ 0 w 78"/>
                  <a:gd name="T11" fmla="*/ 0 h 67"/>
                  <a:gd name="T12" fmla="*/ 0 w 78"/>
                  <a:gd name="T13" fmla="*/ 0 h 67"/>
                  <a:gd name="T14" fmla="*/ 0 w 78"/>
                  <a:gd name="T15" fmla="*/ 0 h 67"/>
                  <a:gd name="T16" fmla="*/ 0 w 78"/>
                  <a:gd name="T17" fmla="*/ 0 h 67"/>
                  <a:gd name="T18" fmla="*/ 0 w 78"/>
                  <a:gd name="T19" fmla="*/ 0 h 67"/>
                  <a:gd name="T20" fmla="*/ 0 w 78"/>
                  <a:gd name="T21" fmla="*/ 0 h 67"/>
                  <a:gd name="T22" fmla="*/ 0 w 78"/>
                  <a:gd name="T23" fmla="*/ 0 h 67"/>
                  <a:gd name="T24" fmla="*/ 0 w 78"/>
                  <a:gd name="T25" fmla="*/ 0 h 67"/>
                  <a:gd name="T26" fmla="*/ 0 w 78"/>
                  <a:gd name="T27" fmla="*/ 0 h 67"/>
                  <a:gd name="T28" fmla="*/ 0 w 78"/>
                  <a:gd name="T29" fmla="*/ 0 h 67"/>
                  <a:gd name="T30" fmla="*/ 0 w 78"/>
                  <a:gd name="T31" fmla="*/ 0 h 67"/>
                  <a:gd name="T32" fmla="*/ 0 w 78"/>
                  <a:gd name="T33" fmla="*/ 0 h 67"/>
                  <a:gd name="T34" fmla="*/ 1 w 78"/>
                  <a:gd name="T35" fmla="*/ 0 h 67"/>
                  <a:gd name="T36" fmla="*/ 1 w 78"/>
                  <a:gd name="T37" fmla="*/ 0 h 67"/>
                  <a:gd name="T38" fmla="*/ 1 w 78"/>
                  <a:gd name="T39" fmla="*/ 0 h 67"/>
                  <a:gd name="T40" fmla="*/ 0 w 78"/>
                  <a:gd name="T41" fmla="*/ 0 h 6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8"/>
                  <a:gd name="T64" fmla="*/ 0 h 67"/>
                  <a:gd name="T65" fmla="*/ 78 w 78"/>
                  <a:gd name="T66" fmla="*/ 67 h 6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8" h="67">
                    <a:moveTo>
                      <a:pt x="65" y="24"/>
                    </a:moveTo>
                    <a:lnTo>
                      <a:pt x="62" y="2"/>
                    </a:lnTo>
                    <a:lnTo>
                      <a:pt x="54" y="12"/>
                    </a:lnTo>
                    <a:lnTo>
                      <a:pt x="47" y="18"/>
                    </a:lnTo>
                    <a:lnTo>
                      <a:pt x="41" y="25"/>
                    </a:lnTo>
                    <a:lnTo>
                      <a:pt x="35" y="31"/>
                    </a:lnTo>
                    <a:lnTo>
                      <a:pt x="29" y="35"/>
                    </a:lnTo>
                    <a:lnTo>
                      <a:pt x="23" y="38"/>
                    </a:lnTo>
                    <a:lnTo>
                      <a:pt x="12" y="40"/>
                    </a:lnTo>
                    <a:lnTo>
                      <a:pt x="0" y="41"/>
                    </a:lnTo>
                    <a:lnTo>
                      <a:pt x="0" y="67"/>
                    </a:lnTo>
                    <a:lnTo>
                      <a:pt x="16" y="65"/>
                    </a:lnTo>
                    <a:lnTo>
                      <a:pt x="29" y="63"/>
                    </a:lnTo>
                    <a:lnTo>
                      <a:pt x="41" y="57"/>
                    </a:lnTo>
                    <a:lnTo>
                      <a:pt x="50" y="52"/>
                    </a:lnTo>
                    <a:lnTo>
                      <a:pt x="58" y="44"/>
                    </a:lnTo>
                    <a:lnTo>
                      <a:pt x="65" y="37"/>
                    </a:lnTo>
                    <a:lnTo>
                      <a:pt x="71" y="29"/>
                    </a:lnTo>
                    <a:lnTo>
                      <a:pt x="78" y="22"/>
                    </a:lnTo>
                    <a:lnTo>
                      <a:pt x="75" y="0"/>
                    </a:lnTo>
                    <a:lnTo>
                      <a:pt x="65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33" name="Freeform 552"/>
              <p:cNvSpPr>
                <a:spLocks/>
              </p:cNvSpPr>
              <p:nvPr/>
            </p:nvSpPr>
            <p:spPr bwMode="auto">
              <a:xfrm>
                <a:off x="1157" y="824"/>
                <a:ext cx="25" cy="32"/>
              </a:xfrm>
              <a:custGeom>
                <a:avLst/>
                <a:gdLst>
                  <a:gd name="T0" fmla="*/ 1 w 138"/>
                  <a:gd name="T1" fmla="*/ 1 h 173"/>
                  <a:gd name="T2" fmla="*/ 1 w 138"/>
                  <a:gd name="T3" fmla="*/ 1 h 173"/>
                  <a:gd name="T4" fmla="*/ 1 w 138"/>
                  <a:gd name="T5" fmla="*/ 1 h 173"/>
                  <a:gd name="T6" fmla="*/ 1 w 138"/>
                  <a:gd name="T7" fmla="*/ 1 h 173"/>
                  <a:gd name="T8" fmla="*/ 1 w 138"/>
                  <a:gd name="T9" fmla="*/ 1 h 173"/>
                  <a:gd name="T10" fmla="*/ 1 w 138"/>
                  <a:gd name="T11" fmla="*/ 1 h 173"/>
                  <a:gd name="T12" fmla="*/ 1 w 138"/>
                  <a:gd name="T13" fmla="*/ 1 h 173"/>
                  <a:gd name="T14" fmla="*/ 1 w 138"/>
                  <a:gd name="T15" fmla="*/ 1 h 173"/>
                  <a:gd name="T16" fmla="*/ 1 w 138"/>
                  <a:gd name="T17" fmla="*/ 1 h 173"/>
                  <a:gd name="T18" fmla="*/ 1 w 138"/>
                  <a:gd name="T19" fmla="*/ 1 h 173"/>
                  <a:gd name="T20" fmla="*/ 0 w 138"/>
                  <a:gd name="T21" fmla="*/ 1 h 173"/>
                  <a:gd name="T22" fmla="*/ 0 w 138"/>
                  <a:gd name="T23" fmla="*/ 1 h 173"/>
                  <a:gd name="T24" fmla="*/ 0 w 138"/>
                  <a:gd name="T25" fmla="*/ 1 h 173"/>
                  <a:gd name="T26" fmla="*/ 0 w 138"/>
                  <a:gd name="T27" fmla="*/ 0 h 173"/>
                  <a:gd name="T28" fmla="*/ 0 w 138"/>
                  <a:gd name="T29" fmla="*/ 0 h 173"/>
                  <a:gd name="T30" fmla="*/ 0 w 138"/>
                  <a:gd name="T31" fmla="*/ 0 h 173"/>
                  <a:gd name="T32" fmla="*/ 0 w 138"/>
                  <a:gd name="T33" fmla="*/ 0 h 173"/>
                  <a:gd name="T34" fmla="*/ 0 w 138"/>
                  <a:gd name="T35" fmla="*/ 0 h 173"/>
                  <a:gd name="T36" fmla="*/ 0 w 138"/>
                  <a:gd name="T37" fmla="*/ 0 h 173"/>
                  <a:gd name="T38" fmla="*/ 0 w 138"/>
                  <a:gd name="T39" fmla="*/ 0 h 173"/>
                  <a:gd name="T40" fmla="*/ 0 w 138"/>
                  <a:gd name="T41" fmla="*/ 0 h 173"/>
                  <a:gd name="T42" fmla="*/ 0 w 138"/>
                  <a:gd name="T43" fmla="*/ 0 h 173"/>
                  <a:gd name="T44" fmla="*/ 0 w 138"/>
                  <a:gd name="T45" fmla="*/ 0 h 173"/>
                  <a:gd name="T46" fmla="*/ 0 w 138"/>
                  <a:gd name="T47" fmla="*/ 0 h 173"/>
                  <a:gd name="T48" fmla="*/ 0 w 138"/>
                  <a:gd name="T49" fmla="*/ 0 h 173"/>
                  <a:gd name="T50" fmla="*/ 0 w 138"/>
                  <a:gd name="T51" fmla="*/ 0 h 173"/>
                  <a:gd name="T52" fmla="*/ 0 w 138"/>
                  <a:gd name="T53" fmla="*/ 1 h 173"/>
                  <a:gd name="T54" fmla="*/ 0 w 138"/>
                  <a:gd name="T55" fmla="*/ 1 h 173"/>
                  <a:gd name="T56" fmla="*/ 0 w 138"/>
                  <a:gd name="T57" fmla="*/ 1 h 173"/>
                  <a:gd name="T58" fmla="*/ 0 w 138"/>
                  <a:gd name="T59" fmla="*/ 1 h 173"/>
                  <a:gd name="T60" fmla="*/ 0 w 138"/>
                  <a:gd name="T61" fmla="*/ 1 h 173"/>
                  <a:gd name="T62" fmla="*/ 1 w 138"/>
                  <a:gd name="T63" fmla="*/ 1 h 173"/>
                  <a:gd name="T64" fmla="*/ 1 w 138"/>
                  <a:gd name="T65" fmla="*/ 1 h 173"/>
                  <a:gd name="T66" fmla="*/ 1 w 138"/>
                  <a:gd name="T67" fmla="*/ 1 h 173"/>
                  <a:gd name="T68" fmla="*/ 1 w 138"/>
                  <a:gd name="T69" fmla="*/ 1 h 173"/>
                  <a:gd name="T70" fmla="*/ 1 w 138"/>
                  <a:gd name="T71" fmla="*/ 1 h 173"/>
                  <a:gd name="T72" fmla="*/ 1 w 138"/>
                  <a:gd name="T73" fmla="*/ 1 h 173"/>
                  <a:gd name="T74" fmla="*/ 1 w 138"/>
                  <a:gd name="T75" fmla="*/ 1 h 173"/>
                  <a:gd name="T76" fmla="*/ 1 w 138"/>
                  <a:gd name="T77" fmla="*/ 1 h 173"/>
                  <a:gd name="T78" fmla="*/ 1 w 138"/>
                  <a:gd name="T79" fmla="*/ 1 h 173"/>
                  <a:gd name="T80" fmla="*/ 1 w 138"/>
                  <a:gd name="T81" fmla="*/ 1 h 17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38"/>
                  <a:gd name="T124" fmla="*/ 0 h 173"/>
                  <a:gd name="T125" fmla="*/ 138 w 138"/>
                  <a:gd name="T126" fmla="*/ 173 h 17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38" h="173">
                    <a:moveTo>
                      <a:pt x="138" y="148"/>
                    </a:moveTo>
                    <a:lnTo>
                      <a:pt x="138" y="148"/>
                    </a:lnTo>
                    <a:lnTo>
                      <a:pt x="134" y="147"/>
                    </a:lnTo>
                    <a:lnTo>
                      <a:pt x="130" y="147"/>
                    </a:lnTo>
                    <a:lnTo>
                      <a:pt x="126" y="146"/>
                    </a:lnTo>
                    <a:lnTo>
                      <a:pt x="122" y="144"/>
                    </a:lnTo>
                    <a:lnTo>
                      <a:pt x="111" y="139"/>
                    </a:lnTo>
                    <a:lnTo>
                      <a:pt x="102" y="131"/>
                    </a:lnTo>
                    <a:lnTo>
                      <a:pt x="92" y="123"/>
                    </a:lnTo>
                    <a:lnTo>
                      <a:pt x="83" y="113"/>
                    </a:lnTo>
                    <a:lnTo>
                      <a:pt x="74" y="101"/>
                    </a:lnTo>
                    <a:lnTo>
                      <a:pt x="64" y="89"/>
                    </a:lnTo>
                    <a:lnTo>
                      <a:pt x="55" y="76"/>
                    </a:lnTo>
                    <a:lnTo>
                      <a:pt x="48" y="63"/>
                    </a:lnTo>
                    <a:lnTo>
                      <a:pt x="42" y="51"/>
                    </a:lnTo>
                    <a:lnTo>
                      <a:pt x="36" y="38"/>
                    </a:lnTo>
                    <a:lnTo>
                      <a:pt x="31" y="27"/>
                    </a:lnTo>
                    <a:lnTo>
                      <a:pt x="28" y="16"/>
                    </a:lnTo>
                    <a:lnTo>
                      <a:pt x="26" y="7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1" y="12"/>
                    </a:lnTo>
                    <a:lnTo>
                      <a:pt x="5" y="23"/>
                    </a:lnTo>
                    <a:lnTo>
                      <a:pt x="8" y="36"/>
                    </a:lnTo>
                    <a:lnTo>
                      <a:pt x="14" y="48"/>
                    </a:lnTo>
                    <a:lnTo>
                      <a:pt x="20" y="62"/>
                    </a:lnTo>
                    <a:lnTo>
                      <a:pt x="28" y="76"/>
                    </a:lnTo>
                    <a:lnTo>
                      <a:pt x="36" y="90"/>
                    </a:lnTo>
                    <a:lnTo>
                      <a:pt x="45" y="105"/>
                    </a:lnTo>
                    <a:lnTo>
                      <a:pt x="55" y="117"/>
                    </a:lnTo>
                    <a:lnTo>
                      <a:pt x="66" y="130"/>
                    </a:lnTo>
                    <a:lnTo>
                      <a:pt x="76" y="141"/>
                    </a:lnTo>
                    <a:lnTo>
                      <a:pt x="87" y="152"/>
                    </a:lnTo>
                    <a:lnTo>
                      <a:pt x="100" y="161"/>
                    </a:lnTo>
                    <a:lnTo>
                      <a:pt x="111" y="168"/>
                    </a:lnTo>
                    <a:lnTo>
                      <a:pt x="118" y="170"/>
                    </a:lnTo>
                    <a:lnTo>
                      <a:pt x="125" y="172"/>
                    </a:lnTo>
                    <a:lnTo>
                      <a:pt x="131" y="173"/>
                    </a:lnTo>
                    <a:lnTo>
                      <a:pt x="138" y="173"/>
                    </a:lnTo>
                    <a:lnTo>
                      <a:pt x="138" y="148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34" name="Freeform 553"/>
              <p:cNvSpPr>
                <a:spLocks/>
              </p:cNvSpPr>
              <p:nvPr/>
            </p:nvSpPr>
            <p:spPr bwMode="auto">
              <a:xfrm>
                <a:off x="1191" y="787"/>
                <a:ext cx="53" cy="33"/>
              </a:xfrm>
              <a:custGeom>
                <a:avLst/>
                <a:gdLst>
                  <a:gd name="T0" fmla="*/ 0 w 287"/>
                  <a:gd name="T1" fmla="*/ 1 h 182"/>
                  <a:gd name="T2" fmla="*/ 0 w 287"/>
                  <a:gd name="T3" fmla="*/ 0 h 182"/>
                  <a:gd name="T4" fmla="*/ 0 w 287"/>
                  <a:gd name="T5" fmla="*/ 0 h 182"/>
                  <a:gd name="T6" fmla="*/ 0 w 287"/>
                  <a:gd name="T7" fmla="*/ 0 h 182"/>
                  <a:gd name="T8" fmla="*/ 0 w 287"/>
                  <a:gd name="T9" fmla="*/ 0 h 182"/>
                  <a:gd name="T10" fmla="*/ 0 w 287"/>
                  <a:gd name="T11" fmla="*/ 0 h 182"/>
                  <a:gd name="T12" fmla="*/ 0 w 287"/>
                  <a:gd name="T13" fmla="*/ 0 h 182"/>
                  <a:gd name="T14" fmla="*/ 0 w 287"/>
                  <a:gd name="T15" fmla="*/ 0 h 182"/>
                  <a:gd name="T16" fmla="*/ 0 w 287"/>
                  <a:gd name="T17" fmla="*/ 0 h 182"/>
                  <a:gd name="T18" fmla="*/ 0 w 287"/>
                  <a:gd name="T19" fmla="*/ 0 h 182"/>
                  <a:gd name="T20" fmla="*/ 0 w 287"/>
                  <a:gd name="T21" fmla="*/ 0 h 182"/>
                  <a:gd name="T22" fmla="*/ 1 w 287"/>
                  <a:gd name="T23" fmla="*/ 0 h 182"/>
                  <a:gd name="T24" fmla="*/ 1 w 287"/>
                  <a:gd name="T25" fmla="*/ 0 h 182"/>
                  <a:gd name="T26" fmla="*/ 1 w 287"/>
                  <a:gd name="T27" fmla="*/ 0 h 182"/>
                  <a:gd name="T28" fmla="*/ 1 w 287"/>
                  <a:gd name="T29" fmla="*/ 0 h 182"/>
                  <a:gd name="T30" fmla="*/ 1 w 287"/>
                  <a:gd name="T31" fmla="*/ 0 h 182"/>
                  <a:gd name="T32" fmla="*/ 1 w 287"/>
                  <a:gd name="T33" fmla="*/ 0 h 182"/>
                  <a:gd name="T34" fmla="*/ 1 w 287"/>
                  <a:gd name="T35" fmla="*/ 0 h 182"/>
                  <a:gd name="T36" fmla="*/ 1 w 287"/>
                  <a:gd name="T37" fmla="*/ 0 h 182"/>
                  <a:gd name="T38" fmla="*/ 1 w 287"/>
                  <a:gd name="T39" fmla="*/ 0 h 182"/>
                  <a:gd name="T40" fmla="*/ 1 w 287"/>
                  <a:gd name="T41" fmla="*/ 0 h 182"/>
                  <a:gd name="T42" fmla="*/ 1 w 287"/>
                  <a:gd name="T43" fmla="*/ 0 h 182"/>
                  <a:gd name="T44" fmla="*/ 1 w 287"/>
                  <a:gd name="T45" fmla="*/ 0 h 182"/>
                  <a:gd name="T46" fmla="*/ 1 w 287"/>
                  <a:gd name="T47" fmla="*/ 0 h 182"/>
                  <a:gd name="T48" fmla="*/ 1 w 287"/>
                  <a:gd name="T49" fmla="*/ 0 h 182"/>
                  <a:gd name="T50" fmla="*/ 1 w 287"/>
                  <a:gd name="T51" fmla="*/ 0 h 182"/>
                  <a:gd name="T52" fmla="*/ 2 w 287"/>
                  <a:gd name="T53" fmla="*/ 0 h 182"/>
                  <a:gd name="T54" fmla="*/ 2 w 287"/>
                  <a:gd name="T55" fmla="*/ 0 h 182"/>
                  <a:gd name="T56" fmla="*/ 2 w 287"/>
                  <a:gd name="T57" fmla="*/ 0 h 182"/>
                  <a:gd name="T58" fmla="*/ 2 w 287"/>
                  <a:gd name="T59" fmla="*/ 0 h 182"/>
                  <a:gd name="T60" fmla="*/ 2 w 287"/>
                  <a:gd name="T61" fmla="*/ 1 h 182"/>
                  <a:gd name="T62" fmla="*/ 2 w 287"/>
                  <a:gd name="T63" fmla="*/ 1 h 182"/>
                  <a:gd name="T64" fmla="*/ 2 w 287"/>
                  <a:gd name="T65" fmla="*/ 1 h 182"/>
                  <a:gd name="T66" fmla="*/ 1 w 287"/>
                  <a:gd name="T67" fmla="*/ 1 h 182"/>
                  <a:gd name="T68" fmla="*/ 1 w 287"/>
                  <a:gd name="T69" fmla="*/ 1 h 182"/>
                  <a:gd name="T70" fmla="*/ 1 w 287"/>
                  <a:gd name="T71" fmla="*/ 1 h 182"/>
                  <a:gd name="T72" fmla="*/ 1 w 287"/>
                  <a:gd name="T73" fmla="*/ 1 h 182"/>
                  <a:gd name="T74" fmla="*/ 1 w 287"/>
                  <a:gd name="T75" fmla="*/ 1 h 182"/>
                  <a:gd name="T76" fmla="*/ 1 w 287"/>
                  <a:gd name="T77" fmla="*/ 1 h 182"/>
                  <a:gd name="T78" fmla="*/ 1 w 287"/>
                  <a:gd name="T79" fmla="*/ 1 h 182"/>
                  <a:gd name="T80" fmla="*/ 1 w 287"/>
                  <a:gd name="T81" fmla="*/ 1 h 182"/>
                  <a:gd name="T82" fmla="*/ 1 w 287"/>
                  <a:gd name="T83" fmla="*/ 1 h 182"/>
                  <a:gd name="T84" fmla="*/ 1 w 287"/>
                  <a:gd name="T85" fmla="*/ 1 h 182"/>
                  <a:gd name="T86" fmla="*/ 1 w 287"/>
                  <a:gd name="T87" fmla="*/ 1 h 182"/>
                  <a:gd name="T88" fmla="*/ 1 w 287"/>
                  <a:gd name="T89" fmla="*/ 1 h 182"/>
                  <a:gd name="T90" fmla="*/ 1 w 287"/>
                  <a:gd name="T91" fmla="*/ 1 h 182"/>
                  <a:gd name="T92" fmla="*/ 0 w 287"/>
                  <a:gd name="T93" fmla="*/ 1 h 182"/>
                  <a:gd name="T94" fmla="*/ 0 w 287"/>
                  <a:gd name="T95" fmla="*/ 1 h 182"/>
                  <a:gd name="T96" fmla="*/ 0 w 287"/>
                  <a:gd name="T97" fmla="*/ 1 h 182"/>
                  <a:gd name="T98" fmla="*/ 0 w 287"/>
                  <a:gd name="T99" fmla="*/ 1 h 182"/>
                  <a:gd name="T100" fmla="*/ 0 w 287"/>
                  <a:gd name="T101" fmla="*/ 1 h 182"/>
                  <a:gd name="T102" fmla="*/ 0 w 287"/>
                  <a:gd name="T103" fmla="*/ 1 h 182"/>
                  <a:gd name="T104" fmla="*/ 0 w 287"/>
                  <a:gd name="T105" fmla="*/ 1 h 182"/>
                  <a:gd name="T106" fmla="*/ 0 w 287"/>
                  <a:gd name="T107" fmla="*/ 1 h 182"/>
                  <a:gd name="T108" fmla="*/ 0 w 287"/>
                  <a:gd name="T109" fmla="*/ 1 h 182"/>
                  <a:gd name="T110" fmla="*/ 0 w 287"/>
                  <a:gd name="T111" fmla="*/ 1 h 182"/>
                  <a:gd name="T112" fmla="*/ 0 w 287"/>
                  <a:gd name="T113" fmla="*/ 1 h 182"/>
                  <a:gd name="T114" fmla="*/ 0 w 287"/>
                  <a:gd name="T115" fmla="*/ 1 h 182"/>
                  <a:gd name="T116" fmla="*/ 0 w 287"/>
                  <a:gd name="T117" fmla="*/ 1 h 182"/>
                  <a:gd name="T118" fmla="*/ 0 w 287"/>
                  <a:gd name="T119" fmla="*/ 1 h 182"/>
                  <a:gd name="T120" fmla="*/ 0 w 287"/>
                  <a:gd name="T121" fmla="*/ 1 h 18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87"/>
                  <a:gd name="T184" fmla="*/ 0 h 182"/>
                  <a:gd name="T185" fmla="*/ 287 w 287"/>
                  <a:gd name="T186" fmla="*/ 182 h 18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87" h="182">
                    <a:moveTo>
                      <a:pt x="1" y="84"/>
                    </a:moveTo>
                    <a:lnTo>
                      <a:pt x="3" y="73"/>
                    </a:lnTo>
                    <a:lnTo>
                      <a:pt x="8" y="62"/>
                    </a:lnTo>
                    <a:lnTo>
                      <a:pt x="13" y="53"/>
                    </a:lnTo>
                    <a:lnTo>
                      <a:pt x="18" y="45"/>
                    </a:lnTo>
                    <a:lnTo>
                      <a:pt x="25" y="37"/>
                    </a:lnTo>
                    <a:lnTo>
                      <a:pt x="33" y="30"/>
                    </a:lnTo>
                    <a:lnTo>
                      <a:pt x="42" y="24"/>
                    </a:lnTo>
                    <a:lnTo>
                      <a:pt x="52" y="19"/>
                    </a:lnTo>
                    <a:lnTo>
                      <a:pt x="62" y="14"/>
                    </a:lnTo>
                    <a:lnTo>
                      <a:pt x="72" y="11"/>
                    </a:lnTo>
                    <a:lnTo>
                      <a:pt x="85" y="7"/>
                    </a:lnTo>
                    <a:lnTo>
                      <a:pt x="96" y="5"/>
                    </a:lnTo>
                    <a:lnTo>
                      <a:pt x="110" y="3"/>
                    </a:lnTo>
                    <a:lnTo>
                      <a:pt x="124" y="2"/>
                    </a:lnTo>
                    <a:lnTo>
                      <a:pt x="139" y="0"/>
                    </a:lnTo>
                    <a:lnTo>
                      <a:pt x="154" y="0"/>
                    </a:lnTo>
                    <a:lnTo>
                      <a:pt x="169" y="2"/>
                    </a:lnTo>
                    <a:lnTo>
                      <a:pt x="182" y="2"/>
                    </a:lnTo>
                    <a:lnTo>
                      <a:pt x="194" y="4"/>
                    </a:lnTo>
                    <a:lnTo>
                      <a:pt x="204" y="6"/>
                    </a:lnTo>
                    <a:lnTo>
                      <a:pt x="213" y="10"/>
                    </a:lnTo>
                    <a:lnTo>
                      <a:pt x="221" y="13"/>
                    </a:lnTo>
                    <a:lnTo>
                      <a:pt x="229" y="16"/>
                    </a:lnTo>
                    <a:lnTo>
                      <a:pt x="236" y="21"/>
                    </a:lnTo>
                    <a:lnTo>
                      <a:pt x="248" y="29"/>
                    </a:lnTo>
                    <a:lnTo>
                      <a:pt x="260" y="38"/>
                    </a:lnTo>
                    <a:lnTo>
                      <a:pt x="272" y="47"/>
                    </a:lnTo>
                    <a:lnTo>
                      <a:pt x="287" y="57"/>
                    </a:lnTo>
                    <a:lnTo>
                      <a:pt x="282" y="69"/>
                    </a:lnTo>
                    <a:lnTo>
                      <a:pt x="275" y="88"/>
                    </a:lnTo>
                    <a:lnTo>
                      <a:pt x="266" y="108"/>
                    </a:lnTo>
                    <a:lnTo>
                      <a:pt x="255" y="130"/>
                    </a:lnTo>
                    <a:lnTo>
                      <a:pt x="249" y="139"/>
                    </a:lnTo>
                    <a:lnTo>
                      <a:pt x="243" y="149"/>
                    </a:lnTo>
                    <a:lnTo>
                      <a:pt x="236" y="159"/>
                    </a:lnTo>
                    <a:lnTo>
                      <a:pt x="229" y="166"/>
                    </a:lnTo>
                    <a:lnTo>
                      <a:pt x="222" y="172"/>
                    </a:lnTo>
                    <a:lnTo>
                      <a:pt x="216" y="177"/>
                    </a:lnTo>
                    <a:lnTo>
                      <a:pt x="210" y="180"/>
                    </a:lnTo>
                    <a:lnTo>
                      <a:pt x="203" y="182"/>
                    </a:lnTo>
                    <a:lnTo>
                      <a:pt x="175" y="182"/>
                    </a:lnTo>
                    <a:lnTo>
                      <a:pt x="143" y="179"/>
                    </a:lnTo>
                    <a:lnTo>
                      <a:pt x="125" y="177"/>
                    </a:lnTo>
                    <a:lnTo>
                      <a:pt x="108" y="175"/>
                    </a:lnTo>
                    <a:lnTo>
                      <a:pt x="91" y="171"/>
                    </a:lnTo>
                    <a:lnTo>
                      <a:pt x="73" y="167"/>
                    </a:lnTo>
                    <a:lnTo>
                      <a:pt x="57" y="161"/>
                    </a:lnTo>
                    <a:lnTo>
                      <a:pt x="42" y="155"/>
                    </a:lnTo>
                    <a:lnTo>
                      <a:pt x="36" y="151"/>
                    </a:lnTo>
                    <a:lnTo>
                      <a:pt x="29" y="147"/>
                    </a:lnTo>
                    <a:lnTo>
                      <a:pt x="23" y="143"/>
                    </a:lnTo>
                    <a:lnTo>
                      <a:pt x="17" y="138"/>
                    </a:lnTo>
                    <a:lnTo>
                      <a:pt x="13" y="132"/>
                    </a:lnTo>
                    <a:lnTo>
                      <a:pt x="9" y="127"/>
                    </a:lnTo>
                    <a:lnTo>
                      <a:pt x="6" y="121"/>
                    </a:lnTo>
                    <a:lnTo>
                      <a:pt x="3" y="114"/>
                    </a:lnTo>
                    <a:lnTo>
                      <a:pt x="1" y="107"/>
                    </a:lnTo>
                    <a:lnTo>
                      <a:pt x="0" y="100"/>
                    </a:lnTo>
                    <a:lnTo>
                      <a:pt x="0" y="92"/>
                    </a:lnTo>
                    <a:lnTo>
                      <a:pt x="1" y="84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35" name="Freeform 554"/>
              <p:cNvSpPr>
                <a:spLocks/>
              </p:cNvSpPr>
              <p:nvPr/>
            </p:nvSpPr>
            <p:spPr bwMode="auto">
              <a:xfrm>
                <a:off x="721" y="1270"/>
                <a:ext cx="49" cy="21"/>
              </a:xfrm>
              <a:custGeom>
                <a:avLst/>
                <a:gdLst>
                  <a:gd name="T0" fmla="*/ 1 w 265"/>
                  <a:gd name="T1" fmla="*/ 1 h 118"/>
                  <a:gd name="T2" fmla="*/ 0 w 265"/>
                  <a:gd name="T3" fmla="*/ 1 h 118"/>
                  <a:gd name="T4" fmla="*/ 0 w 265"/>
                  <a:gd name="T5" fmla="*/ 1 h 118"/>
                  <a:gd name="T6" fmla="*/ 0 w 265"/>
                  <a:gd name="T7" fmla="*/ 1 h 118"/>
                  <a:gd name="T8" fmla="*/ 0 w 265"/>
                  <a:gd name="T9" fmla="*/ 1 h 118"/>
                  <a:gd name="T10" fmla="*/ 0 w 265"/>
                  <a:gd name="T11" fmla="*/ 1 h 118"/>
                  <a:gd name="T12" fmla="*/ 0 w 265"/>
                  <a:gd name="T13" fmla="*/ 1 h 118"/>
                  <a:gd name="T14" fmla="*/ 0 w 265"/>
                  <a:gd name="T15" fmla="*/ 1 h 118"/>
                  <a:gd name="T16" fmla="*/ 0 w 265"/>
                  <a:gd name="T17" fmla="*/ 0 h 118"/>
                  <a:gd name="T18" fmla="*/ 0 w 265"/>
                  <a:gd name="T19" fmla="*/ 0 h 118"/>
                  <a:gd name="T20" fmla="*/ 0 w 265"/>
                  <a:gd name="T21" fmla="*/ 0 h 118"/>
                  <a:gd name="T22" fmla="*/ 0 w 265"/>
                  <a:gd name="T23" fmla="*/ 0 h 118"/>
                  <a:gd name="T24" fmla="*/ 0 w 265"/>
                  <a:gd name="T25" fmla="*/ 0 h 118"/>
                  <a:gd name="T26" fmla="*/ 0 w 265"/>
                  <a:gd name="T27" fmla="*/ 0 h 118"/>
                  <a:gd name="T28" fmla="*/ 0 w 265"/>
                  <a:gd name="T29" fmla="*/ 0 h 118"/>
                  <a:gd name="T30" fmla="*/ 0 w 265"/>
                  <a:gd name="T31" fmla="*/ 0 h 118"/>
                  <a:gd name="T32" fmla="*/ 0 w 265"/>
                  <a:gd name="T33" fmla="*/ 0 h 118"/>
                  <a:gd name="T34" fmla="*/ 0 w 265"/>
                  <a:gd name="T35" fmla="*/ 0 h 118"/>
                  <a:gd name="T36" fmla="*/ 0 w 265"/>
                  <a:gd name="T37" fmla="*/ 0 h 118"/>
                  <a:gd name="T38" fmla="*/ 0 w 265"/>
                  <a:gd name="T39" fmla="*/ 0 h 118"/>
                  <a:gd name="T40" fmla="*/ 0 w 265"/>
                  <a:gd name="T41" fmla="*/ 0 h 118"/>
                  <a:gd name="T42" fmla="*/ 0 w 265"/>
                  <a:gd name="T43" fmla="*/ 0 h 118"/>
                  <a:gd name="T44" fmla="*/ 1 w 265"/>
                  <a:gd name="T45" fmla="*/ 0 h 118"/>
                  <a:gd name="T46" fmla="*/ 1 w 265"/>
                  <a:gd name="T47" fmla="*/ 0 h 118"/>
                  <a:gd name="T48" fmla="*/ 1 w 265"/>
                  <a:gd name="T49" fmla="*/ 0 h 118"/>
                  <a:gd name="T50" fmla="*/ 1 w 265"/>
                  <a:gd name="T51" fmla="*/ 0 h 118"/>
                  <a:gd name="T52" fmla="*/ 1 w 265"/>
                  <a:gd name="T53" fmla="*/ 0 h 118"/>
                  <a:gd name="T54" fmla="*/ 1 w 265"/>
                  <a:gd name="T55" fmla="*/ 0 h 118"/>
                  <a:gd name="T56" fmla="*/ 1 w 265"/>
                  <a:gd name="T57" fmla="*/ 0 h 118"/>
                  <a:gd name="T58" fmla="*/ 1 w 265"/>
                  <a:gd name="T59" fmla="*/ 0 h 118"/>
                  <a:gd name="T60" fmla="*/ 1 w 265"/>
                  <a:gd name="T61" fmla="*/ 0 h 118"/>
                  <a:gd name="T62" fmla="*/ 1 w 265"/>
                  <a:gd name="T63" fmla="*/ 0 h 118"/>
                  <a:gd name="T64" fmla="*/ 2 w 265"/>
                  <a:gd name="T65" fmla="*/ 0 h 118"/>
                  <a:gd name="T66" fmla="*/ 2 w 265"/>
                  <a:gd name="T67" fmla="*/ 0 h 118"/>
                  <a:gd name="T68" fmla="*/ 2 w 265"/>
                  <a:gd name="T69" fmla="*/ 0 h 118"/>
                  <a:gd name="T70" fmla="*/ 2 w 265"/>
                  <a:gd name="T71" fmla="*/ 0 h 118"/>
                  <a:gd name="T72" fmla="*/ 1 w 265"/>
                  <a:gd name="T73" fmla="*/ 0 h 118"/>
                  <a:gd name="T74" fmla="*/ 1 w 265"/>
                  <a:gd name="T75" fmla="*/ 0 h 118"/>
                  <a:gd name="T76" fmla="*/ 1 w 265"/>
                  <a:gd name="T77" fmla="*/ 0 h 118"/>
                  <a:gd name="T78" fmla="*/ 1 w 265"/>
                  <a:gd name="T79" fmla="*/ 0 h 118"/>
                  <a:gd name="T80" fmla="*/ 1 w 265"/>
                  <a:gd name="T81" fmla="*/ 0 h 118"/>
                  <a:gd name="T82" fmla="*/ 1 w 265"/>
                  <a:gd name="T83" fmla="*/ 0 h 118"/>
                  <a:gd name="T84" fmla="*/ 1 w 265"/>
                  <a:gd name="T85" fmla="*/ 0 h 118"/>
                  <a:gd name="T86" fmla="*/ 1 w 265"/>
                  <a:gd name="T87" fmla="*/ 0 h 118"/>
                  <a:gd name="T88" fmla="*/ 1 w 265"/>
                  <a:gd name="T89" fmla="*/ 0 h 118"/>
                  <a:gd name="T90" fmla="*/ 1 w 265"/>
                  <a:gd name="T91" fmla="*/ 0 h 118"/>
                  <a:gd name="T92" fmla="*/ 1 w 265"/>
                  <a:gd name="T93" fmla="*/ 0 h 118"/>
                  <a:gd name="T94" fmla="*/ 1 w 265"/>
                  <a:gd name="T95" fmla="*/ 1 h 118"/>
                  <a:gd name="T96" fmla="*/ 1 w 265"/>
                  <a:gd name="T97" fmla="*/ 1 h 118"/>
                  <a:gd name="T98" fmla="*/ 1 w 265"/>
                  <a:gd name="T99" fmla="*/ 1 h 118"/>
                  <a:gd name="T100" fmla="*/ 1 w 265"/>
                  <a:gd name="T101" fmla="*/ 1 h 118"/>
                  <a:gd name="T102" fmla="*/ 1 w 265"/>
                  <a:gd name="T103" fmla="*/ 1 h 118"/>
                  <a:gd name="T104" fmla="*/ 1 w 265"/>
                  <a:gd name="T105" fmla="*/ 1 h 118"/>
                  <a:gd name="T106" fmla="*/ 1 w 265"/>
                  <a:gd name="T107" fmla="*/ 1 h 118"/>
                  <a:gd name="T108" fmla="*/ 1 w 265"/>
                  <a:gd name="T109" fmla="*/ 1 h 118"/>
                  <a:gd name="T110" fmla="*/ 1 w 265"/>
                  <a:gd name="T111" fmla="*/ 1 h 11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65"/>
                  <a:gd name="T169" fmla="*/ 0 h 118"/>
                  <a:gd name="T170" fmla="*/ 265 w 265"/>
                  <a:gd name="T171" fmla="*/ 118 h 11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65" h="118">
                    <a:moveTo>
                      <a:pt x="77" y="118"/>
                    </a:moveTo>
                    <a:lnTo>
                      <a:pt x="72" y="117"/>
                    </a:lnTo>
                    <a:lnTo>
                      <a:pt x="66" y="116"/>
                    </a:lnTo>
                    <a:lnTo>
                      <a:pt x="60" y="115"/>
                    </a:lnTo>
                    <a:lnTo>
                      <a:pt x="53" y="112"/>
                    </a:lnTo>
                    <a:lnTo>
                      <a:pt x="41" y="105"/>
                    </a:lnTo>
                    <a:lnTo>
                      <a:pt x="28" y="97"/>
                    </a:lnTo>
                    <a:lnTo>
                      <a:pt x="18" y="89"/>
                    </a:lnTo>
                    <a:lnTo>
                      <a:pt x="8" y="79"/>
                    </a:lnTo>
                    <a:lnTo>
                      <a:pt x="5" y="74"/>
                    </a:lnTo>
                    <a:lnTo>
                      <a:pt x="3" y="71"/>
                    </a:lnTo>
                    <a:lnTo>
                      <a:pt x="2" y="66"/>
                    </a:lnTo>
                    <a:lnTo>
                      <a:pt x="0" y="62"/>
                    </a:lnTo>
                    <a:lnTo>
                      <a:pt x="0" y="57"/>
                    </a:lnTo>
                    <a:lnTo>
                      <a:pt x="2" y="54"/>
                    </a:lnTo>
                    <a:lnTo>
                      <a:pt x="4" y="49"/>
                    </a:lnTo>
                    <a:lnTo>
                      <a:pt x="6" y="46"/>
                    </a:lnTo>
                    <a:lnTo>
                      <a:pt x="13" y="39"/>
                    </a:lnTo>
                    <a:lnTo>
                      <a:pt x="22" y="33"/>
                    </a:lnTo>
                    <a:lnTo>
                      <a:pt x="34" y="27"/>
                    </a:lnTo>
                    <a:lnTo>
                      <a:pt x="46" y="23"/>
                    </a:lnTo>
                    <a:lnTo>
                      <a:pt x="59" y="18"/>
                    </a:lnTo>
                    <a:lnTo>
                      <a:pt x="74" y="15"/>
                    </a:lnTo>
                    <a:lnTo>
                      <a:pt x="102" y="9"/>
                    </a:lnTo>
                    <a:lnTo>
                      <a:pt x="130" y="6"/>
                    </a:lnTo>
                    <a:lnTo>
                      <a:pt x="153" y="2"/>
                    </a:lnTo>
                    <a:lnTo>
                      <a:pt x="168" y="0"/>
                    </a:lnTo>
                    <a:lnTo>
                      <a:pt x="182" y="2"/>
                    </a:lnTo>
                    <a:lnTo>
                      <a:pt x="196" y="4"/>
                    </a:lnTo>
                    <a:lnTo>
                      <a:pt x="211" y="7"/>
                    </a:lnTo>
                    <a:lnTo>
                      <a:pt x="226" y="9"/>
                    </a:lnTo>
                    <a:lnTo>
                      <a:pt x="240" y="10"/>
                    </a:lnTo>
                    <a:lnTo>
                      <a:pt x="252" y="12"/>
                    </a:lnTo>
                    <a:lnTo>
                      <a:pt x="261" y="12"/>
                    </a:lnTo>
                    <a:lnTo>
                      <a:pt x="265" y="14"/>
                    </a:lnTo>
                    <a:lnTo>
                      <a:pt x="255" y="20"/>
                    </a:lnTo>
                    <a:lnTo>
                      <a:pt x="245" y="26"/>
                    </a:lnTo>
                    <a:lnTo>
                      <a:pt x="234" y="32"/>
                    </a:lnTo>
                    <a:lnTo>
                      <a:pt x="224" y="35"/>
                    </a:lnTo>
                    <a:lnTo>
                      <a:pt x="205" y="42"/>
                    </a:lnTo>
                    <a:lnTo>
                      <a:pt x="186" y="47"/>
                    </a:lnTo>
                    <a:lnTo>
                      <a:pt x="167" y="51"/>
                    </a:lnTo>
                    <a:lnTo>
                      <a:pt x="148" y="57"/>
                    </a:lnTo>
                    <a:lnTo>
                      <a:pt x="139" y="61"/>
                    </a:lnTo>
                    <a:lnTo>
                      <a:pt x="130" y="65"/>
                    </a:lnTo>
                    <a:lnTo>
                      <a:pt x="121" y="70"/>
                    </a:lnTo>
                    <a:lnTo>
                      <a:pt x="112" y="76"/>
                    </a:lnTo>
                    <a:lnTo>
                      <a:pt x="122" y="84"/>
                    </a:lnTo>
                    <a:lnTo>
                      <a:pt x="129" y="89"/>
                    </a:lnTo>
                    <a:lnTo>
                      <a:pt x="136" y="95"/>
                    </a:lnTo>
                    <a:lnTo>
                      <a:pt x="143" y="100"/>
                    </a:lnTo>
                    <a:lnTo>
                      <a:pt x="148" y="104"/>
                    </a:lnTo>
                    <a:lnTo>
                      <a:pt x="154" y="109"/>
                    </a:lnTo>
                    <a:lnTo>
                      <a:pt x="160" y="112"/>
                    </a:lnTo>
                    <a:lnTo>
                      <a:pt x="168" y="118"/>
                    </a:lnTo>
                    <a:lnTo>
                      <a:pt x="77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  <p:sp>
            <p:nvSpPr>
              <p:cNvPr id="36" name="Freeform 555"/>
              <p:cNvSpPr>
                <a:spLocks/>
              </p:cNvSpPr>
              <p:nvPr/>
            </p:nvSpPr>
            <p:spPr bwMode="auto">
              <a:xfrm>
                <a:off x="2403" y="1694"/>
                <a:ext cx="178" cy="139"/>
              </a:xfrm>
              <a:custGeom>
                <a:avLst/>
                <a:gdLst>
                  <a:gd name="T0" fmla="*/ 2 w 969"/>
                  <a:gd name="T1" fmla="*/ 1 h 751"/>
                  <a:gd name="T2" fmla="*/ 2 w 969"/>
                  <a:gd name="T3" fmla="*/ 1 h 751"/>
                  <a:gd name="T4" fmla="*/ 3 w 969"/>
                  <a:gd name="T5" fmla="*/ 0 h 751"/>
                  <a:gd name="T6" fmla="*/ 3 w 969"/>
                  <a:gd name="T7" fmla="*/ 0 h 751"/>
                  <a:gd name="T8" fmla="*/ 3 w 969"/>
                  <a:gd name="T9" fmla="*/ 0 h 751"/>
                  <a:gd name="T10" fmla="*/ 3 w 969"/>
                  <a:gd name="T11" fmla="*/ 0 h 751"/>
                  <a:gd name="T12" fmla="*/ 3 w 969"/>
                  <a:gd name="T13" fmla="*/ 0 h 751"/>
                  <a:gd name="T14" fmla="*/ 4 w 969"/>
                  <a:gd name="T15" fmla="*/ 1 h 751"/>
                  <a:gd name="T16" fmla="*/ 4 w 969"/>
                  <a:gd name="T17" fmla="*/ 1 h 751"/>
                  <a:gd name="T18" fmla="*/ 5 w 969"/>
                  <a:gd name="T19" fmla="*/ 2 h 751"/>
                  <a:gd name="T20" fmla="*/ 5 w 969"/>
                  <a:gd name="T21" fmla="*/ 2 h 751"/>
                  <a:gd name="T22" fmla="*/ 5 w 969"/>
                  <a:gd name="T23" fmla="*/ 2 h 751"/>
                  <a:gd name="T24" fmla="*/ 5 w 969"/>
                  <a:gd name="T25" fmla="*/ 3 h 751"/>
                  <a:gd name="T26" fmla="*/ 5 w 969"/>
                  <a:gd name="T27" fmla="*/ 3 h 751"/>
                  <a:gd name="T28" fmla="*/ 6 w 969"/>
                  <a:gd name="T29" fmla="*/ 3 h 751"/>
                  <a:gd name="T30" fmla="*/ 6 w 969"/>
                  <a:gd name="T31" fmla="*/ 3 h 751"/>
                  <a:gd name="T32" fmla="*/ 6 w 969"/>
                  <a:gd name="T33" fmla="*/ 4 h 751"/>
                  <a:gd name="T34" fmla="*/ 6 w 969"/>
                  <a:gd name="T35" fmla="*/ 4 h 751"/>
                  <a:gd name="T36" fmla="*/ 6 w 969"/>
                  <a:gd name="T37" fmla="*/ 4 h 751"/>
                  <a:gd name="T38" fmla="*/ 6 w 969"/>
                  <a:gd name="T39" fmla="*/ 4 h 751"/>
                  <a:gd name="T40" fmla="*/ 5 w 969"/>
                  <a:gd name="T41" fmla="*/ 5 h 751"/>
                  <a:gd name="T42" fmla="*/ 5 w 969"/>
                  <a:gd name="T43" fmla="*/ 4 h 751"/>
                  <a:gd name="T44" fmla="*/ 5 w 969"/>
                  <a:gd name="T45" fmla="*/ 4 h 751"/>
                  <a:gd name="T46" fmla="*/ 3 w 969"/>
                  <a:gd name="T47" fmla="*/ 4 h 751"/>
                  <a:gd name="T48" fmla="*/ 3 w 969"/>
                  <a:gd name="T49" fmla="*/ 4 h 751"/>
                  <a:gd name="T50" fmla="*/ 3 w 969"/>
                  <a:gd name="T51" fmla="*/ 4 h 751"/>
                  <a:gd name="T52" fmla="*/ 3 w 969"/>
                  <a:gd name="T53" fmla="*/ 4 h 751"/>
                  <a:gd name="T54" fmla="*/ 3 w 969"/>
                  <a:gd name="T55" fmla="*/ 4 h 751"/>
                  <a:gd name="T56" fmla="*/ 3 w 969"/>
                  <a:gd name="T57" fmla="*/ 4 h 751"/>
                  <a:gd name="T58" fmla="*/ 2 w 969"/>
                  <a:gd name="T59" fmla="*/ 4 h 751"/>
                  <a:gd name="T60" fmla="*/ 2 w 969"/>
                  <a:gd name="T61" fmla="*/ 4 h 751"/>
                  <a:gd name="T62" fmla="*/ 1 w 969"/>
                  <a:gd name="T63" fmla="*/ 4 h 751"/>
                  <a:gd name="T64" fmla="*/ 1 w 969"/>
                  <a:gd name="T65" fmla="*/ 4 h 751"/>
                  <a:gd name="T66" fmla="*/ 0 w 969"/>
                  <a:gd name="T67" fmla="*/ 4 h 751"/>
                  <a:gd name="T68" fmla="*/ 0 w 969"/>
                  <a:gd name="T69" fmla="*/ 4 h 751"/>
                  <a:gd name="T70" fmla="*/ 0 w 969"/>
                  <a:gd name="T71" fmla="*/ 4 h 751"/>
                  <a:gd name="T72" fmla="*/ 0 w 969"/>
                  <a:gd name="T73" fmla="*/ 4 h 751"/>
                  <a:gd name="T74" fmla="*/ 0 w 969"/>
                  <a:gd name="T75" fmla="*/ 3 h 751"/>
                  <a:gd name="T76" fmla="*/ 0 w 969"/>
                  <a:gd name="T77" fmla="*/ 3 h 751"/>
                  <a:gd name="T78" fmla="*/ 1 w 969"/>
                  <a:gd name="T79" fmla="*/ 3 h 751"/>
                  <a:gd name="T80" fmla="*/ 1 w 969"/>
                  <a:gd name="T81" fmla="*/ 2 h 751"/>
                  <a:gd name="T82" fmla="*/ 1 w 969"/>
                  <a:gd name="T83" fmla="*/ 2 h 751"/>
                  <a:gd name="T84" fmla="*/ 0 w 969"/>
                  <a:gd name="T85" fmla="*/ 1 h 751"/>
                  <a:gd name="T86" fmla="*/ 1 w 969"/>
                  <a:gd name="T87" fmla="*/ 1 h 751"/>
                  <a:gd name="T88" fmla="*/ 1 w 969"/>
                  <a:gd name="T89" fmla="*/ 1 h 751"/>
                  <a:gd name="T90" fmla="*/ 1 w 969"/>
                  <a:gd name="T91" fmla="*/ 1 h 751"/>
                  <a:gd name="T92" fmla="*/ 1 w 969"/>
                  <a:gd name="T93" fmla="*/ 1 h 751"/>
                  <a:gd name="T94" fmla="*/ 1 w 969"/>
                  <a:gd name="T95" fmla="*/ 1 h 751"/>
                  <a:gd name="T96" fmla="*/ 1 w 969"/>
                  <a:gd name="T97" fmla="*/ 1 h 751"/>
                  <a:gd name="T98" fmla="*/ 1 w 969"/>
                  <a:gd name="T99" fmla="*/ 1 h 751"/>
                  <a:gd name="T100" fmla="*/ 1 w 969"/>
                  <a:gd name="T101" fmla="*/ 0 h 751"/>
                  <a:gd name="T102" fmla="*/ 2 w 969"/>
                  <a:gd name="T103" fmla="*/ 0 h 751"/>
                  <a:gd name="T104" fmla="*/ 2 w 969"/>
                  <a:gd name="T105" fmla="*/ 1 h 751"/>
                  <a:gd name="T106" fmla="*/ 2 w 969"/>
                  <a:gd name="T107" fmla="*/ 1 h 75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969"/>
                  <a:gd name="T163" fmla="*/ 0 h 751"/>
                  <a:gd name="T164" fmla="*/ 969 w 969"/>
                  <a:gd name="T165" fmla="*/ 751 h 751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969" h="751">
                    <a:moveTo>
                      <a:pt x="369" y="118"/>
                    </a:moveTo>
                    <a:lnTo>
                      <a:pt x="375" y="117"/>
                    </a:lnTo>
                    <a:lnTo>
                      <a:pt x="379" y="116"/>
                    </a:lnTo>
                    <a:lnTo>
                      <a:pt x="383" y="113"/>
                    </a:lnTo>
                    <a:lnTo>
                      <a:pt x="387" y="109"/>
                    </a:lnTo>
                    <a:lnTo>
                      <a:pt x="391" y="99"/>
                    </a:lnTo>
                    <a:lnTo>
                      <a:pt x="395" y="87"/>
                    </a:lnTo>
                    <a:lnTo>
                      <a:pt x="398" y="75"/>
                    </a:lnTo>
                    <a:lnTo>
                      <a:pt x="400" y="62"/>
                    </a:lnTo>
                    <a:lnTo>
                      <a:pt x="403" y="51"/>
                    </a:lnTo>
                    <a:lnTo>
                      <a:pt x="405" y="41"/>
                    </a:lnTo>
                    <a:lnTo>
                      <a:pt x="420" y="46"/>
                    </a:lnTo>
                    <a:lnTo>
                      <a:pt x="432" y="48"/>
                    </a:lnTo>
                    <a:lnTo>
                      <a:pt x="443" y="49"/>
                    </a:lnTo>
                    <a:lnTo>
                      <a:pt x="452" y="51"/>
                    </a:lnTo>
                    <a:lnTo>
                      <a:pt x="459" y="49"/>
                    </a:lnTo>
                    <a:lnTo>
                      <a:pt x="463" y="49"/>
                    </a:lnTo>
                    <a:lnTo>
                      <a:pt x="467" y="48"/>
                    </a:lnTo>
                    <a:lnTo>
                      <a:pt x="475" y="47"/>
                    </a:lnTo>
                    <a:lnTo>
                      <a:pt x="483" y="44"/>
                    </a:lnTo>
                    <a:lnTo>
                      <a:pt x="492" y="38"/>
                    </a:lnTo>
                    <a:lnTo>
                      <a:pt x="500" y="32"/>
                    </a:lnTo>
                    <a:lnTo>
                      <a:pt x="510" y="24"/>
                    </a:lnTo>
                    <a:lnTo>
                      <a:pt x="521" y="16"/>
                    </a:lnTo>
                    <a:lnTo>
                      <a:pt x="531" y="8"/>
                    </a:lnTo>
                    <a:lnTo>
                      <a:pt x="544" y="0"/>
                    </a:lnTo>
                    <a:lnTo>
                      <a:pt x="575" y="53"/>
                    </a:lnTo>
                    <a:lnTo>
                      <a:pt x="599" y="99"/>
                    </a:lnTo>
                    <a:lnTo>
                      <a:pt x="610" y="118"/>
                    </a:lnTo>
                    <a:lnTo>
                      <a:pt x="622" y="138"/>
                    </a:lnTo>
                    <a:lnTo>
                      <a:pt x="632" y="155"/>
                    </a:lnTo>
                    <a:lnTo>
                      <a:pt x="645" y="172"/>
                    </a:lnTo>
                    <a:lnTo>
                      <a:pt x="657" y="188"/>
                    </a:lnTo>
                    <a:lnTo>
                      <a:pt x="671" y="203"/>
                    </a:lnTo>
                    <a:lnTo>
                      <a:pt x="686" y="218"/>
                    </a:lnTo>
                    <a:lnTo>
                      <a:pt x="703" y="233"/>
                    </a:lnTo>
                    <a:lnTo>
                      <a:pt x="724" y="247"/>
                    </a:lnTo>
                    <a:lnTo>
                      <a:pt x="747" y="262"/>
                    </a:lnTo>
                    <a:lnTo>
                      <a:pt x="772" y="277"/>
                    </a:lnTo>
                    <a:lnTo>
                      <a:pt x="802" y="293"/>
                    </a:lnTo>
                    <a:lnTo>
                      <a:pt x="797" y="306"/>
                    </a:lnTo>
                    <a:lnTo>
                      <a:pt x="792" y="318"/>
                    </a:lnTo>
                    <a:lnTo>
                      <a:pt x="788" y="327"/>
                    </a:lnTo>
                    <a:lnTo>
                      <a:pt x="783" y="336"/>
                    </a:lnTo>
                    <a:lnTo>
                      <a:pt x="779" y="343"/>
                    </a:lnTo>
                    <a:lnTo>
                      <a:pt x="773" y="351"/>
                    </a:lnTo>
                    <a:lnTo>
                      <a:pt x="767" y="359"/>
                    </a:lnTo>
                    <a:lnTo>
                      <a:pt x="760" y="368"/>
                    </a:lnTo>
                    <a:lnTo>
                      <a:pt x="760" y="411"/>
                    </a:lnTo>
                    <a:lnTo>
                      <a:pt x="782" y="412"/>
                    </a:lnTo>
                    <a:lnTo>
                      <a:pt x="803" y="415"/>
                    </a:lnTo>
                    <a:lnTo>
                      <a:pt x="821" y="419"/>
                    </a:lnTo>
                    <a:lnTo>
                      <a:pt x="838" y="423"/>
                    </a:lnTo>
                    <a:lnTo>
                      <a:pt x="854" y="428"/>
                    </a:lnTo>
                    <a:lnTo>
                      <a:pt x="868" y="434"/>
                    </a:lnTo>
                    <a:lnTo>
                      <a:pt x="881" y="441"/>
                    </a:lnTo>
                    <a:lnTo>
                      <a:pt x="893" y="447"/>
                    </a:lnTo>
                    <a:lnTo>
                      <a:pt x="904" y="455"/>
                    </a:lnTo>
                    <a:lnTo>
                      <a:pt x="914" y="465"/>
                    </a:lnTo>
                    <a:lnTo>
                      <a:pt x="924" y="473"/>
                    </a:lnTo>
                    <a:lnTo>
                      <a:pt x="933" y="482"/>
                    </a:lnTo>
                    <a:lnTo>
                      <a:pt x="951" y="501"/>
                    </a:lnTo>
                    <a:lnTo>
                      <a:pt x="969" y="522"/>
                    </a:lnTo>
                    <a:lnTo>
                      <a:pt x="953" y="530"/>
                    </a:lnTo>
                    <a:lnTo>
                      <a:pt x="941" y="538"/>
                    </a:lnTo>
                    <a:lnTo>
                      <a:pt x="932" y="546"/>
                    </a:lnTo>
                    <a:lnTo>
                      <a:pt x="925" y="555"/>
                    </a:lnTo>
                    <a:lnTo>
                      <a:pt x="921" y="564"/>
                    </a:lnTo>
                    <a:lnTo>
                      <a:pt x="919" y="574"/>
                    </a:lnTo>
                    <a:lnTo>
                      <a:pt x="916" y="583"/>
                    </a:lnTo>
                    <a:lnTo>
                      <a:pt x="916" y="593"/>
                    </a:lnTo>
                    <a:lnTo>
                      <a:pt x="917" y="615"/>
                    </a:lnTo>
                    <a:lnTo>
                      <a:pt x="917" y="639"/>
                    </a:lnTo>
                    <a:lnTo>
                      <a:pt x="917" y="653"/>
                    </a:lnTo>
                    <a:lnTo>
                      <a:pt x="915" y="666"/>
                    </a:lnTo>
                    <a:lnTo>
                      <a:pt x="912" y="681"/>
                    </a:lnTo>
                    <a:lnTo>
                      <a:pt x="906" y="696"/>
                    </a:lnTo>
                    <a:lnTo>
                      <a:pt x="903" y="700"/>
                    </a:lnTo>
                    <a:lnTo>
                      <a:pt x="894" y="705"/>
                    </a:lnTo>
                    <a:lnTo>
                      <a:pt x="882" y="714"/>
                    </a:lnTo>
                    <a:lnTo>
                      <a:pt x="867" y="722"/>
                    </a:lnTo>
                    <a:lnTo>
                      <a:pt x="852" y="730"/>
                    </a:lnTo>
                    <a:lnTo>
                      <a:pt x="838" y="739"/>
                    </a:lnTo>
                    <a:lnTo>
                      <a:pt x="828" y="746"/>
                    </a:lnTo>
                    <a:lnTo>
                      <a:pt x="822" y="751"/>
                    </a:lnTo>
                    <a:lnTo>
                      <a:pt x="815" y="731"/>
                    </a:lnTo>
                    <a:lnTo>
                      <a:pt x="808" y="714"/>
                    </a:lnTo>
                    <a:lnTo>
                      <a:pt x="803" y="700"/>
                    </a:lnTo>
                    <a:lnTo>
                      <a:pt x="798" y="687"/>
                    </a:lnTo>
                    <a:lnTo>
                      <a:pt x="792" y="676"/>
                    </a:lnTo>
                    <a:lnTo>
                      <a:pt x="787" y="664"/>
                    </a:lnTo>
                    <a:lnTo>
                      <a:pt x="781" y="650"/>
                    </a:lnTo>
                    <a:lnTo>
                      <a:pt x="774" y="633"/>
                    </a:lnTo>
                    <a:lnTo>
                      <a:pt x="586" y="633"/>
                    </a:lnTo>
                    <a:lnTo>
                      <a:pt x="573" y="626"/>
                    </a:lnTo>
                    <a:lnTo>
                      <a:pt x="563" y="618"/>
                    </a:lnTo>
                    <a:lnTo>
                      <a:pt x="553" y="613"/>
                    </a:lnTo>
                    <a:lnTo>
                      <a:pt x="544" y="606"/>
                    </a:lnTo>
                    <a:lnTo>
                      <a:pt x="534" y="599"/>
                    </a:lnTo>
                    <a:lnTo>
                      <a:pt x="525" y="592"/>
                    </a:lnTo>
                    <a:lnTo>
                      <a:pt x="514" y="585"/>
                    </a:lnTo>
                    <a:lnTo>
                      <a:pt x="502" y="578"/>
                    </a:lnTo>
                    <a:lnTo>
                      <a:pt x="501" y="590"/>
                    </a:lnTo>
                    <a:lnTo>
                      <a:pt x="501" y="601"/>
                    </a:lnTo>
                    <a:lnTo>
                      <a:pt x="504" y="613"/>
                    </a:lnTo>
                    <a:lnTo>
                      <a:pt x="507" y="623"/>
                    </a:lnTo>
                    <a:lnTo>
                      <a:pt x="510" y="633"/>
                    </a:lnTo>
                    <a:lnTo>
                      <a:pt x="513" y="645"/>
                    </a:lnTo>
                    <a:lnTo>
                      <a:pt x="515" y="656"/>
                    </a:lnTo>
                    <a:lnTo>
                      <a:pt x="516" y="669"/>
                    </a:lnTo>
                    <a:lnTo>
                      <a:pt x="453" y="669"/>
                    </a:lnTo>
                    <a:lnTo>
                      <a:pt x="445" y="657"/>
                    </a:lnTo>
                    <a:lnTo>
                      <a:pt x="436" y="648"/>
                    </a:lnTo>
                    <a:lnTo>
                      <a:pt x="426" y="639"/>
                    </a:lnTo>
                    <a:lnTo>
                      <a:pt x="414" y="630"/>
                    </a:lnTo>
                    <a:lnTo>
                      <a:pt x="403" y="623"/>
                    </a:lnTo>
                    <a:lnTo>
                      <a:pt x="391" y="617"/>
                    </a:lnTo>
                    <a:lnTo>
                      <a:pt x="381" y="614"/>
                    </a:lnTo>
                    <a:lnTo>
                      <a:pt x="369" y="613"/>
                    </a:lnTo>
                    <a:lnTo>
                      <a:pt x="348" y="613"/>
                    </a:lnTo>
                    <a:lnTo>
                      <a:pt x="326" y="613"/>
                    </a:lnTo>
                    <a:lnTo>
                      <a:pt x="306" y="613"/>
                    </a:lnTo>
                    <a:lnTo>
                      <a:pt x="287" y="613"/>
                    </a:lnTo>
                    <a:lnTo>
                      <a:pt x="268" y="613"/>
                    </a:lnTo>
                    <a:lnTo>
                      <a:pt x="249" y="613"/>
                    </a:lnTo>
                    <a:lnTo>
                      <a:pt x="229" y="613"/>
                    </a:lnTo>
                    <a:lnTo>
                      <a:pt x="210" y="613"/>
                    </a:lnTo>
                    <a:lnTo>
                      <a:pt x="194" y="614"/>
                    </a:lnTo>
                    <a:lnTo>
                      <a:pt x="179" y="617"/>
                    </a:lnTo>
                    <a:lnTo>
                      <a:pt x="164" y="622"/>
                    </a:lnTo>
                    <a:lnTo>
                      <a:pt x="148" y="626"/>
                    </a:lnTo>
                    <a:lnTo>
                      <a:pt x="131" y="632"/>
                    </a:lnTo>
                    <a:lnTo>
                      <a:pt x="113" y="636"/>
                    </a:lnTo>
                    <a:lnTo>
                      <a:pt x="93" y="639"/>
                    </a:lnTo>
                    <a:lnTo>
                      <a:pt x="70" y="640"/>
                    </a:lnTo>
                    <a:lnTo>
                      <a:pt x="59" y="639"/>
                    </a:lnTo>
                    <a:lnTo>
                      <a:pt x="47" y="637"/>
                    </a:lnTo>
                    <a:lnTo>
                      <a:pt x="35" y="633"/>
                    </a:lnTo>
                    <a:lnTo>
                      <a:pt x="23" y="628"/>
                    </a:lnTo>
                    <a:lnTo>
                      <a:pt x="13" y="621"/>
                    </a:lnTo>
                    <a:lnTo>
                      <a:pt x="5" y="614"/>
                    </a:lnTo>
                    <a:lnTo>
                      <a:pt x="2" y="610"/>
                    </a:lnTo>
                    <a:lnTo>
                      <a:pt x="0" y="607"/>
                    </a:lnTo>
                    <a:lnTo>
                      <a:pt x="0" y="602"/>
                    </a:lnTo>
                    <a:lnTo>
                      <a:pt x="1" y="599"/>
                    </a:lnTo>
                    <a:lnTo>
                      <a:pt x="1" y="583"/>
                    </a:lnTo>
                    <a:lnTo>
                      <a:pt x="5" y="567"/>
                    </a:lnTo>
                    <a:lnTo>
                      <a:pt x="9" y="553"/>
                    </a:lnTo>
                    <a:lnTo>
                      <a:pt x="16" y="539"/>
                    </a:lnTo>
                    <a:lnTo>
                      <a:pt x="23" y="527"/>
                    </a:lnTo>
                    <a:lnTo>
                      <a:pt x="31" y="514"/>
                    </a:lnTo>
                    <a:lnTo>
                      <a:pt x="40" y="502"/>
                    </a:lnTo>
                    <a:lnTo>
                      <a:pt x="49" y="491"/>
                    </a:lnTo>
                    <a:lnTo>
                      <a:pt x="59" y="478"/>
                    </a:lnTo>
                    <a:lnTo>
                      <a:pt x="68" y="467"/>
                    </a:lnTo>
                    <a:lnTo>
                      <a:pt x="76" y="454"/>
                    </a:lnTo>
                    <a:lnTo>
                      <a:pt x="83" y="442"/>
                    </a:lnTo>
                    <a:lnTo>
                      <a:pt x="90" y="429"/>
                    </a:lnTo>
                    <a:lnTo>
                      <a:pt x="94" y="414"/>
                    </a:lnTo>
                    <a:lnTo>
                      <a:pt x="98" y="399"/>
                    </a:lnTo>
                    <a:lnTo>
                      <a:pt x="99" y="383"/>
                    </a:lnTo>
                    <a:lnTo>
                      <a:pt x="98" y="366"/>
                    </a:lnTo>
                    <a:lnTo>
                      <a:pt x="94" y="350"/>
                    </a:lnTo>
                    <a:lnTo>
                      <a:pt x="90" y="336"/>
                    </a:lnTo>
                    <a:lnTo>
                      <a:pt x="84" y="324"/>
                    </a:lnTo>
                    <a:lnTo>
                      <a:pt x="79" y="310"/>
                    </a:lnTo>
                    <a:lnTo>
                      <a:pt x="75" y="296"/>
                    </a:lnTo>
                    <a:lnTo>
                      <a:pt x="71" y="281"/>
                    </a:lnTo>
                    <a:lnTo>
                      <a:pt x="70" y="264"/>
                    </a:lnTo>
                    <a:lnTo>
                      <a:pt x="71" y="249"/>
                    </a:lnTo>
                    <a:lnTo>
                      <a:pt x="71" y="236"/>
                    </a:lnTo>
                    <a:lnTo>
                      <a:pt x="74" y="224"/>
                    </a:lnTo>
                    <a:lnTo>
                      <a:pt x="76" y="213"/>
                    </a:lnTo>
                    <a:lnTo>
                      <a:pt x="78" y="202"/>
                    </a:lnTo>
                    <a:lnTo>
                      <a:pt x="83" y="191"/>
                    </a:lnTo>
                    <a:lnTo>
                      <a:pt x="86" y="179"/>
                    </a:lnTo>
                    <a:lnTo>
                      <a:pt x="92" y="166"/>
                    </a:lnTo>
                    <a:lnTo>
                      <a:pt x="99" y="169"/>
                    </a:lnTo>
                    <a:lnTo>
                      <a:pt x="106" y="171"/>
                    </a:lnTo>
                    <a:lnTo>
                      <a:pt x="111" y="173"/>
                    </a:lnTo>
                    <a:lnTo>
                      <a:pt x="117" y="177"/>
                    </a:lnTo>
                    <a:lnTo>
                      <a:pt x="127" y="184"/>
                    </a:lnTo>
                    <a:lnTo>
                      <a:pt x="135" y="191"/>
                    </a:lnTo>
                    <a:lnTo>
                      <a:pt x="145" y="197"/>
                    </a:lnTo>
                    <a:lnTo>
                      <a:pt x="153" y="203"/>
                    </a:lnTo>
                    <a:lnTo>
                      <a:pt x="157" y="205"/>
                    </a:lnTo>
                    <a:lnTo>
                      <a:pt x="163" y="207"/>
                    </a:lnTo>
                    <a:lnTo>
                      <a:pt x="169" y="208"/>
                    </a:lnTo>
                    <a:lnTo>
                      <a:pt x="174" y="209"/>
                    </a:lnTo>
                    <a:lnTo>
                      <a:pt x="176" y="189"/>
                    </a:lnTo>
                    <a:lnTo>
                      <a:pt x="177" y="172"/>
                    </a:lnTo>
                    <a:lnTo>
                      <a:pt x="178" y="157"/>
                    </a:lnTo>
                    <a:lnTo>
                      <a:pt x="180" y="142"/>
                    </a:lnTo>
                    <a:lnTo>
                      <a:pt x="184" y="129"/>
                    </a:lnTo>
                    <a:lnTo>
                      <a:pt x="188" y="117"/>
                    </a:lnTo>
                    <a:lnTo>
                      <a:pt x="193" y="106"/>
                    </a:lnTo>
                    <a:lnTo>
                      <a:pt x="199" y="95"/>
                    </a:lnTo>
                    <a:lnTo>
                      <a:pt x="205" y="86"/>
                    </a:lnTo>
                    <a:lnTo>
                      <a:pt x="212" y="77"/>
                    </a:lnTo>
                    <a:lnTo>
                      <a:pt x="221" y="69"/>
                    </a:lnTo>
                    <a:lnTo>
                      <a:pt x="231" y="62"/>
                    </a:lnTo>
                    <a:lnTo>
                      <a:pt x="241" y="54"/>
                    </a:lnTo>
                    <a:lnTo>
                      <a:pt x="252" y="47"/>
                    </a:lnTo>
                    <a:lnTo>
                      <a:pt x="265" y="41"/>
                    </a:lnTo>
                    <a:lnTo>
                      <a:pt x="279" y="35"/>
                    </a:lnTo>
                    <a:lnTo>
                      <a:pt x="286" y="51"/>
                    </a:lnTo>
                    <a:lnTo>
                      <a:pt x="293" y="66"/>
                    </a:lnTo>
                    <a:lnTo>
                      <a:pt x="302" y="79"/>
                    </a:lnTo>
                    <a:lnTo>
                      <a:pt x="312" y="92"/>
                    </a:lnTo>
                    <a:lnTo>
                      <a:pt x="318" y="98"/>
                    </a:lnTo>
                    <a:lnTo>
                      <a:pt x="324" y="102"/>
                    </a:lnTo>
                    <a:lnTo>
                      <a:pt x="330" y="107"/>
                    </a:lnTo>
                    <a:lnTo>
                      <a:pt x="337" y="111"/>
                    </a:lnTo>
                    <a:lnTo>
                      <a:pt x="344" y="114"/>
                    </a:lnTo>
                    <a:lnTo>
                      <a:pt x="352" y="116"/>
                    </a:lnTo>
                    <a:lnTo>
                      <a:pt x="361" y="117"/>
                    </a:lnTo>
                    <a:lnTo>
                      <a:pt x="369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/>
                </a:endParaRPr>
              </a:p>
            </p:txBody>
          </p:sp>
        </p:grpSp>
        <p:sp>
          <p:nvSpPr>
            <p:cNvPr id="37" name="Right Arrow 36"/>
            <p:cNvSpPr/>
            <p:nvPr/>
          </p:nvSpPr>
          <p:spPr>
            <a:xfrm rot="18900000">
              <a:off x="1161401" y="3549525"/>
              <a:ext cx="810486" cy="261543"/>
            </a:xfrm>
            <a:prstGeom prst="rightArrow">
              <a:avLst/>
            </a:prstGeom>
            <a:solidFill>
              <a:schemeClr val="bg2"/>
            </a:solidFill>
            <a:ln w="1270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900"/>
                </a:spcBef>
                <a:buClr>
                  <a:schemeClr val="bg2"/>
                </a:buClr>
              </a:pPr>
              <a:endParaRPr lang="en-US" sz="14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6262197" y="4545124"/>
            <a:ext cx="2563297" cy="1588127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667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What are the prerequisites for growth in Germany?</a:t>
            </a:r>
          </a:p>
          <a:p>
            <a:pPr marL="2667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How can German industry leverage the good </a:t>
            </a:r>
            <a:r>
              <a:rPr lang="en-US" sz="1400" dirty="0" err="1" smtClean="0">
                <a:latin typeface="Arial "/>
              </a:rPr>
              <a:t>strating</a:t>
            </a:r>
            <a:r>
              <a:rPr lang="en-US" sz="1400" dirty="0" smtClean="0">
                <a:latin typeface="Arial "/>
              </a:rPr>
              <a:t> position?</a:t>
            </a:r>
          </a:p>
          <a:p>
            <a:pPr marL="2667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In which areas will new jobs be created?</a:t>
            </a:r>
          </a:p>
        </p:txBody>
      </p:sp>
      <p:sp>
        <p:nvSpPr>
          <p:cNvPr id="44" name="Oval 43"/>
          <p:cNvSpPr/>
          <p:nvPr/>
        </p:nvSpPr>
        <p:spPr>
          <a:xfrm>
            <a:off x="6262198" y="2028533"/>
            <a:ext cx="248575" cy="248575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45" name="Oval 44"/>
          <p:cNvSpPr/>
          <p:nvPr/>
        </p:nvSpPr>
        <p:spPr>
          <a:xfrm>
            <a:off x="3275856" y="2028533"/>
            <a:ext cx="248575" cy="248575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275856" y="4545124"/>
            <a:ext cx="2563297" cy="1588127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667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Which are new requirements to the market?</a:t>
            </a:r>
          </a:p>
          <a:p>
            <a:pPr marL="2667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Which roles will OEM play in future?</a:t>
            </a:r>
          </a:p>
          <a:p>
            <a:pPr marL="266700" indent="-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latin typeface="Arial "/>
              </a:rPr>
              <a:t>How will growth of embedded systems change business models?</a:t>
            </a:r>
          </a:p>
        </p:txBody>
      </p:sp>
      <p:sp>
        <p:nvSpPr>
          <p:cNvPr id="43" name="Rectangle 42"/>
          <p:cNvSpPr/>
          <p:nvPr>
            <p:custDataLst>
              <p:tags r:id="rId7"/>
            </p:custDataLst>
          </p:nvPr>
        </p:nvSpPr>
        <p:spPr>
          <a:xfrm>
            <a:off x="250825" y="2096616"/>
            <a:ext cx="2563297" cy="417242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hich future application and segments will drive growth?</a:t>
            </a:r>
            <a:endParaRPr lang="en-US" sz="1400" b="1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250825" y="2028533"/>
            <a:ext cx="248575" cy="248575"/>
          </a:xfrm>
          <a:prstGeom prst="ellipse">
            <a:avLst/>
          </a:prstGeom>
          <a:solidFill>
            <a:schemeClr val="bg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48" name="TextBox 47"/>
          <p:cNvSpPr txBox="1"/>
          <p:nvPr>
            <p:custDataLst>
              <p:tags r:id="rId8"/>
            </p:custDataLst>
          </p:nvPr>
        </p:nvSpPr>
        <p:spPr>
          <a:xfrm>
            <a:off x="250825" y="4545124"/>
            <a:ext cx="2563297" cy="1588127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17475" indent="-117475" defTabSz="966788" eaLnBrk="0" hangingPunct="0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Where is the highest value add for ES?</a:t>
            </a:r>
          </a:p>
          <a:p>
            <a:pPr marL="117475" indent="-117475" defTabSz="966788" eaLnBrk="0" hangingPunct="0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Which market segments can be tapped with ES?</a:t>
            </a:r>
          </a:p>
          <a:p>
            <a:pPr marL="117475" indent="-117475" defTabSz="966788" eaLnBrk="0" hangingPunct="0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buFontTx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Which new developments in ES could facilitate a burst of growth?</a:t>
            </a:r>
          </a:p>
        </p:txBody>
      </p:sp>
      <p:pic>
        <p:nvPicPr>
          <p:cNvPr id="151555" name="Picture 3"/>
          <p:cNvPicPr>
            <a:picLocks noChangeAspect="1" noChangeArrowheads="1"/>
          </p:cNvPicPr>
          <p:nvPr/>
        </p:nvPicPr>
        <p:blipFill>
          <a:blip r:embed="rId12" cstate="print"/>
          <a:srcRect l="2929" t="27872" b="32538"/>
          <a:stretch>
            <a:fillRect/>
          </a:stretch>
        </p:blipFill>
        <p:spPr bwMode="auto">
          <a:xfrm>
            <a:off x="3448338" y="2924944"/>
            <a:ext cx="2239786" cy="68510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1557" name="Picture 5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3548" y="2811329"/>
            <a:ext cx="1971264" cy="166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59810" name="think-cell Slide" r:id="rId37" imgW="0" imgH="0" progId="">
              <p:embed/>
            </p:oleObj>
          </a:graphicData>
        </a:graphic>
      </p:graphicFrame>
      <p:sp>
        <p:nvSpPr>
          <p:cNvPr id="7172" name="Rectangle 37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200" smtClean="0">
                <a:latin typeface="Arial"/>
                <a:cs typeface="Arial"/>
                <a:sym typeface="Arial"/>
              </a:rPr>
              <a:t>6</a:t>
            </a:r>
            <a:endParaRPr lang="en-US" sz="1200">
              <a:latin typeface="Arial"/>
              <a:cs typeface="Arial"/>
              <a:sym typeface="Arial"/>
            </a:endParaRPr>
          </a:p>
        </p:txBody>
      </p:sp>
      <p:sp>
        <p:nvSpPr>
          <p:cNvPr id="7173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4475" y="6597650"/>
            <a:ext cx="6842125" cy="1444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41338" indent="-541338" eaLnBrk="0" hangingPunct="0">
              <a:lnSpc>
                <a:spcPct val="85000"/>
              </a:lnSpc>
              <a:tabLst>
                <a:tab pos="2116138" algn="l"/>
              </a:tabLst>
            </a:pPr>
            <a:r>
              <a:rPr lang="en-US" sz="1000" dirty="0"/>
              <a:t>Source: </a:t>
            </a:r>
            <a:r>
              <a:rPr lang="en-US" sz="1000" dirty="0">
                <a:solidFill>
                  <a:srgbClr val="000000"/>
                </a:solidFill>
              </a:rPr>
              <a:t>A.T. Kearney Embedded Systems Study 2010</a:t>
            </a:r>
            <a:endParaRPr lang="en-US" sz="1000" dirty="0"/>
          </a:p>
        </p:txBody>
      </p:sp>
      <p:sp>
        <p:nvSpPr>
          <p:cNvPr id="7174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In Automotive EES functions increase in share of value add per vehicle to 60% in 2025</a:t>
            </a:r>
          </a:p>
        </p:txBody>
      </p:sp>
      <p:sp>
        <p:nvSpPr>
          <p:cNvPr id="7175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44475" y="1616075"/>
            <a:ext cx="7064375" cy="4985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b="1" dirty="0" smtClean="0">
                <a:solidFill>
                  <a:srgbClr val="000000"/>
                </a:solidFill>
              </a:rPr>
              <a:t>Development of share in EES cost of the final product</a:t>
            </a:r>
            <a:br>
              <a:rPr lang="en-US" b="1" dirty="0" smtClean="0">
                <a:solidFill>
                  <a:srgbClr val="000000"/>
                </a:solidFill>
              </a:rPr>
            </a:br>
            <a:r>
              <a:rPr lang="en-US" b="1" dirty="0" smtClean="0">
                <a:solidFill>
                  <a:srgbClr val="000000"/>
                </a:solidFill>
              </a:rPr>
              <a:t>for automotive</a:t>
            </a:r>
            <a:endParaRPr lang="en-US" b="1" dirty="0">
              <a:solidFill>
                <a:srgbClr val="000000"/>
              </a:solidFill>
            </a:endParaRPr>
          </a:p>
        </p:txBody>
      </p:sp>
      <p:graphicFrame>
        <p:nvGraphicFramePr>
          <p:cNvPr id="7171" name="Object 10"/>
          <p:cNvGraphicFramePr>
            <a:graphicFrameLocks noChangeAspect="1"/>
          </p:cNvGraphicFramePr>
          <p:nvPr/>
        </p:nvGraphicFramePr>
        <p:xfrm>
          <a:off x="355600" y="2882900"/>
          <a:ext cx="3171808" cy="3019357"/>
        </p:xfrm>
        <a:graphic>
          <a:graphicData uri="http://schemas.openxmlformats.org/presentationml/2006/ole">
            <p:oleObj spid="_x0000_s759811" name="Chart" r:id="rId38" imgW="3171808" imgH="3019357" progId="MSGraph.Chart.8">
              <p:embed followColorScheme="full"/>
            </p:oleObj>
          </a:graphicData>
        </a:graphic>
      </p:graphicFrame>
      <p:sp>
        <p:nvSpPr>
          <p:cNvPr id="16" name="Rectangle 15"/>
          <p:cNvSpPr/>
          <p:nvPr>
            <p:custDataLst>
              <p:tags r:id="rId6"/>
            </p:custDataLst>
          </p:nvPr>
        </p:nvSpPr>
        <p:spPr bwMode="auto">
          <a:xfrm>
            <a:off x="3324225" y="5157787"/>
            <a:ext cx="806450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>
              <a:buClr>
                <a:schemeClr val="bg2"/>
              </a:buClr>
              <a:defRPr/>
            </a:pPr>
            <a:fld id="{F9499EA8-7245-4159-A29D-57A9F805E761}" type="datetime'''''''''''''Me''''''cha''''''''ni''''c'''''''''">
              <a:rPr lang="en-US" sz="1400" b="1" smtClean="0">
                <a:solidFill>
                  <a:schemeClr val="tx1"/>
                </a:solidFill>
                <a:cs typeface="Arial"/>
                <a:sym typeface="Arial"/>
              </a:rPr>
              <a:pPr>
                <a:buClr>
                  <a:schemeClr val="bg2"/>
                </a:buClr>
                <a:defRPr/>
              </a:pPr>
              <a:t>Mechanic</a:t>
            </a:fld>
            <a:endParaRPr lang="en-US" sz="1400" b="1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7"/>
            </p:custDataLst>
          </p:nvPr>
        </p:nvSpPr>
        <p:spPr bwMode="auto">
          <a:xfrm>
            <a:off x="3324225" y="4065587"/>
            <a:ext cx="857250" cy="42545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>
              <a:buClr>
                <a:schemeClr val="bg2"/>
              </a:buClr>
              <a:defRPr/>
            </a:pPr>
            <a:fld id="{F9427477-2055-4D25-BBC6-3441326F12DE}" type="datetime'''E''''lect''''r''ic''''/&#10;''E''''''le''''''''c''''troni''c'''">
              <a:rPr lang="en-US" sz="1400" b="1" smtClean="0">
                <a:solidFill>
                  <a:schemeClr val="tx1"/>
                </a:solidFill>
                <a:cs typeface="Arial"/>
                <a:sym typeface="Arial"/>
              </a:rPr>
              <a:pPr>
                <a:buClr>
                  <a:schemeClr val="bg2"/>
                </a:buClr>
                <a:defRPr/>
              </a:pPr>
              <a:t>Electric/
Electronic</a:t>
            </a:fld>
            <a:endParaRPr lang="en-US" sz="1400" b="1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4" name="Rectangle 13"/>
          <p:cNvSpPr/>
          <p:nvPr>
            <p:custDataLst>
              <p:tags r:id="rId8"/>
            </p:custDataLst>
          </p:nvPr>
        </p:nvSpPr>
        <p:spPr bwMode="auto">
          <a:xfrm>
            <a:off x="3324225" y="3295650"/>
            <a:ext cx="798512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Autofit/>
          </a:bodyPr>
          <a:lstStyle/>
          <a:p>
            <a:pPr>
              <a:buClr>
                <a:schemeClr val="bg2"/>
              </a:buClr>
              <a:defRPr/>
            </a:pPr>
            <a:fld id="{17B5DC4B-819C-4A57-AFCA-7E5BD90FD7BC}" type="datetime'S''o''f''''''t''''''w''''''''a''''''re'''''' '''">
              <a:rPr lang="en-US" sz="1400" b="1" smtClean="0">
                <a:solidFill>
                  <a:schemeClr val="tx1"/>
                </a:solidFill>
                <a:cs typeface="Arial"/>
                <a:sym typeface="Arial"/>
              </a:rPr>
              <a:pPr>
                <a:buClr>
                  <a:schemeClr val="bg2"/>
                </a:buClr>
                <a:defRPr/>
              </a:pPr>
              <a:t>Software </a:t>
            </a:fld>
            <a:endParaRPr lang="en-US" sz="1400" b="1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3" name="Rectangle 12"/>
          <p:cNvSpPr/>
          <p:nvPr>
            <p:custDataLst>
              <p:tags r:id="rId9"/>
            </p:custDataLst>
          </p:nvPr>
        </p:nvSpPr>
        <p:spPr bwMode="auto">
          <a:xfrm>
            <a:off x="2724150" y="5899150"/>
            <a:ext cx="406400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buClr>
                <a:schemeClr val="bg2"/>
              </a:buClr>
              <a:defRPr/>
            </a:pPr>
            <a:fld id="{77C46A76-5BF3-446A-B3BD-6CB97C3C6D50}" type="datetime'''''''''''''''''2''''''0''''''2''''''''''''''''''''5'''">
              <a:rPr lang="en-US" sz="1400" b="1" smtClean="0">
                <a:solidFill>
                  <a:schemeClr val="tx1"/>
                </a:solidFill>
                <a:cs typeface="Arial"/>
                <a:sym typeface="Arial"/>
              </a:rPr>
              <a:pPr algn="ctr">
                <a:buClr>
                  <a:schemeClr val="bg2"/>
                </a:buClr>
                <a:defRPr/>
              </a:pPr>
              <a:t>2025</a:t>
            </a:fld>
            <a:endParaRPr lang="en-US" sz="1400" b="1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36" name="Rectangle 35"/>
          <p:cNvSpPr/>
          <p:nvPr>
            <p:custDataLst>
              <p:tags r:id="rId10"/>
            </p:custDataLst>
          </p:nvPr>
        </p:nvSpPr>
        <p:spPr bwMode="auto">
          <a:xfrm>
            <a:off x="2774950" y="5181600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A04A7106-00C8-4122-990F-D65C40FCC64D}" type="datetime'3''''''''''8''''''''''''''''''''''''''%''''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38%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" name="Rectangle 32"/>
          <p:cNvSpPr/>
          <p:nvPr>
            <p:custDataLst>
              <p:tags r:id="rId11"/>
            </p:custDataLst>
          </p:nvPr>
        </p:nvSpPr>
        <p:spPr bwMode="auto">
          <a:xfrm>
            <a:off x="2774950" y="4195762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3C78C159-DDC2-4482-8FE7-991404EED4D1}" type="datetime'''''''''''32''''''''''''''''''''''''''''''''''''''%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32%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7" name="Rectangle 26"/>
          <p:cNvSpPr/>
          <p:nvPr>
            <p:custDataLst>
              <p:tags r:id="rId12"/>
            </p:custDataLst>
          </p:nvPr>
        </p:nvSpPr>
        <p:spPr bwMode="gray">
          <a:xfrm>
            <a:off x="2774950" y="3319462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713C1489-30F1-4150-9F1A-7D9DB85E08CB}" type="datetime'''''3''''''''''''''''0''''''''''''''%''''''''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30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" name="Rectangle 11"/>
          <p:cNvSpPr/>
          <p:nvPr>
            <p:custDataLst>
              <p:tags r:id="rId13"/>
            </p:custDataLst>
          </p:nvPr>
        </p:nvSpPr>
        <p:spPr bwMode="auto">
          <a:xfrm>
            <a:off x="1733550" y="5899150"/>
            <a:ext cx="406400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buClr>
                <a:schemeClr val="bg2"/>
              </a:buClr>
              <a:defRPr/>
            </a:pPr>
            <a:fld id="{80A3F076-62D4-4D8E-9767-944B4AC970D4}" type="datetime'''''''''''''''2''''''0''''''''''''''''''''''''1''0'''''''">
              <a:rPr lang="en-US" sz="1400" b="1" smtClean="0">
                <a:solidFill>
                  <a:schemeClr val="tx1"/>
                </a:solidFill>
                <a:cs typeface="Arial"/>
                <a:sym typeface="Arial"/>
              </a:rPr>
              <a:pPr algn="ctr">
                <a:buClr>
                  <a:schemeClr val="bg2"/>
                </a:buClr>
                <a:defRPr/>
              </a:pPr>
              <a:t>2010</a:t>
            </a:fld>
            <a:endParaRPr lang="en-US" sz="1400" b="1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32" name="Rectangle 31"/>
          <p:cNvSpPr/>
          <p:nvPr>
            <p:custDataLst>
              <p:tags r:id="rId14"/>
            </p:custDataLst>
          </p:nvPr>
        </p:nvSpPr>
        <p:spPr bwMode="auto">
          <a:xfrm>
            <a:off x="1784350" y="4967287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7A3D701A-CC1A-4CEB-9BE7-38DC64C904CD}" type="datetime'''''''''''''5''''''''''''''''''3''''''''%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53%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1" name="Rectangle 30"/>
          <p:cNvSpPr/>
          <p:nvPr>
            <p:custDataLst>
              <p:tags r:id="rId15"/>
            </p:custDataLst>
          </p:nvPr>
        </p:nvSpPr>
        <p:spPr bwMode="auto">
          <a:xfrm>
            <a:off x="1784350" y="3767137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99D47DF2-2ED1-4983-A729-2907C6A35AA8}" type="datetime'''''''''''''''''''3''''''2''''%''''''''''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32%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Rectangle 24"/>
          <p:cNvSpPr/>
          <p:nvPr>
            <p:custDataLst>
              <p:tags r:id="rId16"/>
            </p:custDataLst>
          </p:nvPr>
        </p:nvSpPr>
        <p:spPr bwMode="gray">
          <a:xfrm>
            <a:off x="1784350" y="3105150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8726FD29-6F8A-4C6F-872E-50F2F23BF980}" type="datetime'''''''''1''5%''''''''''''''''''''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5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9" name="Rectangle 58"/>
          <p:cNvSpPr/>
          <p:nvPr>
            <p:custDataLst>
              <p:tags r:id="rId17"/>
            </p:custDataLst>
          </p:nvPr>
        </p:nvSpPr>
        <p:spPr bwMode="auto">
          <a:xfrm>
            <a:off x="742950" y="5899150"/>
            <a:ext cx="406400" cy="192087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B99FABC4-8190-4202-9768-7ED50A86995E}" type="datetime'''''''''1995''''''''''''''''''''''''''''''''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995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1" name="Rectangle 60"/>
          <p:cNvSpPr/>
          <p:nvPr>
            <p:custDataLst>
              <p:tags r:id="rId18"/>
            </p:custDataLst>
          </p:nvPr>
        </p:nvSpPr>
        <p:spPr bwMode="auto">
          <a:xfrm>
            <a:off x="793750" y="4800600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C941AED5-B448-4E4F-B805-804748519BB6}" type="datetime'''''''''''''6''''''''''''5%''''''''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65%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0" name="Rectangle 59"/>
          <p:cNvSpPr/>
          <p:nvPr>
            <p:custDataLst>
              <p:tags r:id="rId19"/>
            </p:custDataLst>
          </p:nvPr>
        </p:nvSpPr>
        <p:spPr bwMode="auto">
          <a:xfrm>
            <a:off x="793750" y="3505200"/>
            <a:ext cx="303212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65F60C6E-CB1B-4C18-8125-29CB551E66A8}" type="datetime'''''''''''''''''''2''''''''7''''''''''''''''''''%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7%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2" name="Rectangle 61"/>
          <p:cNvSpPr/>
          <p:nvPr>
            <p:custDataLst>
              <p:tags r:id="rId20"/>
            </p:custDataLst>
          </p:nvPr>
        </p:nvSpPr>
        <p:spPr bwMode="gray">
          <a:xfrm>
            <a:off x="836612" y="3009900"/>
            <a:ext cx="219075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32FE8146-FAD6-4949-957F-4D8C24187A91}" type="datetime'''''''''''''''8''''''''''''''''''''''''''%''''''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8%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41" name="Straight Connector 40"/>
          <p:cNvCxnSpPr/>
          <p:nvPr>
            <p:custDataLst>
              <p:tags r:id="rId21"/>
            </p:custDataLst>
          </p:nvPr>
        </p:nvCxnSpPr>
        <p:spPr bwMode="auto">
          <a:xfrm>
            <a:off x="2212975" y="4302125"/>
            <a:ext cx="438150" cy="4286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22"/>
            </p:custDataLst>
          </p:nvPr>
        </p:nvCxnSpPr>
        <p:spPr bwMode="auto">
          <a:xfrm>
            <a:off x="2212975" y="3397250"/>
            <a:ext cx="438150" cy="4286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86" name="TextBox 26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057900" y="2541972"/>
            <a:ext cx="1816100" cy="193675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>
              <a:latin typeface="Arial "/>
            </a:endParaRPr>
          </a:p>
        </p:txBody>
      </p:sp>
      <p:sp>
        <p:nvSpPr>
          <p:cNvPr id="7187" name="Rectangle 6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5410200" y="2712661"/>
            <a:ext cx="3403600" cy="8826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12713" indent="-112713"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Tx/>
              <a:buChar char="•"/>
            </a:pPr>
            <a:r>
              <a:rPr lang="en-US" sz="1400" dirty="0" smtClean="0"/>
              <a:t>Software instead of hardware</a:t>
            </a:r>
          </a:p>
          <a:p>
            <a:pPr marL="112713" indent="-112713"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Tx/>
              <a:buChar char="•"/>
            </a:pPr>
            <a:r>
              <a:rPr lang="en-US" sz="1400" dirty="0" smtClean="0"/>
              <a:t>Software offerings will enable new revenue streams (e.g. pay per use, product add-on via remote update)</a:t>
            </a:r>
            <a:endParaRPr lang="en-US" sz="1400" dirty="0"/>
          </a:p>
        </p:txBody>
      </p:sp>
      <p:sp>
        <p:nvSpPr>
          <p:cNvPr id="7188" name="TextBox 30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368534" y="1541463"/>
            <a:ext cx="1543691" cy="572464"/>
          </a:xfrm>
          <a:prstGeom prst="rect">
            <a:avLst/>
          </a:prstGeom>
          <a:noFill/>
          <a:ln w="12700" cap="rnd">
            <a:solidFill>
              <a:schemeClr val="tx1"/>
            </a:solidFill>
            <a:miter lim="800000"/>
            <a:headEnd/>
            <a:tailEnd/>
          </a:ln>
        </p:spPr>
        <p:txBody>
          <a:bodyPr wrap="none" lIns="76200" tIns="76200" rIns="76200" bIns="76200">
            <a:spAutoFit/>
          </a:bodyPr>
          <a:lstStyle/>
          <a:p>
            <a:pPr algn="r">
              <a:lnSpc>
                <a:spcPct val="85000"/>
              </a:lnSpc>
              <a:buClr>
                <a:schemeClr val="bg2"/>
              </a:buClr>
            </a:pPr>
            <a:r>
              <a:rPr lang="en-US" sz="1600" b="1" dirty="0" smtClean="0"/>
              <a:t>Automotive</a:t>
            </a:r>
            <a:br>
              <a:rPr lang="en-US" sz="1600" b="1" dirty="0" smtClean="0"/>
            </a:br>
            <a:r>
              <a:rPr lang="en-US" sz="1600" b="1" dirty="0" smtClean="0"/>
              <a:t>Case Example</a:t>
            </a:r>
            <a:endParaRPr lang="en-US" sz="1600" b="1" dirty="0"/>
          </a:p>
        </p:txBody>
      </p:sp>
      <p:sp>
        <p:nvSpPr>
          <p:cNvPr id="7189" name="Rectangle 6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5410200" y="5122713"/>
            <a:ext cx="3411537" cy="8826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12713" indent="-112713" defTabSz="966788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n-US" sz="1400" dirty="0" smtClean="0"/>
              <a:t>Not anymore the key differentiator </a:t>
            </a:r>
          </a:p>
          <a:p>
            <a:pPr marL="112713" indent="-112713" defTabSz="966788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en-US" sz="1400" dirty="0" smtClean="0"/>
              <a:t>Will be sourced as commodity</a:t>
            </a:r>
          </a:p>
          <a:p>
            <a:pPr marL="112713" indent="-112713" defTabSz="966788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endParaRPr lang="en-US" sz="1200" dirty="0"/>
          </a:p>
        </p:txBody>
      </p:sp>
      <p:sp>
        <p:nvSpPr>
          <p:cNvPr id="7190" name="Rectangle 6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5410200" y="3711342"/>
            <a:ext cx="3670300" cy="8826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12713" indent="-112713"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Tx/>
              <a:buChar char="•"/>
            </a:pPr>
            <a:r>
              <a:rPr lang="en-US" sz="1400" dirty="0" smtClean="0"/>
              <a:t>Electric &amp; Electronic (E&amp;E) components as essential precondition for software components and -mobility</a:t>
            </a:r>
          </a:p>
          <a:p>
            <a:pPr marL="112713" indent="-112713" defTabSz="966788" eaLnBrk="0" hangingPunct="0">
              <a:lnSpc>
                <a:spcPct val="90000"/>
              </a:lnSpc>
              <a:spcBef>
                <a:spcPts val="300"/>
              </a:spcBef>
              <a:buClr>
                <a:schemeClr val="bg2"/>
              </a:buClr>
              <a:buFontTx/>
              <a:buChar char="•"/>
            </a:pPr>
            <a:r>
              <a:rPr lang="en-US" sz="1400" dirty="0" smtClean="0"/>
              <a:t>Currently ~€ 150 </a:t>
            </a:r>
            <a:r>
              <a:rPr lang="en-US" sz="1400" dirty="0" err="1" smtClean="0"/>
              <a:t>bn</a:t>
            </a:r>
            <a:r>
              <a:rPr lang="en-US" sz="1400" dirty="0" smtClean="0"/>
              <a:t> of E&amp;E components are build each year with a prospect growth of 6% p.a.</a:t>
            </a:r>
          </a:p>
          <a:p>
            <a:pPr marL="112713" indent="-112713" defTabSz="966788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endParaRPr lang="en-US" sz="1400" dirty="0" smtClean="0"/>
          </a:p>
          <a:p>
            <a:pPr marL="112713" indent="-112713" defTabSz="966788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endParaRPr lang="en-US" sz="1200" dirty="0"/>
          </a:p>
        </p:txBody>
      </p:sp>
      <p:cxnSp>
        <p:nvCxnSpPr>
          <p:cNvPr id="37" name="Straight Connector 36"/>
          <p:cNvCxnSpPr/>
          <p:nvPr>
            <p:custDataLst>
              <p:tags r:id="rId28"/>
            </p:custDataLst>
          </p:nvPr>
        </p:nvCxnSpPr>
        <p:spPr>
          <a:xfrm flipV="1">
            <a:off x="5499463" y="5085184"/>
            <a:ext cx="3278777" cy="1"/>
          </a:xfrm>
          <a:prstGeom prst="line">
            <a:avLst/>
          </a:prstGeom>
          <a:ln w="12700" cap="rnd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29"/>
            </p:custDataLst>
          </p:nvPr>
        </p:nvCxnSpPr>
        <p:spPr>
          <a:xfrm>
            <a:off x="3239852" y="3688044"/>
            <a:ext cx="5448300" cy="0"/>
          </a:xfrm>
          <a:prstGeom prst="line">
            <a:avLst/>
          </a:prstGeom>
          <a:ln w="12700" cap="rnd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30"/>
            </p:custDataLst>
          </p:nvPr>
        </p:nvCxnSpPr>
        <p:spPr>
          <a:xfrm>
            <a:off x="3241964" y="4726379"/>
            <a:ext cx="2257499" cy="358806"/>
          </a:xfrm>
          <a:prstGeom prst="line">
            <a:avLst/>
          </a:prstGeom>
          <a:ln w="12700" cap="rnd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31"/>
            </p:custDataLst>
          </p:nvPr>
        </p:nvCxnSpPr>
        <p:spPr>
          <a:xfrm>
            <a:off x="1201783" y="3193273"/>
            <a:ext cx="484513" cy="226821"/>
          </a:xfrm>
          <a:prstGeom prst="line">
            <a:avLst/>
          </a:prstGeom>
          <a:ln w="12700" cap="rnd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2"/>
            </p:custDataLst>
          </p:nvPr>
        </p:nvCxnSpPr>
        <p:spPr>
          <a:xfrm>
            <a:off x="1246909" y="4013860"/>
            <a:ext cx="391886" cy="308758"/>
          </a:xfrm>
          <a:prstGeom prst="line">
            <a:avLst/>
          </a:prstGeom>
          <a:ln w="12700" cap="rnd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Left Brace 42"/>
          <p:cNvSpPr/>
          <p:nvPr>
            <p:custDataLst>
              <p:tags r:id="rId33"/>
            </p:custDataLst>
          </p:nvPr>
        </p:nvSpPr>
        <p:spPr>
          <a:xfrm flipH="1">
            <a:off x="4120734" y="3016331"/>
            <a:ext cx="213759" cy="1686298"/>
          </a:xfrm>
          <a:prstGeom prst="leftBrac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>
            <p:custDataLst>
              <p:tags r:id="rId34"/>
            </p:custDataLst>
          </p:nvPr>
        </p:nvSpPr>
        <p:spPr>
          <a:xfrm>
            <a:off x="4376193" y="3612473"/>
            <a:ext cx="1037463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EES </a:t>
            </a:r>
            <a:br>
              <a:rPr lang="en-US" sz="1400" b="1" dirty="0" smtClean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rPr>
              <a:t>functions </a:t>
            </a:r>
            <a:endParaRPr lang="en-US" sz="11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6131" name="think-cell Slide" r:id="rId47" imgW="0" imgH="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5</a:t>
            </a:r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Especially high performing cars are characterized through a strong growth of EES components</a:t>
            </a:r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4178300" y="2501900"/>
          <a:ext cx="4343535" cy="3009900"/>
        </p:xfrm>
        <a:graphic>
          <a:graphicData uri="http://schemas.openxmlformats.org/presentationml/2006/ole">
            <p:oleObj spid="_x0000_s816130" name="Chart" r:id="rId48" imgW="4343535" imgH="3009900" progId="MSGraph.Chart.8">
              <p:embed followColorScheme="full"/>
            </p:oleObj>
          </a:graphicData>
        </a:graphic>
      </p:graphicFrame>
      <p:sp>
        <p:nvSpPr>
          <p:cNvPr id="50" name="Rectangle 49"/>
          <p:cNvSpPr/>
          <p:nvPr>
            <p:custDataLst>
              <p:tags r:id="rId4"/>
            </p:custDataLst>
          </p:nvPr>
        </p:nvSpPr>
        <p:spPr bwMode="auto">
          <a:xfrm>
            <a:off x="8210550" y="5394325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DECE1898-CAD4-4071-97C8-0412A4E45467}" type="datetime'''''''''''''''''''''2''''''''''''''''0''1''0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10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9" name="Rectangle 48"/>
          <p:cNvSpPr/>
          <p:nvPr>
            <p:custDataLst>
              <p:tags r:id="rId5"/>
            </p:custDataLst>
          </p:nvPr>
        </p:nvSpPr>
        <p:spPr bwMode="auto">
          <a:xfrm>
            <a:off x="7620000" y="5394325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C27F9703-6F14-428A-81A8-BAC86FD442CB}" type="datetime'''''''''''''''''2''''''''''''''0''''''''''''''''0''''''5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05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8" name="Rectangle 47"/>
          <p:cNvSpPr/>
          <p:nvPr>
            <p:custDataLst>
              <p:tags r:id="rId6"/>
            </p:custDataLst>
          </p:nvPr>
        </p:nvSpPr>
        <p:spPr bwMode="auto">
          <a:xfrm>
            <a:off x="7029450" y="5394325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29D6E535-AFC8-48CF-93D9-7ADB31783E74}" type="datetime'''''''''2''''''''''''''''0''0''''''''''''''0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000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7" name="Rectangle 46"/>
          <p:cNvSpPr/>
          <p:nvPr>
            <p:custDataLst>
              <p:tags r:id="rId7"/>
            </p:custDataLst>
          </p:nvPr>
        </p:nvSpPr>
        <p:spPr bwMode="auto">
          <a:xfrm>
            <a:off x="6438900" y="5394325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0F898189-83AD-408A-A781-092E0ED84DB1}" type="datetime'''''1''''''''''''''''''''''9''9''5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995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" name="Rectangle 45"/>
          <p:cNvSpPr/>
          <p:nvPr>
            <p:custDataLst>
              <p:tags r:id="rId8"/>
            </p:custDataLst>
          </p:nvPr>
        </p:nvSpPr>
        <p:spPr bwMode="auto">
          <a:xfrm>
            <a:off x="5848350" y="5394325"/>
            <a:ext cx="33655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54B569F2-CDE4-4073-B192-39D8F76FC70F}" type="datetime'1''''''''''''''''''''''''9''''''''''9''0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990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Rectangle 43"/>
          <p:cNvSpPr/>
          <p:nvPr>
            <p:custDataLst>
              <p:tags r:id="rId9"/>
            </p:custDataLst>
          </p:nvPr>
        </p:nvSpPr>
        <p:spPr bwMode="auto">
          <a:xfrm>
            <a:off x="5349875" y="5394325"/>
            <a:ext cx="152400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2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…</a:t>
            </a:r>
          </a:p>
        </p:txBody>
      </p:sp>
      <p:cxnSp>
        <p:nvCxnSpPr>
          <p:cNvPr id="95" name="Straight Connector 94"/>
          <p:cNvCxnSpPr/>
          <p:nvPr>
            <p:custDataLst>
              <p:tags r:id="rId10"/>
            </p:custDataLst>
          </p:nvPr>
        </p:nvCxnSpPr>
        <p:spPr bwMode="gray">
          <a:xfrm>
            <a:off x="5127625" y="2500312"/>
            <a:ext cx="219075" cy="0"/>
          </a:xfrm>
          <a:prstGeom prst="line">
            <a:avLst/>
          </a:prstGeom>
          <a:ln w="19050" cap="rnd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>
            <p:custDataLst>
              <p:tags r:id="rId11"/>
            </p:custDataLst>
          </p:nvPr>
        </p:nvCxnSpPr>
        <p:spPr bwMode="gray">
          <a:xfrm>
            <a:off x="5127625" y="2284412"/>
            <a:ext cx="219075" cy="0"/>
          </a:xfrm>
          <a:prstGeom prst="line">
            <a:avLst/>
          </a:prstGeom>
          <a:ln w="19050" cap="rnd">
            <a:solidFill>
              <a:srgbClr val="00000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>
            <p:custDataLst>
              <p:tags r:id="rId12"/>
            </p:custDataLst>
          </p:nvPr>
        </p:nvCxnSpPr>
        <p:spPr bwMode="gray">
          <a:xfrm>
            <a:off x="7138987" y="2284412"/>
            <a:ext cx="219075" cy="0"/>
          </a:xfrm>
          <a:prstGeom prst="line">
            <a:avLst/>
          </a:prstGeom>
          <a:ln w="19050" cap="rnd">
            <a:solidFill>
              <a:srgbClr val="00000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/>
          <p:cNvSpPr/>
          <p:nvPr>
            <p:custDataLst>
              <p:tags r:id="rId13"/>
            </p:custDataLst>
          </p:nvPr>
        </p:nvSpPr>
        <p:spPr bwMode="auto">
          <a:xfrm>
            <a:off x="7408862" y="2200275"/>
            <a:ext cx="1362075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D10BDEC9-9DD8-4367-A856-B0D8134283E2}" type="datetime'''''''% of'' ''''''''sof''''tw''are'' ''e''''rr''ors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% of software errors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4" name="Rectangle 93"/>
          <p:cNvSpPr/>
          <p:nvPr>
            <p:custDataLst>
              <p:tags r:id="rId14"/>
            </p:custDataLst>
          </p:nvPr>
        </p:nvSpPr>
        <p:spPr bwMode="auto">
          <a:xfrm>
            <a:off x="5397500" y="2416175"/>
            <a:ext cx="1639887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045230E6-4D08-4318-A282-E62892509EA7}" type="datetime'''Am''''oun''''''t o''''f ''''''softwar''e''''co''''d''''e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Amount of softwarecode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8" name="Rectangle 77"/>
          <p:cNvSpPr/>
          <p:nvPr>
            <p:custDataLst>
              <p:tags r:id="rId15"/>
            </p:custDataLst>
          </p:nvPr>
        </p:nvSpPr>
        <p:spPr bwMode="auto">
          <a:xfrm>
            <a:off x="5397500" y="2200275"/>
            <a:ext cx="693737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DE5AA9A4-4C28-4FC3-91D9-5E1CD0358542}" type="datetime'# ''''''''''''''of'''''''''''' ''''''''''''E''''''CU''''''s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# of ECUs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1" name="Freeform 90"/>
          <p:cNvSpPr/>
          <p:nvPr>
            <p:custDataLst>
              <p:tags r:id="rId16"/>
            </p:custDataLst>
          </p:nvPr>
        </p:nvSpPr>
        <p:spPr>
          <a:xfrm>
            <a:off x="4809619" y="2832100"/>
            <a:ext cx="3823742" cy="2406663"/>
          </a:xfrm>
          <a:custGeom>
            <a:avLst/>
            <a:gdLst>
              <a:gd name="connsiteX0" fmla="*/ 0 w 3732028"/>
              <a:gd name="connsiteY0" fmla="*/ 3721395 h 3721395"/>
              <a:gd name="connsiteX1" fmla="*/ 1382233 w 3732028"/>
              <a:gd name="connsiteY1" fmla="*/ 3498111 h 3721395"/>
              <a:gd name="connsiteX2" fmla="*/ 2530549 w 3732028"/>
              <a:gd name="connsiteY2" fmla="*/ 2796363 h 3721395"/>
              <a:gd name="connsiteX3" fmla="*/ 3732028 w 3732028"/>
              <a:gd name="connsiteY3" fmla="*/ 0 h 3721395"/>
              <a:gd name="connsiteX0" fmla="*/ 0 w 3732028"/>
              <a:gd name="connsiteY0" fmla="*/ 3721395 h 3721395"/>
              <a:gd name="connsiteX1" fmla="*/ 1382233 w 3732028"/>
              <a:gd name="connsiteY1" fmla="*/ 3498111 h 3721395"/>
              <a:gd name="connsiteX2" fmla="*/ 2520413 w 3732028"/>
              <a:gd name="connsiteY2" fmla="*/ 2657168 h 3721395"/>
              <a:gd name="connsiteX3" fmla="*/ 3732028 w 3732028"/>
              <a:gd name="connsiteY3" fmla="*/ 0 h 3721395"/>
              <a:gd name="connsiteX0" fmla="*/ 0 w 3772572"/>
              <a:gd name="connsiteY0" fmla="*/ 3502662 h 3502662"/>
              <a:gd name="connsiteX1" fmla="*/ 1382233 w 3772572"/>
              <a:gd name="connsiteY1" fmla="*/ 3279378 h 3502662"/>
              <a:gd name="connsiteX2" fmla="*/ 2520413 w 3772572"/>
              <a:gd name="connsiteY2" fmla="*/ 2438435 h 3502662"/>
              <a:gd name="connsiteX3" fmla="*/ 3772572 w 3772572"/>
              <a:gd name="connsiteY3" fmla="*/ 0 h 3502662"/>
              <a:gd name="connsiteX0" fmla="*/ 0 w 3772572"/>
              <a:gd name="connsiteY0" fmla="*/ 3502662 h 3523032"/>
              <a:gd name="connsiteX1" fmla="*/ 1382233 w 3772572"/>
              <a:gd name="connsiteY1" fmla="*/ 3279378 h 3523032"/>
              <a:gd name="connsiteX2" fmla="*/ 2459597 w 3772572"/>
              <a:gd name="connsiteY2" fmla="*/ 2040738 h 3523032"/>
              <a:gd name="connsiteX3" fmla="*/ 3772572 w 3772572"/>
              <a:gd name="connsiteY3" fmla="*/ 0 h 3523032"/>
              <a:gd name="connsiteX0" fmla="*/ 0 w 3701619"/>
              <a:gd name="connsiteY0" fmla="*/ 3144734 h 3165104"/>
              <a:gd name="connsiteX1" fmla="*/ 1382233 w 3701619"/>
              <a:gd name="connsiteY1" fmla="*/ 2921450 h 3165104"/>
              <a:gd name="connsiteX2" fmla="*/ 2459597 w 3701619"/>
              <a:gd name="connsiteY2" fmla="*/ 1682810 h 3165104"/>
              <a:gd name="connsiteX3" fmla="*/ 3701619 w 3701619"/>
              <a:gd name="connsiteY3" fmla="*/ 0 h 3165104"/>
              <a:gd name="connsiteX0" fmla="*/ 0 w 3701619"/>
              <a:gd name="connsiteY0" fmla="*/ 3144734 h 3165104"/>
              <a:gd name="connsiteX1" fmla="*/ 1382233 w 3701619"/>
              <a:gd name="connsiteY1" fmla="*/ 2921450 h 3165104"/>
              <a:gd name="connsiteX2" fmla="*/ 2459597 w 3701619"/>
              <a:gd name="connsiteY2" fmla="*/ 1682810 h 3165104"/>
              <a:gd name="connsiteX3" fmla="*/ 3701619 w 3701619"/>
              <a:gd name="connsiteY3" fmla="*/ 0 h 3165104"/>
              <a:gd name="connsiteX0" fmla="*/ 0 w 3701619"/>
              <a:gd name="connsiteY0" fmla="*/ 3144734 h 3144734"/>
              <a:gd name="connsiteX1" fmla="*/ 1382233 w 3701619"/>
              <a:gd name="connsiteY1" fmla="*/ 2921450 h 3144734"/>
              <a:gd name="connsiteX2" fmla="*/ 2560959 w 3701619"/>
              <a:gd name="connsiteY2" fmla="*/ 1841890 h 3144734"/>
              <a:gd name="connsiteX3" fmla="*/ 3701619 w 3701619"/>
              <a:gd name="connsiteY3" fmla="*/ 0 h 3144734"/>
              <a:gd name="connsiteX0" fmla="*/ 0 w 3742163"/>
              <a:gd name="connsiteY0" fmla="*/ 3085079 h 3085079"/>
              <a:gd name="connsiteX1" fmla="*/ 1382233 w 3742163"/>
              <a:gd name="connsiteY1" fmla="*/ 2861795 h 3085079"/>
              <a:gd name="connsiteX2" fmla="*/ 2560959 w 3742163"/>
              <a:gd name="connsiteY2" fmla="*/ 1782235 h 3085079"/>
              <a:gd name="connsiteX3" fmla="*/ 3742163 w 3742163"/>
              <a:gd name="connsiteY3" fmla="*/ 0 h 3085079"/>
              <a:gd name="connsiteX0" fmla="*/ 0 w 3955022"/>
              <a:gd name="connsiteY0" fmla="*/ 3204388 h 3204388"/>
              <a:gd name="connsiteX1" fmla="*/ 1382233 w 3955022"/>
              <a:gd name="connsiteY1" fmla="*/ 2981104 h 3204388"/>
              <a:gd name="connsiteX2" fmla="*/ 2560959 w 3955022"/>
              <a:gd name="connsiteY2" fmla="*/ 1901544 h 3204388"/>
              <a:gd name="connsiteX3" fmla="*/ 3955022 w 3955022"/>
              <a:gd name="connsiteY3" fmla="*/ 0 h 3204388"/>
              <a:gd name="connsiteX0" fmla="*/ 0 w 3955022"/>
              <a:gd name="connsiteY0" fmla="*/ 3208681 h 3208681"/>
              <a:gd name="connsiteX1" fmla="*/ 1382233 w 3955022"/>
              <a:gd name="connsiteY1" fmla="*/ 2985397 h 3208681"/>
              <a:gd name="connsiteX2" fmla="*/ 2560959 w 3955022"/>
              <a:gd name="connsiteY2" fmla="*/ 1905837 h 3208681"/>
              <a:gd name="connsiteX3" fmla="*/ 3955022 w 3955022"/>
              <a:gd name="connsiteY3" fmla="*/ 4293 h 3208681"/>
              <a:gd name="connsiteX0" fmla="*/ 0 w 3955022"/>
              <a:gd name="connsiteY0" fmla="*/ 3208681 h 3212480"/>
              <a:gd name="connsiteX1" fmla="*/ 1382233 w 3955022"/>
              <a:gd name="connsiteY1" fmla="*/ 2985397 h 3212480"/>
              <a:gd name="connsiteX2" fmla="*/ 2530551 w 3955022"/>
              <a:gd name="connsiteY2" fmla="*/ 1846183 h 3212480"/>
              <a:gd name="connsiteX3" fmla="*/ 3955022 w 3955022"/>
              <a:gd name="connsiteY3" fmla="*/ 4293 h 3212480"/>
              <a:gd name="connsiteX0" fmla="*/ 0 w 3955022"/>
              <a:gd name="connsiteY0" fmla="*/ 3208681 h 3208681"/>
              <a:gd name="connsiteX1" fmla="*/ 1382233 w 3955022"/>
              <a:gd name="connsiteY1" fmla="*/ 2985397 h 3208681"/>
              <a:gd name="connsiteX2" fmla="*/ 2581232 w 3955022"/>
              <a:gd name="connsiteY2" fmla="*/ 1885954 h 3208681"/>
              <a:gd name="connsiteX3" fmla="*/ 3955022 w 3955022"/>
              <a:gd name="connsiteY3" fmla="*/ 4293 h 3208681"/>
              <a:gd name="connsiteX0" fmla="*/ 0 w 3884069"/>
              <a:gd name="connsiteY0" fmla="*/ 3129142 h 3129142"/>
              <a:gd name="connsiteX1" fmla="*/ 1382233 w 3884069"/>
              <a:gd name="connsiteY1" fmla="*/ 2905858 h 3129142"/>
              <a:gd name="connsiteX2" fmla="*/ 2581232 w 3884069"/>
              <a:gd name="connsiteY2" fmla="*/ 1806415 h 3129142"/>
              <a:gd name="connsiteX3" fmla="*/ 3884069 w 3884069"/>
              <a:gd name="connsiteY3" fmla="*/ 4293 h 3129142"/>
              <a:gd name="connsiteX0" fmla="*/ 0 w 3884069"/>
              <a:gd name="connsiteY0" fmla="*/ 3129142 h 3152693"/>
              <a:gd name="connsiteX1" fmla="*/ 726761 w 3884069"/>
              <a:gd name="connsiteY1" fmla="*/ 3115479 h 3152693"/>
              <a:gd name="connsiteX2" fmla="*/ 1382233 w 3884069"/>
              <a:gd name="connsiteY2" fmla="*/ 2905858 h 3152693"/>
              <a:gd name="connsiteX3" fmla="*/ 2581232 w 3884069"/>
              <a:gd name="connsiteY3" fmla="*/ 1806415 h 3152693"/>
              <a:gd name="connsiteX4" fmla="*/ 3884069 w 3884069"/>
              <a:gd name="connsiteY4" fmla="*/ 4293 h 3152693"/>
              <a:gd name="connsiteX0" fmla="*/ 123334 w 3263736"/>
              <a:gd name="connsiteY0" fmla="*/ 3129142 h 3152693"/>
              <a:gd name="connsiteX1" fmla="*/ 106428 w 3263736"/>
              <a:gd name="connsiteY1" fmla="*/ 3115479 h 3152693"/>
              <a:gd name="connsiteX2" fmla="*/ 761900 w 3263736"/>
              <a:gd name="connsiteY2" fmla="*/ 2905858 h 3152693"/>
              <a:gd name="connsiteX3" fmla="*/ 1960899 w 3263736"/>
              <a:gd name="connsiteY3" fmla="*/ 1806415 h 3152693"/>
              <a:gd name="connsiteX4" fmla="*/ 3263736 w 3263736"/>
              <a:gd name="connsiteY4" fmla="*/ 4293 h 3152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3736" h="3152693">
                <a:moveTo>
                  <a:pt x="123334" y="3129142"/>
                </a:moveTo>
                <a:cubicBezTo>
                  <a:pt x="124198" y="3126865"/>
                  <a:pt x="0" y="3152693"/>
                  <a:pt x="106428" y="3115479"/>
                </a:cubicBezTo>
                <a:cubicBezTo>
                  <a:pt x="212856" y="3078265"/>
                  <a:pt x="452822" y="3124035"/>
                  <a:pt x="761900" y="2905858"/>
                </a:cubicBezTo>
                <a:cubicBezTo>
                  <a:pt x="1070978" y="2687681"/>
                  <a:pt x="1543926" y="2290009"/>
                  <a:pt x="1960899" y="1806415"/>
                </a:cubicBezTo>
                <a:cubicBezTo>
                  <a:pt x="2377872" y="1322821"/>
                  <a:pt x="2920805" y="0"/>
                  <a:pt x="3263736" y="4293"/>
                </a:cubicBezTo>
              </a:path>
            </a:pathLst>
          </a:custGeom>
          <a:ln w="2857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Freeform 91"/>
          <p:cNvSpPr/>
          <p:nvPr>
            <p:custDataLst>
              <p:tags r:id="rId17"/>
            </p:custDataLst>
          </p:nvPr>
        </p:nvSpPr>
        <p:spPr>
          <a:xfrm>
            <a:off x="4750762" y="3306761"/>
            <a:ext cx="3763847" cy="1944651"/>
          </a:xfrm>
          <a:custGeom>
            <a:avLst/>
            <a:gdLst>
              <a:gd name="connsiteX0" fmla="*/ 0 w 3732028"/>
              <a:gd name="connsiteY0" fmla="*/ 3880883 h 3895060"/>
              <a:gd name="connsiteX1" fmla="*/ 1318437 w 3732028"/>
              <a:gd name="connsiteY1" fmla="*/ 3827721 h 3895060"/>
              <a:gd name="connsiteX2" fmla="*/ 2743200 w 3732028"/>
              <a:gd name="connsiteY2" fmla="*/ 3476846 h 3895060"/>
              <a:gd name="connsiteX3" fmla="*/ 3466214 w 3732028"/>
              <a:gd name="connsiteY3" fmla="*/ 1807535 h 3895060"/>
              <a:gd name="connsiteX4" fmla="*/ 3732028 w 3732028"/>
              <a:gd name="connsiteY4" fmla="*/ 0 h 3895060"/>
              <a:gd name="connsiteX0" fmla="*/ 0 w 3732028"/>
              <a:gd name="connsiteY0" fmla="*/ 3880883 h 3933814"/>
              <a:gd name="connsiteX1" fmla="*/ 1318437 w 3732028"/>
              <a:gd name="connsiteY1" fmla="*/ 3827721 h 3933814"/>
              <a:gd name="connsiteX2" fmla="*/ 2732824 w 3732028"/>
              <a:gd name="connsiteY2" fmla="*/ 3244316 h 3933814"/>
              <a:gd name="connsiteX3" fmla="*/ 3466214 w 3732028"/>
              <a:gd name="connsiteY3" fmla="*/ 1807535 h 3933814"/>
              <a:gd name="connsiteX4" fmla="*/ 3732028 w 3732028"/>
              <a:gd name="connsiteY4" fmla="*/ 0 h 3933814"/>
              <a:gd name="connsiteX0" fmla="*/ 0 w 3835782"/>
              <a:gd name="connsiteY0" fmla="*/ 3732910 h 3785842"/>
              <a:gd name="connsiteX1" fmla="*/ 1318437 w 3835782"/>
              <a:gd name="connsiteY1" fmla="*/ 3679748 h 3785842"/>
              <a:gd name="connsiteX2" fmla="*/ 2732824 w 3835782"/>
              <a:gd name="connsiteY2" fmla="*/ 3096343 h 3785842"/>
              <a:gd name="connsiteX3" fmla="*/ 3466214 w 3835782"/>
              <a:gd name="connsiteY3" fmla="*/ 1659562 h 3785842"/>
              <a:gd name="connsiteX4" fmla="*/ 3835782 w 3835782"/>
              <a:gd name="connsiteY4" fmla="*/ 0 h 3785842"/>
              <a:gd name="connsiteX0" fmla="*/ 0 w 3835782"/>
              <a:gd name="connsiteY0" fmla="*/ 3732910 h 3821074"/>
              <a:gd name="connsiteX1" fmla="*/ 1318437 w 3835782"/>
              <a:gd name="connsiteY1" fmla="*/ 3679748 h 3821074"/>
              <a:gd name="connsiteX2" fmla="*/ 2649821 w 3835782"/>
              <a:gd name="connsiteY2" fmla="*/ 2884951 h 3821074"/>
              <a:gd name="connsiteX3" fmla="*/ 3466214 w 3835782"/>
              <a:gd name="connsiteY3" fmla="*/ 1659562 h 3821074"/>
              <a:gd name="connsiteX4" fmla="*/ 3835782 w 3835782"/>
              <a:gd name="connsiteY4" fmla="*/ 0 h 3821074"/>
              <a:gd name="connsiteX0" fmla="*/ 0 w 3794281"/>
              <a:gd name="connsiteY0" fmla="*/ 3373544 h 3461708"/>
              <a:gd name="connsiteX1" fmla="*/ 1318437 w 3794281"/>
              <a:gd name="connsiteY1" fmla="*/ 3320382 h 3461708"/>
              <a:gd name="connsiteX2" fmla="*/ 2649821 w 3794281"/>
              <a:gd name="connsiteY2" fmla="*/ 2525585 h 3461708"/>
              <a:gd name="connsiteX3" fmla="*/ 3466214 w 3794281"/>
              <a:gd name="connsiteY3" fmla="*/ 1300196 h 3461708"/>
              <a:gd name="connsiteX4" fmla="*/ 3794281 w 3794281"/>
              <a:gd name="connsiteY4" fmla="*/ 0 h 3461708"/>
              <a:gd name="connsiteX0" fmla="*/ 0 w 3794281"/>
              <a:gd name="connsiteY0" fmla="*/ 3373544 h 3461708"/>
              <a:gd name="connsiteX1" fmla="*/ 1318437 w 3794281"/>
              <a:gd name="connsiteY1" fmla="*/ 3320382 h 3461708"/>
              <a:gd name="connsiteX2" fmla="*/ 2649821 w 3794281"/>
              <a:gd name="connsiteY2" fmla="*/ 2525585 h 3461708"/>
              <a:gd name="connsiteX3" fmla="*/ 3466214 w 3794281"/>
              <a:gd name="connsiteY3" fmla="*/ 1300196 h 3461708"/>
              <a:gd name="connsiteX4" fmla="*/ 3794281 w 3794281"/>
              <a:gd name="connsiteY4" fmla="*/ 0 h 3461708"/>
              <a:gd name="connsiteX0" fmla="*/ 0 w 3794281"/>
              <a:gd name="connsiteY0" fmla="*/ 3373544 h 3461708"/>
              <a:gd name="connsiteX1" fmla="*/ 1318437 w 3794281"/>
              <a:gd name="connsiteY1" fmla="*/ 3320382 h 3461708"/>
              <a:gd name="connsiteX2" fmla="*/ 2649821 w 3794281"/>
              <a:gd name="connsiteY2" fmla="*/ 2525585 h 3461708"/>
              <a:gd name="connsiteX3" fmla="*/ 3393586 w 3794281"/>
              <a:gd name="connsiteY3" fmla="*/ 1215641 h 3461708"/>
              <a:gd name="connsiteX4" fmla="*/ 3794281 w 3794281"/>
              <a:gd name="connsiteY4" fmla="*/ 0 h 3461708"/>
              <a:gd name="connsiteX0" fmla="*/ 0 w 3794281"/>
              <a:gd name="connsiteY0" fmla="*/ 3373544 h 3461653"/>
              <a:gd name="connsiteX1" fmla="*/ 621249 w 3794281"/>
              <a:gd name="connsiteY1" fmla="*/ 3373209 h 3461653"/>
              <a:gd name="connsiteX2" fmla="*/ 1318437 w 3794281"/>
              <a:gd name="connsiteY2" fmla="*/ 3320382 h 3461653"/>
              <a:gd name="connsiteX3" fmla="*/ 2649821 w 3794281"/>
              <a:gd name="connsiteY3" fmla="*/ 2525585 h 3461653"/>
              <a:gd name="connsiteX4" fmla="*/ 3393586 w 3794281"/>
              <a:gd name="connsiteY4" fmla="*/ 1215641 h 3461653"/>
              <a:gd name="connsiteX5" fmla="*/ 3794281 w 3794281"/>
              <a:gd name="connsiteY5" fmla="*/ 0 h 3461653"/>
              <a:gd name="connsiteX0" fmla="*/ 120030 w 3288463"/>
              <a:gd name="connsiteY0" fmla="*/ 3373544 h 3461653"/>
              <a:gd name="connsiteX1" fmla="*/ 115431 w 3288463"/>
              <a:gd name="connsiteY1" fmla="*/ 3373209 h 3461653"/>
              <a:gd name="connsiteX2" fmla="*/ 812619 w 3288463"/>
              <a:gd name="connsiteY2" fmla="*/ 3320382 h 3461653"/>
              <a:gd name="connsiteX3" fmla="*/ 2144003 w 3288463"/>
              <a:gd name="connsiteY3" fmla="*/ 2525585 h 3461653"/>
              <a:gd name="connsiteX4" fmla="*/ 2887768 w 3288463"/>
              <a:gd name="connsiteY4" fmla="*/ 1215641 h 3461653"/>
              <a:gd name="connsiteX5" fmla="*/ 3288463 w 3288463"/>
              <a:gd name="connsiteY5" fmla="*/ 0 h 3461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88463" h="3461653">
                <a:moveTo>
                  <a:pt x="120030" y="3373544"/>
                </a:moveTo>
                <a:cubicBezTo>
                  <a:pt x="120520" y="3373488"/>
                  <a:pt x="0" y="3382069"/>
                  <a:pt x="115431" y="3373209"/>
                </a:cubicBezTo>
                <a:cubicBezTo>
                  <a:pt x="230863" y="3364349"/>
                  <a:pt x="474524" y="3461653"/>
                  <a:pt x="812619" y="3320382"/>
                </a:cubicBezTo>
                <a:cubicBezTo>
                  <a:pt x="1150714" y="3179111"/>
                  <a:pt x="1798145" y="2876375"/>
                  <a:pt x="2144003" y="2525585"/>
                </a:cubicBezTo>
                <a:cubicBezTo>
                  <a:pt x="2489861" y="2174795"/>
                  <a:pt x="2697025" y="1636572"/>
                  <a:pt x="2887768" y="1215641"/>
                </a:cubicBezTo>
                <a:cubicBezTo>
                  <a:pt x="3078511" y="794710"/>
                  <a:pt x="3154955" y="592891"/>
                  <a:pt x="3288463" y="0"/>
                </a:cubicBezTo>
              </a:path>
            </a:pathLst>
          </a:custGeom>
          <a:ln w="28575" cap="rnd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Freeform 92"/>
          <p:cNvSpPr/>
          <p:nvPr>
            <p:custDataLst>
              <p:tags r:id="rId18"/>
            </p:custDataLst>
          </p:nvPr>
        </p:nvSpPr>
        <p:spPr>
          <a:xfrm>
            <a:off x="4989319" y="3303588"/>
            <a:ext cx="3549039" cy="1932378"/>
          </a:xfrm>
          <a:custGeom>
            <a:avLst/>
            <a:gdLst>
              <a:gd name="connsiteX0" fmla="*/ 0 w 4231758"/>
              <a:gd name="connsiteY0" fmla="*/ 3211033 h 3253563"/>
              <a:gd name="connsiteX1" fmla="*/ 925032 w 4231758"/>
              <a:gd name="connsiteY1" fmla="*/ 3125972 h 3253563"/>
              <a:gd name="connsiteX2" fmla="*/ 1743739 w 4231758"/>
              <a:gd name="connsiteY2" fmla="*/ 2445488 h 3253563"/>
              <a:gd name="connsiteX3" fmla="*/ 2381693 w 4231758"/>
              <a:gd name="connsiteY3" fmla="*/ 1201479 h 3253563"/>
              <a:gd name="connsiteX4" fmla="*/ 3466214 w 4231758"/>
              <a:gd name="connsiteY4" fmla="*/ 287079 h 3253563"/>
              <a:gd name="connsiteX5" fmla="*/ 4231758 w 4231758"/>
              <a:gd name="connsiteY5" fmla="*/ 0 h 3253563"/>
              <a:gd name="connsiteX0" fmla="*/ 0 w 4231758"/>
              <a:gd name="connsiteY0" fmla="*/ 3211033 h 3253563"/>
              <a:gd name="connsiteX1" fmla="*/ 925032 w 4231758"/>
              <a:gd name="connsiteY1" fmla="*/ 3125972 h 3253563"/>
              <a:gd name="connsiteX2" fmla="*/ 1743739 w 4231758"/>
              <a:gd name="connsiteY2" fmla="*/ 2445488 h 3253563"/>
              <a:gd name="connsiteX3" fmla="*/ 2381693 w 4231758"/>
              <a:gd name="connsiteY3" fmla="*/ 1201479 h 3253563"/>
              <a:gd name="connsiteX4" fmla="*/ 3537048 w 4231758"/>
              <a:gd name="connsiteY4" fmla="*/ 428626 h 3253563"/>
              <a:gd name="connsiteX5" fmla="*/ 4231758 w 4231758"/>
              <a:gd name="connsiteY5" fmla="*/ 0 h 3253563"/>
              <a:gd name="connsiteX0" fmla="*/ 0 w 4231758"/>
              <a:gd name="connsiteY0" fmla="*/ 3352580 h 3395110"/>
              <a:gd name="connsiteX1" fmla="*/ 925032 w 4231758"/>
              <a:gd name="connsiteY1" fmla="*/ 3267519 h 3395110"/>
              <a:gd name="connsiteX2" fmla="*/ 1743739 w 4231758"/>
              <a:gd name="connsiteY2" fmla="*/ 2587035 h 3395110"/>
              <a:gd name="connsiteX3" fmla="*/ 2381693 w 4231758"/>
              <a:gd name="connsiteY3" fmla="*/ 1343026 h 3395110"/>
              <a:gd name="connsiteX4" fmla="*/ 3537048 w 4231758"/>
              <a:gd name="connsiteY4" fmla="*/ 570173 h 3395110"/>
              <a:gd name="connsiteX5" fmla="*/ 4231758 w 4231758"/>
              <a:gd name="connsiteY5" fmla="*/ 0 h 3395110"/>
              <a:gd name="connsiteX0" fmla="*/ 0 w 4208146"/>
              <a:gd name="connsiteY0" fmla="*/ 3271696 h 3314226"/>
              <a:gd name="connsiteX1" fmla="*/ 925032 w 4208146"/>
              <a:gd name="connsiteY1" fmla="*/ 3186635 h 3314226"/>
              <a:gd name="connsiteX2" fmla="*/ 1743739 w 4208146"/>
              <a:gd name="connsiteY2" fmla="*/ 2506151 h 3314226"/>
              <a:gd name="connsiteX3" fmla="*/ 2381693 w 4208146"/>
              <a:gd name="connsiteY3" fmla="*/ 1262142 h 3314226"/>
              <a:gd name="connsiteX4" fmla="*/ 3537048 w 4208146"/>
              <a:gd name="connsiteY4" fmla="*/ 489289 h 3314226"/>
              <a:gd name="connsiteX5" fmla="*/ 4208146 w 4208146"/>
              <a:gd name="connsiteY5" fmla="*/ 0 h 3314226"/>
              <a:gd name="connsiteX0" fmla="*/ 0 w 4208146"/>
              <a:gd name="connsiteY0" fmla="*/ 3433465 h 3475995"/>
              <a:gd name="connsiteX1" fmla="*/ 925032 w 4208146"/>
              <a:gd name="connsiteY1" fmla="*/ 3348404 h 3475995"/>
              <a:gd name="connsiteX2" fmla="*/ 1743739 w 4208146"/>
              <a:gd name="connsiteY2" fmla="*/ 2667920 h 3475995"/>
              <a:gd name="connsiteX3" fmla="*/ 2381693 w 4208146"/>
              <a:gd name="connsiteY3" fmla="*/ 1423911 h 3475995"/>
              <a:gd name="connsiteX4" fmla="*/ 3537048 w 4208146"/>
              <a:gd name="connsiteY4" fmla="*/ 651058 h 3475995"/>
              <a:gd name="connsiteX5" fmla="*/ 4208146 w 4208146"/>
              <a:gd name="connsiteY5" fmla="*/ 0 h 3475995"/>
              <a:gd name="connsiteX0" fmla="*/ 0 w 4208146"/>
              <a:gd name="connsiteY0" fmla="*/ 3433465 h 3475995"/>
              <a:gd name="connsiteX1" fmla="*/ 925032 w 4208146"/>
              <a:gd name="connsiteY1" fmla="*/ 3348404 h 3475995"/>
              <a:gd name="connsiteX2" fmla="*/ 1743739 w 4208146"/>
              <a:gd name="connsiteY2" fmla="*/ 2667920 h 3475995"/>
              <a:gd name="connsiteX3" fmla="*/ 2381693 w 4208146"/>
              <a:gd name="connsiteY3" fmla="*/ 1423911 h 3475995"/>
              <a:gd name="connsiteX4" fmla="*/ 3537048 w 4208146"/>
              <a:gd name="connsiteY4" fmla="*/ 651058 h 3475995"/>
              <a:gd name="connsiteX5" fmla="*/ 4208146 w 4208146"/>
              <a:gd name="connsiteY5" fmla="*/ 0 h 3475995"/>
              <a:gd name="connsiteX0" fmla="*/ 0 w 4231758"/>
              <a:gd name="connsiteY0" fmla="*/ 3433465 h 3475995"/>
              <a:gd name="connsiteX1" fmla="*/ 925032 w 4231758"/>
              <a:gd name="connsiteY1" fmla="*/ 3348404 h 3475995"/>
              <a:gd name="connsiteX2" fmla="*/ 1743739 w 4231758"/>
              <a:gd name="connsiteY2" fmla="*/ 2667920 h 3475995"/>
              <a:gd name="connsiteX3" fmla="*/ 2381693 w 4231758"/>
              <a:gd name="connsiteY3" fmla="*/ 1423911 h 3475995"/>
              <a:gd name="connsiteX4" fmla="*/ 3537048 w 4231758"/>
              <a:gd name="connsiteY4" fmla="*/ 651058 h 3475995"/>
              <a:gd name="connsiteX5" fmla="*/ 4231758 w 4231758"/>
              <a:gd name="connsiteY5" fmla="*/ 0 h 3475995"/>
              <a:gd name="connsiteX0" fmla="*/ 0 w 4231758"/>
              <a:gd name="connsiteY0" fmla="*/ 3433465 h 3472196"/>
              <a:gd name="connsiteX1" fmla="*/ 786396 w 4231758"/>
              <a:gd name="connsiteY1" fmla="*/ 3410679 h 3472196"/>
              <a:gd name="connsiteX2" fmla="*/ 925032 w 4231758"/>
              <a:gd name="connsiteY2" fmla="*/ 3348404 h 3472196"/>
              <a:gd name="connsiteX3" fmla="*/ 1743739 w 4231758"/>
              <a:gd name="connsiteY3" fmla="*/ 2667920 h 3472196"/>
              <a:gd name="connsiteX4" fmla="*/ 2381693 w 4231758"/>
              <a:gd name="connsiteY4" fmla="*/ 1423911 h 3472196"/>
              <a:gd name="connsiteX5" fmla="*/ 3537048 w 4231758"/>
              <a:gd name="connsiteY5" fmla="*/ 651058 h 3472196"/>
              <a:gd name="connsiteX6" fmla="*/ 4231758 w 4231758"/>
              <a:gd name="connsiteY6" fmla="*/ 0 h 3472196"/>
              <a:gd name="connsiteX0" fmla="*/ 0 w 3528215"/>
              <a:gd name="connsiteY0" fmla="*/ 3433465 h 3472198"/>
              <a:gd name="connsiteX1" fmla="*/ 82853 w 3528215"/>
              <a:gd name="connsiteY1" fmla="*/ 3410679 h 3472198"/>
              <a:gd name="connsiteX2" fmla="*/ 221489 w 3528215"/>
              <a:gd name="connsiteY2" fmla="*/ 3348404 h 3472198"/>
              <a:gd name="connsiteX3" fmla="*/ 1040196 w 3528215"/>
              <a:gd name="connsiteY3" fmla="*/ 2667920 h 3472198"/>
              <a:gd name="connsiteX4" fmla="*/ 1678150 w 3528215"/>
              <a:gd name="connsiteY4" fmla="*/ 1423911 h 3472198"/>
              <a:gd name="connsiteX5" fmla="*/ 2833505 w 3528215"/>
              <a:gd name="connsiteY5" fmla="*/ 651058 h 3472198"/>
              <a:gd name="connsiteX6" fmla="*/ 3528215 w 3528215"/>
              <a:gd name="connsiteY6" fmla="*/ 0 h 3472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28215" h="3472198">
                <a:moveTo>
                  <a:pt x="0" y="3433465"/>
                </a:moveTo>
                <a:cubicBezTo>
                  <a:pt x="2374" y="3429667"/>
                  <a:pt x="45938" y="3424856"/>
                  <a:pt x="82853" y="3410679"/>
                </a:cubicBezTo>
                <a:cubicBezTo>
                  <a:pt x="119768" y="3396502"/>
                  <a:pt x="61932" y="3472197"/>
                  <a:pt x="221489" y="3348404"/>
                </a:cubicBezTo>
                <a:cubicBezTo>
                  <a:pt x="381046" y="3224611"/>
                  <a:pt x="797419" y="2988669"/>
                  <a:pt x="1040196" y="2667920"/>
                </a:cubicBezTo>
                <a:cubicBezTo>
                  <a:pt x="1282973" y="2347171"/>
                  <a:pt x="1379265" y="1760055"/>
                  <a:pt x="1678150" y="1423911"/>
                </a:cubicBezTo>
                <a:cubicBezTo>
                  <a:pt x="1977035" y="1087767"/>
                  <a:pt x="2525161" y="888376"/>
                  <a:pt x="2833505" y="651058"/>
                </a:cubicBezTo>
                <a:cubicBezTo>
                  <a:pt x="3141849" y="413740"/>
                  <a:pt x="3370449" y="225405"/>
                  <a:pt x="3528215" y="0"/>
                </a:cubicBezTo>
              </a:path>
            </a:pathLst>
          </a:custGeom>
          <a:ln w="28575" cap="rnd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3"/>
          <p:cNvGrpSpPr/>
          <p:nvPr>
            <p:custDataLst>
              <p:tags r:id="rId19"/>
            </p:custDataLst>
          </p:nvPr>
        </p:nvGrpSpPr>
        <p:grpSpPr>
          <a:xfrm>
            <a:off x="283919" y="3866511"/>
            <a:ext cx="2977717" cy="570101"/>
            <a:chOff x="236418" y="2097088"/>
            <a:chExt cx="2977717" cy="570101"/>
          </a:xfrm>
        </p:grpSpPr>
        <p:grpSp>
          <p:nvGrpSpPr>
            <p:cNvPr id="6" name="Group 151"/>
            <p:cNvGrpSpPr/>
            <p:nvPr>
              <p:custDataLst>
                <p:tags r:id="rId42"/>
              </p:custDataLst>
            </p:nvPr>
          </p:nvGrpSpPr>
          <p:grpSpPr>
            <a:xfrm>
              <a:off x="236418" y="2097088"/>
              <a:ext cx="2977717" cy="570101"/>
              <a:chOff x="236418" y="4038411"/>
              <a:chExt cx="2977717" cy="570101"/>
            </a:xfrm>
          </p:grpSpPr>
          <p:sp>
            <p:nvSpPr>
              <p:cNvPr id="109" name="Rectangle 108"/>
              <p:cNvSpPr/>
              <p:nvPr>
                <p:custDataLst>
                  <p:tags r:id="rId44"/>
                </p:custDataLst>
              </p:nvPr>
            </p:nvSpPr>
            <p:spPr>
              <a:xfrm>
                <a:off x="893365" y="4038411"/>
                <a:ext cx="2320770" cy="57010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cap="rnd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chemeClr val="bg2"/>
                  </a:buClr>
                </a:pPr>
                <a:r>
                  <a:rPr lang="en-US" sz="1400" b="1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Control units </a:t>
                </a:r>
                <a:r>
                  <a:rPr lang="en-US" sz="14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(Throttle &amp; break control, …)</a:t>
                </a:r>
              </a:p>
            </p:txBody>
          </p:sp>
          <p:sp>
            <p:nvSpPr>
              <p:cNvPr id="110" name="Rectangle 109"/>
              <p:cNvSpPr/>
              <p:nvPr>
                <p:custDataLst>
                  <p:tags r:id="rId45"/>
                </p:custDataLst>
              </p:nvPr>
            </p:nvSpPr>
            <p:spPr>
              <a:xfrm>
                <a:off x="236418" y="4038411"/>
                <a:ext cx="656947" cy="570101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chemeClr val="bg2"/>
                  </a:buClr>
                </a:pPr>
                <a:endParaRPr lang="en-US" sz="14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17" name="Picture 6" descr="auto steuergeräte"/>
            <p:cNvPicPr>
              <a:picLocks noChangeAspect="1" noChangeArrowheads="1"/>
            </p:cNvPicPr>
            <p:nvPr>
              <p:custDataLst>
                <p:tags r:id="rId43"/>
              </p:custDataLst>
            </p:nvPr>
          </p:nvPicPr>
          <p:blipFill>
            <a:blip r:embed="rId49" cstate="print"/>
            <a:srcRect t="13453"/>
            <a:stretch>
              <a:fillRect/>
            </a:stretch>
          </p:blipFill>
          <p:spPr bwMode="auto">
            <a:xfrm>
              <a:off x="249989" y="2121763"/>
              <a:ext cx="634175" cy="516849"/>
            </a:xfrm>
            <a:prstGeom prst="rect">
              <a:avLst/>
            </a:prstGeom>
            <a:noFill/>
          </p:spPr>
        </p:pic>
      </p:grpSp>
      <p:grpSp>
        <p:nvGrpSpPr>
          <p:cNvPr id="7" name="Group 42"/>
          <p:cNvGrpSpPr/>
          <p:nvPr>
            <p:custDataLst>
              <p:tags r:id="rId20"/>
            </p:custDataLst>
          </p:nvPr>
        </p:nvGrpSpPr>
        <p:grpSpPr>
          <a:xfrm>
            <a:off x="989152" y="4670762"/>
            <a:ext cx="2979456" cy="570278"/>
            <a:chOff x="1238532" y="2924944"/>
            <a:chExt cx="2979456" cy="570278"/>
          </a:xfrm>
        </p:grpSpPr>
        <p:grpSp>
          <p:nvGrpSpPr>
            <p:cNvPr id="8" name="Group 154"/>
            <p:cNvGrpSpPr/>
            <p:nvPr>
              <p:custDataLst>
                <p:tags r:id="rId38"/>
              </p:custDataLst>
            </p:nvPr>
          </p:nvGrpSpPr>
          <p:grpSpPr>
            <a:xfrm>
              <a:off x="1238532" y="2925121"/>
              <a:ext cx="2979456" cy="570101"/>
              <a:chOff x="893365" y="4038411"/>
              <a:chExt cx="2979456" cy="570101"/>
            </a:xfrm>
          </p:grpSpPr>
          <p:sp>
            <p:nvSpPr>
              <p:cNvPr id="112" name="Rectangle 111"/>
              <p:cNvSpPr/>
              <p:nvPr>
                <p:custDataLst>
                  <p:tags r:id="rId40"/>
                </p:custDataLst>
              </p:nvPr>
            </p:nvSpPr>
            <p:spPr>
              <a:xfrm>
                <a:off x="893365" y="4038411"/>
                <a:ext cx="2320770" cy="57010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cap="rnd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chemeClr val="bg2"/>
                  </a:buClr>
                </a:pPr>
                <a:r>
                  <a:rPr lang="en-US" sz="1400" b="1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Drive assistance systems </a:t>
                </a:r>
                <a:r>
                  <a:rPr lang="en-US" sz="14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(Lane assist, ACC, …)</a:t>
                </a:r>
              </a:p>
            </p:txBody>
          </p:sp>
          <p:sp>
            <p:nvSpPr>
              <p:cNvPr id="113" name="Rectangle 112"/>
              <p:cNvSpPr/>
              <p:nvPr>
                <p:custDataLst>
                  <p:tags r:id="rId41"/>
                </p:custDataLst>
              </p:nvPr>
            </p:nvSpPr>
            <p:spPr>
              <a:xfrm>
                <a:off x="3215874" y="4038411"/>
                <a:ext cx="656947" cy="570101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chemeClr val="bg2"/>
                  </a:buClr>
                </a:pPr>
                <a:endParaRPr lang="en-US" sz="14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18" name="Picture 8" descr="http://www.motorsportscenter.com/uploads/drive__l.jpg"/>
            <p:cNvPicPr>
              <a:picLocks noChangeAspect="1" noChangeArrowheads="1"/>
            </p:cNvPicPr>
            <p:nvPr>
              <p:custDataLst>
                <p:tags r:id="rId39"/>
              </p:custDataLst>
            </p:nvPr>
          </p:nvPicPr>
          <p:blipFill>
            <a:blip r:embed="rId50" cstate="print"/>
            <a:srcRect l="2999" r="2647"/>
            <a:stretch>
              <a:fillRect/>
            </a:stretch>
          </p:blipFill>
          <p:spPr bwMode="auto">
            <a:xfrm>
              <a:off x="3550531" y="2924944"/>
              <a:ext cx="667457" cy="570101"/>
            </a:xfrm>
            <a:prstGeom prst="rect">
              <a:avLst/>
            </a:prstGeom>
            <a:noFill/>
          </p:spPr>
        </p:pic>
      </p:grpSp>
      <p:grpSp>
        <p:nvGrpSpPr>
          <p:cNvPr id="9" name="Group 41"/>
          <p:cNvGrpSpPr/>
          <p:nvPr>
            <p:custDataLst>
              <p:tags r:id="rId21"/>
            </p:custDataLst>
          </p:nvPr>
        </p:nvGrpSpPr>
        <p:grpSpPr>
          <a:xfrm>
            <a:off x="1001030" y="3084980"/>
            <a:ext cx="2979456" cy="583105"/>
            <a:chOff x="1238532" y="4581187"/>
            <a:chExt cx="2979456" cy="583105"/>
          </a:xfrm>
        </p:grpSpPr>
        <p:grpSp>
          <p:nvGrpSpPr>
            <p:cNvPr id="10" name="Group 158"/>
            <p:cNvGrpSpPr/>
            <p:nvPr>
              <p:custDataLst>
                <p:tags r:id="rId34"/>
              </p:custDataLst>
            </p:nvPr>
          </p:nvGrpSpPr>
          <p:grpSpPr>
            <a:xfrm>
              <a:off x="1238532" y="4581187"/>
              <a:ext cx="2979456" cy="570101"/>
              <a:chOff x="893365" y="4038411"/>
              <a:chExt cx="2979456" cy="570101"/>
            </a:xfrm>
          </p:grpSpPr>
          <p:sp>
            <p:nvSpPr>
              <p:cNvPr id="115" name="Rectangle 114"/>
              <p:cNvSpPr/>
              <p:nvPr>
                <p:custDataLst>
                  <p:tags r:id="rId36"/>
                </p:custDataLst>
              </p:nvPr>
            </p:nvSpPr>
            <p:spPr>
              <a:xfrm>
                <a:off x="893365" y="4038411"/>
                <a:ext cx="2320770" cy="57010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cap="rnd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chemeClr val="bg2"/>
                  </a:buClr>
                </a:pPr>
                <a:r>
                  <a:rPr lang="en-US" sz="1400" b="1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Car Multimedia </a:t>
                </a:r>
                <a:r>
                  <a:rPr lang="en-US" sz="14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(Navigation system, …)</a:t>
                </a:r>
              </a:p>
            </p:txBody>
          </p:sp>
          <p:sp>
            <p:nvSpPr>
              <p:cNvPr id="116" name="Rectangle 115"/>
              <p:cNvSpPr/>
              <p:nvPr>
                <p:custDataLst>
                  <p:tags r:id="rId37"/>
                </p:custDataLst>
              </p:nvPr>
            </p:nvSpPr>
            <p:spPr>
              <a:xfrm>
                <a:off x="3215874" y="4038411"/>
                <a:ext cx="656947" cy="570101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chemeClr val="bg2"/>
                  </a:buClr>
                </a:pPr>
                <a:endParaRPr lang="en-US" sz="14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19" name="Picture 10" descr="StreetPilot III portable navigation system for Mercedes-Benz A-Class and B-Class"/>
            <p:cNvPicPr>
              <a:picLocks noChangeAspect="1" noChangeArrowheads="1"/>
            </p:cNvPicPr>
            <p:nvPr>
              <p:custDataLst>
                <p:tags r:id="rId35"/>
              </p:custDataLst>
            </p:nvPr>
          </p:nvPicPr>
          <p:blipFill>
            <a:blip r:embed="rId51" cstate="print"/>
            <a:srcRect/>
            <a:stretch>
              <a:fillRect/>
            </a:stretch>
          </p:blipFill>
          <p:spPr bwMode="auto">
            <a:xfrm>
              <a:off x="3561041" y="4594191"/>
              <a:ext cx="656947" cy="570101"/>
            </a:xfrm>
            <a:prstGeom prst="rect">
              <a:avLst/>
            </a:prstGeom>
            <a:noFill/>
          </p:spPr>
        </p:pic>
      </p:grpSp>
      <p:sp>
        <p:nvSpPr>
          <p:cNvPr id="121" name="Text Box 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44475" y="1614488"/>
            <a:ext cx="7064375" cy="2492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90000"/>
              </a:lnSpc>
              <a:buClr>
                <a:srgbClr val="7D0900"/>
              </a:buClr>
            </a:pPr>
            <a:r>
              <a:rPr lang="en-US" b="1" dirty="0" smtClean="0">
                <a:solidFill>
                  <a:srgbClr val="000000"/>
                </a:solidFill>
              </a:rPr>
              <a:t>Embedded systems development in Automotive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22" name="Rectangle 121"/>
          <p:cNvSpPr/>
          <p:nvPr>
            <p:custDataLst>
              <p:tags r:id="rId23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" name="Group 40"/>
          <p:cNvGrpSpPr/>
          <p:nvPr>
            <p:custDataLst>
              <p:tags r:id="rId24"/>
            </p:custDataLst>
          </p:nvPr>
        </p:nvGrpSpPr>
        <p:grpSpPr>
          <a:xfrm>
            <a:off x="321511" y="2263446"/>
            <a:ext cx="2977718" cy="570101"/>
            <a:chOff x="262134" y="5409220"/>
            <a:chExt cx="2977718" cy="570101"/>
          </a:xfrm>
        </p:grpSpPr>
        <p:grpSp>
          <p:nvGrpSpPr>
            <p:cNvPr id="12" name="Group 150"/>
            <p:cNvGrpSpPr/>
            <p:nvPr>
              <p:custDataLst>
                <p:tags r:id="rId31"/>
              </p:custDataLst>
            </p:nvPr>
          </p:nvGrpSpPr>
          <p:grpSpPr>
            <a:xfrm>
              <a:off x="262134" y="5409220"/>
              <a:ext cx="2977718" cy="570101"/>
              <a:chOff x="236417" y="4038411"/>
              <a:chExt cx="2977718" cy="570101"/>
            </a:xfrm>
          </p:grpSpPr>
          <p:sp>
            <p:nvSpPr>
              <p:cNvPr id="106" name="Rectangle 105"/>
              <p:cNvSpPr/>
              <p:nvPr>
                <p:custDataLst>
                  <p:tags r:id="rId32"/>
                </p:custDataLst>
              </p:nvPr>
            </p:nvSpPr>
            <p:spPr>
              <a:xfrm>
                <a:off x="893365" y="4038411"/>
                <a:ext cx="2320770" cy="57010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 cap="rnd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chemeClr val="bg2"/>
                  </a:buClr>
                </a:pPr>
                <a:r>
                  <a:rPr lang="de-DE" sz="1400" b="1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Efficiency </a:t>
                </a:r>
                <a:r>
                  <a:rPr lang="de-DE" sz="1400" b="1" dirty="0" err="1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control</a:t>
                </a:r>
                <a:r>
                  <a:rPr lang="de-DE" sz="1400" b="1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de-DE" sz="1400" b="1" dirty="0" err="1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systems</a:t>
                </a:r>
                <a:endParaRPr lang="en-US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7" name="Rectangle 106"/>
              <p:cNvSpPr/>
              <p:nvPr>
                <p:custDataLst>
                  <p:tags r:id="rId33"/>
                </p:custDataLst>
              </p:nvPr>
            </p:nvSpPr>
            <p:spPr>
              <a:xfrm>
                <a:off x="236417" y="4038411"/>
                <a:ext cx="656947" cy="570101"/>
              </a:xfrm>
              <a:prstGeom prst="rect">
                <a:avLst/>
              </a:prstGeom>
              <a:solidFill>
                <a:schemeClr val="bg1"/>
              </a:solidFill>
              <a:ln w="12700" cap="rnd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buClr>
                    <a:schemeClr val="bg2"/>
                  </a:buClr>
                </a:pPr>
                <a:endParaRPr lang="en-US" sz="1400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310276" name="Picture 4"/>
            <p:cNvPicPr>
              <a:picLocks noChangeAspect="1" noChangeArrowheads="1"/>
            </p:cNvPicPr>
            <p:nvPr/>
          </p:nvPicPr>
          <p:blipFill>
            <a:blip r:embed="rId52" cstate="print"/>
            <a:srcRect/>
            <a:stretch>
              <a:fillRect/>
            </a:stretch>
          </p:blipFill>
          <p:spPr bwMode="auto">
            <a:xfrm>
              <a:off x="331143" y="5438877"/>
              <a:ext cx="532445" cy="497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40" name="Picture 4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7151701" y="3376612"/>
            <a:ext cx="662259" cy="43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277" name="Picture 5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54" cstate="print"/>
          <a:srcRect/>
          <a:stretch>
            <a:fillRect/>
          </a:stretch>
        </p:blipFill>
        <p:spPr bwMode="auto">
          <a:xfrm>
            <a:off x="6743290" y="2806700"/>
            <a:ext cx="724313" cy="46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279" name="Picture 7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55" cstate="print"/>
          <a:srcRect/>
          <a:stretch>
            <a:fillRect/>
          </a:stretch>
        </p:blipFill>
        <p:spPr bwMode="auto">
          <a:xfrm>
            <a:off x="7888900" y="3713162"/>
            <a:ext cx="710020" cy="460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TextBox 44"/>
          <p:cNvSpPr txBox="1"/>
          <p:nvPr>
            <p:custDataLst>
              <p:tags r:id="rId28"/>
            </p:custDataLst>
          </p:nvPr>
        </p:nvSpPr>
        <p:spPr>
          <a:xfrm>
            <a:off x="248920" y="5755291"/>
            <a:ext cx="8648700" cy="652486"/>
          </a:xfrm>
          <a:prstGeom prst="rect">
            <a:avLst/>
          </a:prstGeom>
          <a:solidFill>
            <a:schemeClr val="bg2"/>
          </a:solidFill>
          <a:ln w="12700" cap="rnd">
            <a:noFill/>
          </a:ln>
        </p:spPr>
        <p:txBody>
          <a:bodyPr vert="horz" wrap="square" lIns="76200" tIns="76200" rIns="76200" bIns="76200" rtlCol="0" anchor="ctr" anchorCtr="1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b="1" dirty="0" smtClean="0">
                <a:solidFill>
                  <a:schemeClr val="bg1"/>
                </a:solidFill>
                <a:cs typeface="Arial"/>
              </a:rPr>
              <a:t>More than 80% of innovation, and therefore of added value, will be obtained thanks to Embedded Electronic Systems </a:t>
            </a:r>
          </a:p>
        </p:txBody>
      </p:sp>
      <p:cxnSp>
        <p:nvCxnSpPr>
          <p:cNvPr id="61" name="Straight Connector 60"/>
          <p:cNvCxnSpPr/>
          <p:nvPr>
            <p:custDataLst>
              <p:tags r:id="rId29"/>
            </p:custDataLst>
          </p:nvPr>
        </p:nvCxnSpPr>
        <p:spPr>
          <a:xfrm>
            <a:off x="4822166" y="4735902"/>
            <a:ext cx="1526876" cy="10214"/>
          </a:xfrm>
          <a:prstGeom prst="line">
            <a:avLst/>
          </a:prstGeom>
          <a:ln w="2857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30"/>
            </p:custDataLst>
          </p:nvPr>
        </p:nvCxnSpPr>
        <p:spPr>
          <a:xfrm rot="5400000">
            <a:off x="6107502" y="4994694"/>
            <a:ext cx="500332" cy="1588"/>
          </a:xfrm>
          <a:prstGeom prst="line">
            <a:avLst/>
          </a:prstGeom>
          <a:ln w="2857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02786" name="think-cell Slide" r:id="rId15" imgW="0" imgH="0" progId="">
              <p:embed/>
            </p:oleObj>
          </a:graphicData>
        </a:graphic>
      </p:graphicFrame>
      <p:sp>
        <p:nvSpPr>
          <p:cNvPr id="23" name="Up Arrow 22"/>
          <p:cNvSpPr/>
          <p:nvPr>
            <p:custDataLst>
              <p:tags r:id="rId2"/>
            </p:custDataLst>
          </p:nvPr>
        </p:nvSpPr>
        <p:spPr>
          <a:xfrm>
            <a:off x="1594162" y="1988276"/>
            <a:ext cx="1604034" cy="4451713"/>
          </a:xfrm>
          <a:prstGeom prst="upArrow">
            <a:avLst>
              <a:gd name="adj1" fmla="val 86817"/>
              <a:gd name="adj2" fmla="val 13289"/>
            </a:avLst>
          </a:prstGeom>
          <a:solidFill>
            <a:schemeClr val="accent2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The need for system integration, new car services and sustained mobility will drive further growth</a:t>
            </a:r>
            <a:endParaRPr lang="en-US" dirty="0"/>
          </a:p>
        </p:txBody>
      </p: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>
          <a:xfrm>
            <a:off x="244475" y="1615694"/>
            <a:ext cx="7064375" cy="249299"/>
          </a:xfrm>
          <a:prstGeom prst="rect">
            <a:avLst/>
          </a:prstGeom>
          <a:noFill/>
          <a:ln w="12700" cap="rnd">
            <a:noFill/>
          </a:ln>
          <a:effectLst/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b="1" dirty="0" smtClean="0"/>
              <a:t>Growth drivers for Embedded Electronic Systems</a:t>
            </a: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3674382" y="3360215"/>
            <a:ext cx="4932000" cy="652486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76213" indent="-176213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dirty="0" smtClean="0"/>
              <a:t>Conservation of natural resources. Sustained mobility. </a:t>
            </a:r>
          </a:p>
          <a:p>
            <a:pPr marL="176213" indent="-176213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dirty="0" smtClean="0"/>
              <a:t>Growing demand for individual mobility -  smaller city cars </a:t>
            </a:r>
          </a:p>
          <a:p>
            <a:pPr marL="176213" indent="-176213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b="1" dirty="0" smtClean="0"/>
              <a:t>Example: </a:t>
            </a:r>
            <a:r>
              <a:rPr lang="en-US" sz="1200" dirty="0" smtClean="0"/>
              <a:t>E-Mobility, Hybrid Cars, Fuel Cell, energy efficiency</a:t>
            </a:r>
          </a:p>
        </p:txBody>
      </p:sp>
      <p:sp>
        <p:nvSpPr>
          <p:cNvPr id="29" name="Pentagon 28"/>
          <p:cNvSpPr/>
          <p:nvPr/>
        </p:nvSpPr>
        <p:spPr>
          <a:xfrm>
            <a:off x="1514172" y="3373134"/>
            <a:ext cx="1986673" cy="720000"/>
          </a:xfrm>
          <a:prstGeom prst="homePlate">
            <a:avLst>
              <a:gd name="adj" fmla="val 12773"/>
            </a:avLst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ustainability</a:t>
            </a:r>
            <a:br>
              <a:rPr lang="en-US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rvices &amp; Mobility Concepts</a:t>
            </a:r>
          </a:p>
        </p:txBody>
      </p:sp>
      <p:sp>
        <p:nvSpPr>
          <p:cNvPr id="51" name="Pentagon 50"/>
          <p:cNvSpPr/>
          <p:nvPr>
            <p:custDataLst>
              <p:tags r:id="rId5"/>
            </p:custDataLst>
          </p:nvPr>
        </p:nvSpPr>
        <p:spPr>
          <a:xfrm>
            <a:off x="1514172" y="4426872"/>
            <a:ext cx="1986673" cy="720000"/>
          </a:xfrm>
          <a:prstGeom prst="homePlate">
            <a:avLst>
              <a:gd name="adj" fmla="val 12773"/>
            </a:avLst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w Car Services</a:t>
            </a:r>
          </a:p>
        </p:txBody>
      </p:sp>
      <p:sp>
        <p:nvSpPr>
          <p:cNvPr id="52" name="Pentagon 51"/>
          <p:cNvSpPr/>
          <p:nvPr>
            <p:custDataLst>
              <p:tags r:id="rId6"/>
            </p:custDataLst>
          </p:nvPr>
        </p:nvSpPr>
        <p:spPr>
          <a:xfrm>
            <a:off x="1527235" y="5493672"/>
            <a:ext cx="1986673" cy="720000"/>
          </a:xfrm>
          <a:prstGeom prst="homePlate">
            <a:avLst>
              <a:gd name="adj" fmla="val 12773"/>
            </a:avLst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tegration Service</a:t>
            </a:r>
          </a:p>
        </p:txBody>
      </p:sp>
      <p:sp>
        <p:nvSpPr>
          <p:cNvPr id="53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674382" y="4435880"/>
            <a:ext cx="4932000" cy="72943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76213" indent="-17621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dirty="0" smtClean="0"/>
              <a:t>Car efficiency and security is product differentiating</a:t>
            </a:r>
          </a:p>
          <a:p>
            <a:pPr marL="176213" indent="-17621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dirty="0" smtClean="0"/>
              <a:t>Growing number of innovative product offerings</a:t>
            </a:r>
          </a:p>
          <a:p>
            <a:pPr marL="176213" indent="-17621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b="1" dirty="0" smtClean="0"/>
              <a:t>Example: </a:t>
            </a:r>
            <a:r>
              <a:rPr lang="en-US" sz="1200" dirty="0" smtClean="0"/>
              <a:t>park assistance, Car2x, autonomous vehicles</a:t>
            </a:r>
          </a:p>
        </p:txBody>
      </p:sp>
      <p:sp>
        <p:nvSpPr>
          <p:cNvPr id="54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69619" y="5529400"/>
            <a:ext cx="4932000" cy="690958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76213" indent="-176213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dirty="0" smtClean="0"/>
              <a:t>10-15% growth within a car software code each year</a:t>
            </a:r>
          </a:p>
          <a:p>
            <a:pPr marL="176213" indent="-176213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dirty="0" smtClean="0"/>
              <a:t>80% supplier issues are software and hardware related</a:t>
            </a:r>
          </a:p>
          <a:p>
            <a:pPr marL="176213" indent="-17621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b="1" dirty="0" smtClean="0"/>
              <a:t>Example: </a:t>
            </a:r>
            <a:r>
              <a:rPr lang="en-US" sz="1200" dirty="0" smtClean="0"/>
              <a:t>System modularization, “0”-Bug-Development- Processes</a:t>
            </a:r>
          </a:p>
        </p:txBody>
      </p:sp>
      <p:sp>
        <p:nvSpPr>
          <p:cNvPr id="16" name="Rectangle 15"/>
          <p:cNvSpPr/>
          <p:nvPr>
            <p:custDataLst>
              <p:tags r:id="rId9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01766" name="Picture 6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48198" y="3304912"/>
            <a:ext cx="1282072" cy="8882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21" name="Pentagon 20"/>
          <p:cNvSpPr/>
          <p:nvPr>
            <p:custDataLst>
              <p:tags r:id="rId10"/>
            </p:custDataLst>
          </p:nvPr>
        </p:nvSpPr>
        <p:spPr>
          <a:xfrm>
            <a:off x="1527235" y="2267144"/>
            <a:ext cx="1986673" cy="720000"/>
          </a:xfrm>
          <a:prstGeom prst="homePlate">
            <a:avLst>
              <a:gd name="adj" fmla="val 12773"/>
            </a:avLst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w Consumer Services</a:t>
            </a:r>
          </a:p>
        </p:txBody>
      </p:sp>
      <p:sp>
        <p:nvSpPr>
          <p:cNvPr id="22" name="Rectangle 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674382" y="2213113"/>
            <a:ext cx="4932000" cy="729430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marL="176213" indent="-17621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smtClean="0"/>
              <a:t>Convergence between personal and mobility service</a:t>
            </a:r>
          </a:p>
          <a:p>
            <a:pPr marL="176213" indent="-17621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smtClean="0"/>
              <a:t>Growing importance for young consumer </a:t>
            </a:r>
          </a:p>
          <a:p>
            <a:pPr marL="176213" indent="-176213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200" b="1" smtClean="0"/>
              <a:t>Example: </a:t>
            </a:r>
            <a:r>
              <a:rPr lang="en-US" sz="1200" smtClean="0"/>
              <a:t>Convergence of Telco, Utility and Auto Services</a:t>
            </a:r>
          </a:p>
        </p:txBody>
      </p:sp>
      <p:pic>
        <p:nvPicPr>
          <p:cNvPr id="501765" name="Picture 5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35134" y="4354280"/>
            <a:ext cx="1293221" cy="8696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19" name="Picture 8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233063" y="5443427"/>
            <a:ext cx="1283841" cy="8659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20" name="Picture 8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45818" y="2202176"/>
            <a:ext cx="1286100" cy="8937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8851" name="think-cell Slide" r:id="rId61" imgW="0" imgH="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smtClean="0">
                <a:latin typeface="Arial"/>
                <a:cs typeface="Arial"/>
                <a:sym typeface="Arial"/>
              </a:rPr>
              <a:t>5</a:t>
            </a:r>
            <a:endParaRPr lang="en-US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We expect that this growth can create ~40,000 new jobs in the German Auto industry by 2025</a:t>
            </a:r>
            <a:endParaRPr lang="en-US" dirty="0"/>
          </a:p>
        </p:txBody>
      </p:sp>
      <p:sp>
        <p:nvSpPr>
          <p:cNvPr id="140" name="Rectangle 139"/>
          <p:cNvSpPr/>
          <p:nvPr>
            <p:custDataLst>
              <p:tags r:id="rId4"/>
            </p:custDataLst>
          </p:nvPr>
        </p:nvSpPr>
        <p:spPr bwMode="auto">
          <a:xfrm>
            <a:off x="314324" y="3211512"/>
            <a:ext cx="214312" cy="160337"/>
          </a:xfrm>
          <a:prstGeom prst="rect">
            <a:avLst/>
          </a:prstGeom>
          <a:solidFill>
            <a:schemeClr val="accent1"/>
          </a:solidFill>
          <a:ln w="9525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/>
          <p:cNvSpPr/>
          <p:nvPr>
            <p:custDataLst>
              <p:tags r:id="rId5"/>
            </p:custDataLst>
          </p:nvPr>
        </p:nvSpPr>
        <p:spPr bwMode="auto">
          <a:xfrm>
            <a:off x="314325" y="2978150"/>
            <a:ext cx="214312" cy="16033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>
            <a:noAutofit/>
          </a:bodyPr>
          <a:lstStyle/>
          <a:p>
            <a:pPr algn="ctr" eaLnBrk="0" hangingPunct="0"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118" name="Rectangle 117"/>
          <p:cNvSpPr/>
          <p:nvPr>
            <p:custDataLst>
              <p:tags r:id="rId6"/>
            </p:custDataLst>
          </p:nvPr>
        </p:nvSpPr>
        <p:spPr bwMode="auto">
          <a:xfrm>
            <a:off x="314325" y="2762250"/>
            <a:ext cx="214312" cy="160337"/>
          </a:xfrm>
          <a:prstGeom prst="rect">
            <a:avLst/>
          </a:prstGeom>
          <a:solidFill>
            <a:schemeClr val="hlink"/>
          </a:solidFill>
          <a:ln w="9525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28"/>
          <p:cNvSpPr/>
          <p:nvPr>
            <p:custDataLst>
              <p:tags r:id="rId7"/>
            </p:custDataLst>
          </p:nvPr>
        </p:nvSpPr>
        <p:spPr bwMode="auto">
          <a:xfrm>
            <a:off x="314325" y="2528887"/>
            <a:ext cx="214312" cy="160337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>
            <a:noAutofit/>
          </a:bodyPr>
          <a:lstStyle/>
          <a:p>
            <a:pPr algn="ctr" eaLnBrk="0" hangingPunct="0"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28" name="Rectangle 27"/>
          <p:cNvSpPr/>
          <p:nvPr>
            <p:custDataLst>
              <p:tags r:id="rId8"/>
            </p:custDataLst>
          </p:nvPr>
        </p:nvSpPr>
        <p:spPr bwMode="auto">
          <a:xfrm>
            <a:off x="314325" y="2295525"/>
            <a:ext cx="214312" cy="160337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 rtlCol="0" anchor="ctr">
            <a:noAutofit/>
          </a:bodyPr>
          <a:lstStyle/>
          <a:p>
            <a:pPr algn="ctr" eaLnBrk="0" hangingPunct="0"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139" name="Rectangle 138"/>
          <p:cNvSpPr/>
          <p:nvPr>
            <p:custDataLst>
              <p:tags r:id="rId9"/>
            </p:custDataLst>
          </p:nvPr>
        </p:nvSpPr>
        <p:spPr bwMode="auto">
          <a:xfrm>
            <a:off x="579436" y="3206750"/>
            <a:ext cx="3159125" cy="182562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7026862-AA1F-4F9B-A763-9DA889D15326}" type="datetime'Cur''re''nt ES wo''rkp''''lace''s in Germa''ny since'' 19''65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Current ES workplaces in Germany since 1965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Rectangle 9"/>
          <p:cNvSpPr/>
          <p:nvPr>
            <p:custDataLst>
              <p:tags r:id="rId10"/>
            </p:custDataLst>
          </p:nvPr>
        </p:nvSpPr>
        <p:spPr bwMode="auto">
          <a:xfrm>
            <a:off x="579437" y="2973387"/>
            <a:ext cx="2720975" cy="1825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l" eaLnBrk="0" hangingPunct="0">
              <a:lnSpc>
                <a:spcPct val="100000"/>
              </a:lnSpc>
              <a:spcBef>
                <a:spcPct val="0"/>
              </a:spcBef>
              <a:buClrTx/>
            </a:pPr>
            <a:fld id="{AA0B8F31-9F5E-40D3-9A6F-583DEC13E0D1}" type="datetime'N''ew j''ob''s ''fo''r ''system int''egra''tion s''''ervices'">
              <a:rPr lang="en-US" sz="1200" i="0" smtClean="0">
                <a:latin typeface="Arial"/>
                <a:cs typeface="Arial"/>
                <a:sym typeface="Arial"/>
              </a:rPr>
              <a:pPr algn="l"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New jobs for system integration services</a:t>
            </a:fld>
            <a:endParaRPr lang="en-US" sz="1200" i="0" dirty="0">
              <a:latin typeface="Arial"/>
              <a:cs typeface="Arial"/>
              <a:sym typeface="Arial"/>
            </a:endParaRPr>
          </a:p>
        </p:txBody>
      </p:sp>
      <p:sp>
        <p:nvSpPr>
          <p:cNvPr id="117" name="Rectangle 116"/>
          <p:cNvSpPr/>
          <p:nvPr>
            <p:custDataLst>
              <p:tags r:id="rId11"/>
            </p:custDataLst>
          </p:nvPr>
        </p:nvSpPr>
        <p:spPr bwMode="auto">
          <a:xfrm>
            <a:off x="579437" y="2759075"/>
            <a:ext cx="2289175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9DD5681E-5487-44C0-8B96-AA13E1CD79EC}" type="datetime'New job''s ''''f''''or ca''''r oriented s''e''''rvic''es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New jobs for car oriented services</a:t>
            </a:fld>
            <a:endParaRPr lang="en-US" sz="12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Rectangle 8"/>
          <p:cNvSpPr/>
          <p:nvPr>
            <p:custDataLst>
              <p:tags r:id="rId12"/>
            </p:custDataLst>
          </p:nvPr>
        </p:nvSpPr>
        <p:spPr bwMode="auto">
          <a:xfrm>
            <a:off x="579438" y="2524125"/>
            <a:ext cx="3708400" cy="1825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l" eaLnBrk="0" hangingPunct="0">
              <a:lnSpc>
                <a:spcPct val="100000"/>
              </a:lnSpc>
              <a:spcBef>
                <a:spcPct val="0"/>
              </a:spcBef>
              <a:buClrTx/>
            </a:pPr>
            <a:fld id="{89B71295-E553-444C-8510-C23227E73C77}" type="datetime'New jobs for sustainabili''ty services &amp;'' mobility concepts'">
              <a:rPr lang="en-US" sz="1200" i="0" smtClean="0">
                <a:latin typeface="Arial"/>
                <a:cs typeface="Arial"/>
                <a:sym typeface="Arial"/>
              </a:rPr>
              <a:pPr algn="l"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New jobs for sustainability services &amp; mobility concepts</a:t>
            </a:fld>
            <a:endParaRPr lang="en-US" sz="1200" i="0" dirty="0">
              <a:latin typeface="Arial"/>
              <a:cs typeface="Arial"/>
              <a:sym typeface="Arial"/>
            </a:endParaRPr>
          </a:p>
        </p:txBody>
      </p:sp>
      <p:sp>
        <p:nvSpPr>
          <p:cNvPr id="8" name="Rectangle 7"/>
          <p:cNvSpPr/>
          <p:nvPr>
            <p:custDataLst>
              <p:tags r:id="rId13"/>
            </p:custDataLst>
          </p:nvPr>
        </p:nvSpPr>
        <p:spPr bwMode="auto">
          <a:xfrm>
            <a:off x="579438" y="2290762"/>
            <a:ext cx="2744787" cy="1825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l" eaLnBrk="0" hangingPunct="0">
              <a:lnSpc>
                <a:spcPct val="100000"/>
              </a:lnSpc>
              <a:spcBef>
                <a:spcPct val="0"/>
              </a:spcBef>
              <a:buClrTx/>
            </a:pPr>
            <a:fld id="{EFB06903-ACE7-4F50-B015-675FE49818AC}" type="datetime'New jo''bs'' for cons''umer ''orie''''nted se''rv''''i''c''es'">
              <a:rPr lang="en-US" sz="1200" i="0" smtClean="0">
                <a:latin typeface="Arial"/>
                <a:cs typeface="Arial"/>
                <a:sym typeface="Arial"/>
              </a:rPr>
              <a:pPr algn="l"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New jobs for consumer oriented services</a:t>
            </a:fld>
            <a:endParaRPr lang="en-US" sz="1200" i="0" dirty="0">
              <a:latin typeface="Arial"/>
              <a:cs typeface="Arial"/>
              <a:sym typeface="Arial"/>
            </a:endParaRPr>
          </a:p>
        </p:txBody>
      </p:sp>
      <p:cxnSp>
        <p:nvCxnSpPr>
          <p:cNvPr id="87" name="Straight Connector 86"/>
          <p:cNvCxnSpPr/>
          <p:nvPr>
            <p:custDataLst>
              <p:tags r:id="rId14"/>
            </p:custDataLst>
          </p:nvPr>
        </p:nvCxnSpPr>
        <p:spPr bwMode="auto">
          <a:xfrm flipV="1">
            <a:off x="2687637" y="4889500"/>
            <a:ext cx="579438" cy="442912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>
            <p:custDataLst>
              <p:tags r:id="rId15"/>
            </p:custDataLst>
          </p:nvPr>
        </p:nvCxnSpPr>
        <p:spPr bwMode="auto">
          <a:xfrm flipV="1">
            <a:off x="5300662" y="2817812"/>
            <a:ext cx="579438" cy="1401763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>
            <p:custDataLst>
              <p:tags r:id="rId16"/>
            </p:custDataLst>
          </p:nvPr>
        </p:nvCxnSpPr>
        <p:spPr bwMode="auto">
          <a:xfrm flipV="1">
            <a:off x="3997325" y="4219575"/>
            <a:ext cx="579437" cy="6699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>
            <p:custDataLst>
              <p:tags r:id="rId17"/>
            </p:custDataLst>
          </p:nvPr>
        </p:nvCxnSpPr>
        <p:spPr bwMode="auto">
          <a:xfrm flipV="1">
            <a:off x="3997325" y="4219575"/>
            <a:ext cx="579437" cy="6699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>
            <p:custDataLst>
              <p:tags r:id="rId18"/>
            </p:custDataLst>
          </p:nvPr>
        </p:nvCxnSpPr>
        <p:spPr bwMode="auto">
          <a:xfrm flipV="1">
            <a:off x="3997325" y="4219575"/>
            <a:ext cx="579437" cy="6699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>
            <p:custDataLst>
              <p:tags r:id="rId19"/>
            </p:custDataLst>
          </p:nvPr>
        </p:nvCxnSpPr>
        <p:spPr bwMode="auto">
          <a:xfrm flipV="1">
            <a:off x="3997325" y="4219575"/>
            <a:ext cx="579437" cy="6699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>
            <p:custDataLst>
              <p:tags r:id="rId20"/>
            </p:custDataLst>
          </p:nvPr>
        </p:nvCxnSpPr>
        <p:spPr bwMode="auto">
          <a:xfrm flipV="1">
            <a:off x="1384300" y="5332412"/>
            <a:ext cx="579437" cy="296863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>
            <p:custDataLst>
              <p:tags r:id="rId21"/>
            </p:custDataLst>
          </p:nvPr>
        </p:nvCxnSpPr>
        <p:spPr bwMode="auto">
          <a:xfrm flipV="1">
            <a:off x="1384300" y="5332412"/>
            <a:ext cx="579437" cy="296863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>
            <p:custDataLst>
              <p:tags r:id="rId22"/>
            </p:custDataLst>
          </p:nvPr>
        </p:nvCxnSpPr>
        <p:spPr bwMode="auto">
          <a:xfrm flipV="1">
            <a:off x="1384300" y="5332412"/>
            <a:ext cx="579437" cy="296863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>
            <p:custDataLst>
              <p:tags r:id="rId23"/>
            </p:custDataLst>
          </p:nvPr>
        </p:nvCxnSpPr>
        <p:spPr bwMode="auto">
          <a:xfrm flipV="1">
            <a:off x="1384300" y="5332412"/>
            <a:ext cx="579437" cy="296863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>
            <p:custDataLst>
              <p:tags r:id="rId24"/>
            </p:custDataLst>
          </p:nvPr>
        </p:nvCxnSpPr>
        <p:spPr bwMode="auto">
          <a:xfrm>
            <a:off x="5300662" y="4219575"/>
            <a:ext cx="579437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>
            <p:custDataLst>
              <p:tags r:id="rId25"/>
            </p:custDataLst>
          </p:nvPr>
        </p:nvCxnSpPr>
        <p:spPr bwMode="auto">
          <a:xfrm flipV="1">
            <a:off x="5300662" y="3960812"/>
            <a:ext cx="579438" cy="258763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>
            <p:custDataLst>
              <p:tags r:id="rId26"/>
            </p:custDataLst>
          </p:nvPr>
        </p:nvCxnSpPr>
        <p:spPr bwMode="auto">
          <a:xfrm flipV="1">
            <a:off x="5300662" y="2962275"/>
            <a:ext cx="579438" cy="125730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257175" y="2711450"/>
          <a:ext cx="6736173" cy="3406047"/>
        </p:xfrm>
        <a:graphic>
          <a:graphicData uri="http://schemas.openxmlformats.org/presentationml/2006/ole">
            <p:oleObj spid="_x0000_s718850" name="Chart" r:id="rId62" imgW="6736173" imgH="3406047" progId="MSGraph.Chart.8">
              <p:embed followColorScheme="full"/>
            </p:oleObj>
          </a:graphicData>
        </a:graphic>
      </p:graphicFrame>
      <p:cxnSp>
        <p:nvCxnSpPr>
          <p:cNvPr id="78" name="Straight Connector 77"/>
          <p:cNvCxnSpPr/>
          <p:nvPr>
            <p:custDataLst>
              <p:tags r:id="rId27"/>
            </p:custDataLst>
          </p:nvPr>
        </p:nvCxnSpPr>
        <p:spPr bwMode="auto">
          <a:xfrm>
            <a:off x="4938712" y="3617912"/>
            <a:ext cx="0" cy="31750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7" name="Straight Connector 76"/>
          <p:cNvCxnSpPr/>
          <p:nvPr>
            <p:custDataLst>
              <p:tags r:id="rId28"/>
            </p:custDataLst>
          </p:nvPr>
        </p:nvCxnSpPr>
        <p:spPr bwMode="auto">
          <a:xfrm>
            <a:off x="1019176" y="3617912"/>
            <a:ext cx="3919537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5"/>
          <p:cNvCxnSpPr/>
          <p:nvPr>
            <p:custDataLst>
              <p:tags r:id="rId29"/>
            </p:custDataLst>
          </p:nvPr>
        </p:nvCxnSpPr>
        <p:spPr bwMode="auto">
          <a:xfrm flipV="1">
            <a:off x="1019175" y="3617911"/>
            <a:ext cx="0" cy="172720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8" name="Straight Connector 97"/>
          <p:cNvCxnSpPr/>
          <p:nvPr>
            <p:custDataLst>
              <p:tags r:id="rId30"/>
            </p:custDataLst>
          </p:nvPr>
        </p:nvCxnSpPr>
        <p:spPr bwMode="gray">
          <a:xfrm flipV="1">
            <a:off x="4938712" y="1887537"/>
            <a:ext cx="1308100" cy="1401763"/>
          </a:xfrm>
          <a:prstGeom prst="line">
            <a:avLst/>
          </a:prstGeom>
          <a:ln w="25400" cap="rnd">
            <a:solidFill>
              <a:schemeClr val="bg2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/>
          <p:cNvSpPr/>
          <p:nvPr>
            <p:custDataLst>
              <p:tags r:id="rId31"/>
            </p:custDataLst>
          </p:nvPr>
        </p:nvSpPr>
        <p:spPr bwMode="gray">
          <a:xfrm>
            <a:off x="2640012" y="3487737"/>
            <a:ext cx="674687" cy="258762"/>
          </a:xfrm>
          <a:prstGeom prst="ellipse">
            <a:avLst/>
          </a:prstGeom>
          <a:solidFill>
            <a:srgbClr val="7D0900"/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Tx/>
            </a:pPr>
            <a:fld id="{8B89EA70-1319-4B42-8AB6-2FADF087FEA8}" type="datetime'+''''''''''''''3''4''''''5''''''''''''''''''''''''''%'">
              <a:rPr lang="en-US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+345%</a:t>
            </a:fld>
            <a:endParaRPr lang="en-US" sz="12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1" name="Oval 30"/>
          <p:cNvSpPr/>
          <p:nvPr>
            <p:custDataLst>
              <p:tags r:id="rId32"/>
            </p:custDataLst>
          </p:nvPr>
        </p:nvSpPr>
        <p:spPr bwMode="gray">
          <a:xfrm>
            <a:off x="5027612" y="2459037"/>
            <a:ext cx="1130300" cy="258762"/>
          </a:xfrm>
          <a:prstGeom prst="ellipse">
            <a:avLst/>
          </a:prstGeom>
          <a:solidFill>
            <a:srgbClr val="7D0900"/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CAGR </a:t>
            </a:r>
            <a:fld id="{FD90EF6C-119E-4004-BB2C-A2E4ADBFDD6B}" type="datetime'''''''''''''+''''''''''''''''4''''''''''''''''''%'''''">
              <a:rPr lang="en-US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+4%</a:t>
            </a:fld>
            <a:endParaRPr lang="en-US" sz="12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9" name="Rectangle 108"/>
          <p:cNvSpPr/>
          <p:nvPr>
            <p:custDataLst>
              <p:tags r:id="rId33"/>
            </p:custDataLst>
          </p:nvPr>
        </p:nvSpPr>
        <p:spPr bwMode="auto">
          <a:xfrm>
            <a:off x="6042025" y="6134100"/>
            <a:ext cx="406400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5F83D66-C825-4CE4-ACCA-A4113C486997}" type="datetime'2''''''''''''''''''''''''0''''''''''''''''''''2''5''''''''''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7" name="Rectangle 146"/>
          <p:cNvSpPr/>
          <p:nvPr>
            <p:custDataLst>
              <p:tags r:id="rId34"/>
            </p:custDataLst>
          </p:nvPr>
        </p:nvSpPr>
        <p:spPr bwMode="gray">
          <a:xfrm>
            <a:off x="6162675" y="5033962"/>
            <a:ext cx="168275" cy="182562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0E3A6B-4A63-48C2-9390-631B6E248C31}" type="datetime'''''''''''''''''''''''4''9''''''''''''''''''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3" name="Rectangle 102"/>
          <p:cNvSpPr/>
          <p:nvPr>
            <p:custDataLst>
              <p:tags r:id="rId35"/>
            </p:custDataLst>
          </p:nvPr>
        </p:nvSpPr>
        <p:spPr bwMode="auto">
          <a:xfrm>
            <a:off x="6159500" y="2808287"/>
            <a:ext cx="174625" cy="165100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52B58BF0-7AC3-40B2-AB21-A73E8B335FE0}" type="datetime'''''''''4'''''''''''''''''''''''''''''''''''''''''''''''">
              <a:rPr lang="en-US" sz="12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4</a:t>
            </a:fld>
            <a:r>
              <a:rPr lang="en-US" sz="1200" baseline="300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1</a:t>
            </a:r>
            <a:r>
              <a:rPr lang="en-US" sz="1200" baseline="30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)</a:t>
            </a:r>
          </a:p>
        </p:txBody>
      </p:sp>
      <p:sp>
        <p:nvSpPr>
          <p:cNvPr id="7" name="Rectangle 6"/>
          <p:cNvSpPr/>
          <p:nvPr>
            <p:custDataLst>
              <p:tags r:id="rId36"/>
            </p:custDataLst>
          </p:nvPr>
        </p:nvSpPr>
        <p:spPr bwMode="auto">
          <a:xfrm>
            <a:off x="4735512" y="6134100"/>
            <a:ext cx="406400" cy="2127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Autofit/>
          </a:bodyPr>
          <a:lstStyle/>
          <a:p>
            <a:pPr algn="ctr" eaLnBrk="0" hangingPunct="0">
              <a:lnSpc>
                <a:spcPct val="100000"/>
              </a:lnSpc>
              <a:spcBef>
                <a:spcPct val="0"/>
              </a:spcBef>
              <a:buClrTx/>
            </a:pPr>
            <a:fld id="{689CE0CB-B855-4B41-BE22-AAFAB938CD5B}" type="datetime'''2''''''''''''''''''0''''''''''''1''''''''''''0'''''''''''''">
              <a:rPr lang="en-US" sz="1400" b="1" smtClean="0">
                <a:latin typeface="Arial"/>
                <a:cs typeface="Arial"/>
                <a:sym typeface="Arial"/>
              </a:rPr>
              <a:pPr algn="ctr"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2010</a:t>
            </a:fld>
            <a:endParaRPr lang="en-US" sz="1400" b="1" dirty="0">
              <a:latin typeface="Arial"/>
              <a:cs typeface="Arial"/>
              <a:sym typeface="Arial"/>
            </a:endParaRPr>
          </a:p>
        </p:txBody>
      </p:sp>
      <p:sp>
        <p:nvSpPr>
          <p:cNvPr id="6" name="Rectangle 5"/>
          <p:cNvSpPr/>
          <p:nvPr>
            <p:custDataLst>
              <p:tags r:id="rId37"/>
            </p:custDataLst>
          </p:nvPr>
        </p:nvSpPr>
        <p:spPr bwMode="auto">
          <a:xfrm>
            <a:off x="3429000" y="6134100"/>
            <a:ext cx="406400" cy="2127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Autofit/>
          </a:bodyPr>
          <a:lstStyle/>
          <a:p>
            <a:pPr algn="ctr" eaLnBrk="0" hangingPunct="0">
              <a:lnSpc>
                <a:spcPct val="100000"/>
              </a:lnSpc>
              <a:spcBef>
                <a:spcPct val="0"/>
              </a:spcBef>
              <a:buClrTx/>
            </a:pPr>
            <a:fld id="{C7CE927D-CB03-42B3-A380-B04CBC1B6636}" type="datetime'1''''''''''''9''''''''''''9''''''5'''''''">
              <a:rPr lang="en-US" sz="1400" b="1" smtClean="0">
                <a:latin typeface="Arial"/>
                <a:cs typeface="Arial"/>
                <a:sym typeface="Arial"/>
              </a:rPr>
              <a:pPr algn="ctr"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1995</a:t>
            </a:fld>
            <a:endParaRPr lang="en-US" sz="1400" b="1" dirty="0">
              <a:latin typeface="Arial"/>
              <a:cs typeface="Arial"/>
              <a:sym typeface="Arial"/>
            </a:endParaRPr>
          </a:p>
        </p:txBody>
      </p:sp>
      <p:sp>
        <p:nvSpPr>
          <p:cNvPr id="181" name="Rectangle 180"/>
          <p:cNvSpPr/>
          <p:nvPr>
            <p:custDataLst>
              <p:tags r:id="rId38"/>
            </p:custDataLst>
          </p:nvPr>
        </p:nvSpPr>
        <p:spPr bwMode="auto">
          <a:xfrm>
            <a:off x="2122487" y="6134100"/>
            <a:ext cx="406400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A742F5-5754-4346-96BE-E2A17736C2E5}" type="datetime'''''''''''''''''''''1''9''8''''0''''''''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80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Rectangle 4"/>
          <p:cNvSpPr/>
          <p:nvPr>
            <p:custDataLst>
              <p:tags r:id="rId39"/>
            </p:custDataLst>
          </p:nvPr>
        </p:nvSpPr>
        <p:spPr bwMode="auto">
          <a:xfrm>
            <a:off x="814387" y="6134100"/>
            <a:ext cx="406400" cy="2127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Autofit/>
          </a:bodyPr>
          <a:lstStyle/>
          <a:p>
            <a:pPr algn="ctr" eaLnBrk="0" hangingPunct="0">
              <a:lnSpc>
                <a:spcPct val="100000"/>
              </a:lnSpc>
              <a:spcBef>
                <a:spcPct val="0"/>
              </a:spcBef>
              <a:buClrTx/>
            </a:pPr>
            <a:fld id="{E73ED659-B9B5-40A5-969D-580B3D59C456}" type="datetime'''''1''''''''''''''''''''''''''''''''9''''''''65'''''''''''''">
              <a:rPr lang="en-US" sz="1400" b="1" smtClean="0">
                <a:latin typeface="Arial"/>
                <a:cs typeface="Arial"/>
                <a:sym typeface="Arial"/>
              </a:rPr>
              <a:pPr algn="ctr"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1965</a:t>
            </a:fld>
            <a:endParaRPr lang="en-US" sz="1400" b="1" dirty="0">
              <a:latin typeface="Arial"/>
              <a:cs typeface="Arial"/>
              <a:sym typeface="Arial"/>
            </a:endParaRPr>
          </a:p>
        </p:txBody>
      </p:sp>
      <p:sp>
        <p:nvSpPr>
          <p:cNvPr id="110" name="Rectangle 109"/>
          <p:cNvSpPr/>
          <p:nvPr>
            <p:custDataLst>
              <p:tags r:id="rId40"/>
            </p:custDataLst>
          </p:nvPr>
        </p:nvSpPr>
        <p:spPr bwMode="auto">
          <a:xfrm>
            <a:off x="6162675" y="2609850"/>
            <a:ext cx="168275" cy="182562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FD9C0A4-A28B-435E-ACB7-D6D6AD69CE1B}" type="datetime'''''''''''''''''8''''''''''''''''''''''''''''''7''''''''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7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94" name="Straight Connector 93"/>
          <p:cNvCxnSpPr/>
          <p:nvPr>
            <p:custDataLst>
              <p:tags r:id="rId41"/>
            </p:custDataLst>
          </p:nvPr>
        </p:nvCxnSpPr>
        <p:spPr bwMode="auto">
          <a:xfrm>
            <a:off x="5300661" y="4219575"/>
            <a:ext cx="1638300" cy="0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>
            <p:custDataLst>
              <p:tags r:id="rId42"/>
            </p:custDataLst>
          </p:nvPr>
        </p:nvCxnSpPr>
        <p:spPr bwMode="auto">
          <a:xfrm>
            <a:off x="6611938" y="2817812"/>
            <a:ext cx="327025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>
            <p:custDataLst>
              <p:tags r:id="rId43"/>
            </p:custDataLst>
          </p:nvPr>
        </p:nvCxnSpPr>
        <p:spPr bwMode="auto">
          <a:xfrm flipV="1">
            <a:off x="4286250" y="4216399"/>
            <a:ext cx="0" cy="1416050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35" name="Straight Connector 34"/>
          <p:cNvCxnSpPr/>
          <p:nvPr>
            <p:custDataLst>
              <p:tags r:id="rId44"/>
            </p:custDataLst>
          </p:nvPr>
        </p:nvCxnSpPr>
        <p:spPr bwMode="auto">
          <a:xfrm flipH="1">
            <a:off x="4248150" y="4219575"/>
            <a:ext cx="328612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1" name="Straight Connector 160"/>
          <p:cNvCxnSpPr/>
          <p:nvPr>
            <p:custDataLst>
              <p:tags r:id="rId45"/>
            </p:custDataLst>
          </p:nvPr>
        </p:nvCxnSpPr>
        <p:spPr bwMode="auto">
          <a:xfrm>
            <a:off x="1384300" y="5629275"/>
            <a:ext cx="2940050" cy="0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>
            <p:custDataLst>
              <p:tags r:id="rId46"/>
            </p:custDataLst>
          </p:nvPr>
        </p:nvCxnSpPr>
        <p:spPr bwMode="auto">
          <a:xfrm>
            <a:off x="6900862" y="2814636"/>
            <a:ext cx="0" cy="1408112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33" name="Oval 32"/>
          <p:cNvSpPr/>
          <p:nvPr>
            <p:custDataLst>
              <p:tags r:id="rId47"/>
            </p:custDataLst>
          </p:nvPr>
        </p:nvSpPr>
        <p:spPr bwMode="gray">
          <a:xfrm>
            <a:off x="4070350" y="4794250"/>
            <a:ext cx="430212" cy="258762"/>
          </a:xfrm>
          <a:prstGeom prst="ellipse">
            <a:avLst/>
          </a:prstGeom>
          <a:solidFill>
            <a:srgbClr val="7D0900"/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Tx/>
            </a:pPr>
            <a:fld id="{9BBA31A3-880F-4B1B-8FE1-BC948806C865}" type="datetime'''''''''7''''''''''''8''''''''''''%'">
              <a:rPr lang="en-US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78%</a:t>
            </a:fld>
            <a:endParaRPr lang="en-US" sz="12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5" name="Oval 84"/>
          <p:cNvSpPr/>
          <p:nvPr>
            <p:custDataLst>
              <p:tags r:id="rId48"/>
            </p:custDataLst>
          </p:nvPr>
        </p:nvSpPr>
        <p:spPr bwMode="gray">
          <a:xfrm>
            <a:off x="6613525" y="3262312"/>
            <a:ext cx="573087" cy="517525"/>
          </a:xfrm>
          <a:prstGeom prst="ellipse">
            <a:avLst/>
          </a:prstGeom>
          <a:solidFill>
            <a:srgbClr val="7D0900"/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eaLnBrk="0" hangingPunct="0">
              <a:lnSpc>
                <a:spcPct val="100000"/>
              </a:lnSpc>
              <a:spcBef>
                <a:spcPct val="0"/>
              </a:spcBef>
              <a:buClrTx/>
            </a:pPr>
            <a:fld id="{27514C62-6A03-4C6E-ACB2-E756D25F6F56}" type="datetime'''''3''8'''''''''''''''''''''''''''''">
              <a:rPr lang="en-US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38</a:t>
            </a:fld>
            <a:r>
              <a:rPr lang="en-US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133D3F60-0BFB-4F7D-A688-48736036070C}" type="datetime'''''''''4''''''''''''''4''''''''''''%'''''''''''''">
              <a:rPr lang="en-US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44%</a:t>
            </a:fld>
            <a:r>
              <a:rPr lang="en-US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en-US" sz="12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0" name="TextBox 99"/>
          <p:cNvSpPr txBox="1"/>
          <p:nvPr>
            <p:custDataLst>
              <p:tags r:id="rId49"/>
            </p:custDataLst>
          </p:nvPr>
        </p:nvSpPr>
        <p:spPr>
          <a:xfrm>
            <a:off x="244799" y="1616400"/>
            <a:ext cx="8455064" cy="470898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b="1" dirty="0" smtClean="0"/>
              <a:t>Development of jobs related to Embedded Electronic Systems in Germany</a:t>
            </a:r>
            <a:br>
              <a:rPr lang="en-US" b="1" dirty="0" smtClean="0"/>
            </a:br>
            <a:r>
              <a:rPr lang="en-US" sz="1600" dirty="0" smtClean="0"/>
              <a:t>(in ‘000)</a:t>
            </a:r>
            <a:endParaRPr lang="en-US" dirty="0" smtClean="0"/>
          </a:p>
        </p:txBody>
      </p:sp>
      <p:sp>
        <p:nvSpPr>
          <p:cNvPr id="59" name="Pentagon 58"/>
          <p:cNvSpPr/>
          <p:nvPr>
            <p:custDataLst>
              <p:tags r:id="rId50"/>
            </p:custDataLst>
          </p:nvPr>
        </p:nvSpPr>
        <p:spPr>
          <a:xfrm flipH="1">
            <a:off x="7188926" y="2650959"/>
            <a:ext cx="940647" cy="357146"/>
          </a:xfrm>
          <a:prstGeom prst="homePlate">
            <a:avLst>
              <a:gd name="adj" fmla="val 12773"/>
            </a:avLst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900" b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w Consumer Services</a:t>
            </a:r>
          </a:p>
        </p:txBody>
      </p:sp>
      <p:sp>
        <p:nvSpPr>
          <p:cNvPr id="60" name="Pentagon 59"/>
          <p:cNvSpPr/>
          <p:nvPr>
            <p:custDataLst>
              <p:tags r:id="rId51"/>
            </p:custDataLst>
          </p:nvPr>
        </p:nvSpPr>
        <p:spPr>
          <a:xfrm flipH="1">
            <a:off x="7188926" y="3533849"/>
            <a:ext cx="940647" cy="357146"/>
          </a:xfrm>
          <a:prstGeom prst="homePlate">
            <a:avLst>
              <a:gd name="adj" fmla="val 12773"/>
            </a:avLst>
          </a:prstGeom>
          <a:solidFill>
            <a:schemeClr val="bg1">
              <a:lumMod val="7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9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w Car Services</a:t>
            </a:r>
          </a:p>
        </p:txBody>
      </p:sp>
      <p:sp>
        <p:nvSpPr>
          <p:cNvPr id="61" name="Pentagon 60"/>
          <p:cNvSpPr/>
          <p:nvPr>
            <p:custDataLst>
              <p:tags r:id="rId52"/>
            </p:custDataLst>
          </p:nvPr>
        </p:nvSpPr>
        <p:spPr>
          <a:xfrm flipH="1">
            <a:off x="7188926" y="3973075"/>
            <a:ext cx="940647" cy="357146"/>
          </a:xfrm>
          <a:prstGeom prst="homePlate">
            <a:avLst>
              <a:gd name="adj" fmla="val 12773"/>
            </a:avLst>
          </a:prstGeom>
          <a:solidFill>
            <a:schemeClr val="bg1">
              <a:lumMod val="6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900" b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tegration Service</a:t>
            </a:r>
          </a:p>
        </p:txBody>
      </p:sp>
      <p:pic>
        <p:nvPicPr>
          <p:cNvPr id="62" name="Picture 8"/>
          <p:cNvPicPr>
            <a:picLocks noChangeAspect="1" noChangeArrowheads="1"/>
          </p:cNvPicPr>
          <p:nvPr>
            <p:custDataLst>
              <p:tags r:id="rId53"/>
            </p:custDataLst>
          </p:nvPr>
        </p:nvPicPr>
        <p:blipFill>
          <a:blip r:embed="rId63" cstate="print"/>
          <a:srcRect/>
          <a:stretch>
            <a:fillRect/>
          </a:stretch>
        </p:blipFill>
        <p:spPr bwMode="auto">
          <a:xfrm flipH="1">
            <a:off x="8119445" y="3952070"/>
            <a:ext cx="669117" cy="38569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64" name="Picture 8"/>
          <p:cNvPicPr>
            <a:picLocks noChangeAspect="1" noChangeArrowheads="1"/>
          </p:cNvPicPr>
          <p:nvPr>
            <p:custDataLst>
              <p:tags r:id="rId54"/>
            </p:custDataLst>
          </p:nvPr>
        </p:nvPicPr>
        <p:blipFill>
          <a:blip r:embed="rId64" cstate="print"/>
          <a:srcRect/>
          <a:stretch>
            <a:fillRect/>
          </a:stretch>
        </p:blipFill>
        <p:spPr bwMode="auto">
          <a:xfrm flipH="1">
            <a:off x="8101261" y="2623264"/>
            <a:ext cx="693935" cy="39890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28" name="Rectangle 127"/>
          <p:cNvSpPr/>
          <p:nvPr>
            <p:custDataLst>
              <p:tags r:id="rId55"/>
            </p:custDataLst>
          </p:nvPr>
        </p:nvSpPr>
        <p:spPr>
          <a:xfrm>
            <a:off x="244800" y="6273800"/>
            <a:ext cx="8323644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) New jobs for “New customer services” may not only be created in automotive industry but also </a:t>
            </a:r>
            <a:r>
              <a:rPr lang="en-US" sz="1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dustries with access to customers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i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</a:rPr>
              <a:t>A.T. Kearney Embedded Systems Study 2010, </a:t>
            </a:r>
            <a:r>
              <a:rPr lang="en-US" sz="1000" dirty="0" err="1" smtClean="0">
                <a:solidFill>
                  <a:srgbClr val="000000"/>
                </a:solidFill>
              </a:rPr>
              <a:t>Bitkom</a:t>
            </a:r>
            <a:endParaRPr lang="en-US" sz="1000" i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0" name="Picture 5"/>
          <p:cNvPicPr>
            <a:picLocks noChangeAspect="1" noChangeArrowheads="1"/>
          </p:cNvPicPr>
          <p:nvPr>
            <p:custDataLst>
              <p:tags r:id="rId56"/>
            </p:custDataLst>
          </p:nvPr>
        </p:nvPicPr>
        <p:blipFill>
          <a:blip r:embed="rId65" cstate="print"/>
          <a:srcRect/>
          <a:stretch>
            <a:fillRect/>
          </a:stretch>
        </p:blipFill>
        <p:spPr bwMode="auto">
          <a:xfrm>
            <a:off x="8114768" y="3523619"/>
            <a:ext cx="679838" cy="37678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21" name="Pentagon 120"/>
          <p:cNvSpPr/>
          <p:nvPr>
            <p:custDataLst>
              <p:tags r:id="rId57"/>
            </p:custDataLst>
          </p:nvPr>
        </p:nvSpPr>
        <p:spPr>
          <a:xfrm flipH="1">
            <a:off x="7184570" y="3092702"/>
            <a:ext cx="940647" cy="357146"/>
          </a:xfrm>
          <a:prstGeom prst="homePlate">
            <a:avLst>
              <a:gd name="adj" fmla="val 12773"/>
            </a:avLst>
          </a:prstGeom>
          <a:solidFill>
            <a:schemeClr val="bg1">
              <a:lumMod val="85000"/>
            </a:schemeClr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9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ustain. Serv. &amp; Mobility Concepts</a:t>
            </a:r>
          </a:p>
        </p:txBody>
      </p:sp>
      <p:pic>
        <p:nvPicPr>
          <p:cNvPr id="124" name="Picture 6"/>
          <p:cNvPicPr>
            <a:picLocks noChangeAspect="1" noChangeArrowheads="1"/>
          </p:cNvPicPr>
          <p:nvPr>
            <p:custDataLst>
              <p:tags r:id="rId58"/>
            </p:custDataLst>
          </p:nvPr>
        </p:nvPicPr>
        <p:blipFill>
          <a:blip r:embed="rId66" cstate="print"/>
          <a:srcRect/>
          <a:stretch>
            <a:fillRect/>
          </a:stretch>
        </p:blipFill>
        <p:spPr bwMode="auto">
          <a:xfrm>
            <a:off x="8112034" y="3075613"/>
            <a:ext cx="680671" cy="3908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04867" name="think-cell Slide" r:id="rId41" imgW="0" imgH="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smtClean="0">
                <a:latin typeface="Arial"/>
                <a:cs typeface="Arial"/>
                <a:sym typeface="Arial"/>
              </a:rPr>
              <a:t>0</a:t>
            </a:r>
            <a:endParaRPr lang="en-US" sz="1200" b="1" dirty="0"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4507" y="596741"/>
            <a:ext cx="8650224" cy="664797"/>
          </a:xfrm>
        </p:spPr>
        <p:txBody>
          <a:bodyPr/>
          <a:lstStyle/>
          <a:p>
            <a:r>
              <a:rPr lang="en-US" dirty="0" smtClean="0"/>
              <a:t>Across industries we estimate a potential in Germany of ~110,000 new jobs</a:t>
            </a:r>
            <a:endParaRPr lang="en-US" dirty="0"/>
          </a:p>
        </p:txBody>
      </p:sp>
      <p:cxnSp>
        <p:nvCxnSpPr>
          <p:cNvPr id="93" name="Straight Connector 92"/>
          <p:cNvCxnSpPr/>
          <p:nvPr>
            <p:custDataLst>
              <p:tags r:id="rId4"/>
            </p:custDataLst>
          </p:nvPr>
        </p:nvCxnSpPr>
        <p:spPr bwMode="auto">
          <a:xfrm>
            <a:off x="1457326" y="5026025"/>
            <a:ext cx="638175" cy="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5"/>
            </p:custDataLst>
          </p:nvPr>
        </p:nvCxnSpPr>
        <p:spPr bwMode="auto">
          <a:xfrm flipV="1">
            <a:off x="1457325" y="4264025"/>
            <a:ext cx="638175" cy="762000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6"/>
            </p:custDataLst>
          </p:nvPr>
        </p:nvCxnSpPr>
        <p:spPr bwMode="auto">
          <a:xfrm flipV="1">
            <a:off x="1457325" y="2806700"/>
            <a:ext cx="638175" cy="22193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7"/>
            </p:custDataLst>
          </p:nvPr>
        </p:nvCxnSpPr>
        <p:spPr bwMode="auto">
          <a:xfrm flipV="1">
            <a:off x="1457325" y="2806700"/>
            <a:ext cx="638175" cy="2219325"/>
          </a:xfrm>
          <a:prstGeom prst="line">
            <a:avLst/>
          </a:prstGeom>
          <a:ln w="9525" cap="rnd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/>
          <p:cNvGraphicFramePr>
            <a:graphicFrameLocks noChangeAspect="1"/>
          </p:cNvGraphicFramePr>
          <p:nvPr/>
        </p:nvGraphicFramePr>
        <p:xfrm>
          <a:off x="257175" y="2711450"/>
          <a:ext cx="3057441" cy="3410085"/>
        </p:xfrm>
        <a:graphic>
          <a:graphicData uri="http://schemas.openxmlformats.org/presentationml/2006/ole">
            <p:oleObj spid="_x0000_s804866" name="Chart" r:id="rId42" imgW="3057441" imgH="3410085" progId="MSGraph.Chart.8">
              <p:embed followColorScheme="full"/>
            </p:oleObj>
          </a:graphicData>
        </a:graphic>
      </p:graphicFrame>
      <p:sp>
        <p:nvSpPr>
          <p:cNvPr id="110" name="Rectangle 109"/>
          <p:cNvSpPr/>
          <p:nvPr>
            <p:custDataLst>
              <p:tags r:id="rId8"/>
            </p:custDataLst>
          </p:nvPr>
        </p:nvSpPr>
        <p:spPr bwMode="auto">
          <a:xfrm>
            <a:off x="2363787" y="2598737"/>
            <a:ext cx="252412" cy="182562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CAA3E66-BC2F-422B-8762-6BAD68FB80D3}" type="datetime'1''''''''''''''''5''''''''''9'''''''''">
              <a:rPr lang="en-US" sz="12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9</a:t>
            </a:fld>
            <a:endParaRPr lang="en-US" sz="12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9" name="Rectangle 108"/>
          <p:cNvSpPr/>
          <p:nvPr>
            <p:custDataLst>
              <p:tags r:id="rId9"/>
            </p:custDataLst>
          </p:nvPr>
        </p:nvSpPr>
        <p:spPr bwMode="auto">
          <a:xfrm>
            <a:off x="2287587" y="6118225"/>
            <a:ext cx="406400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EAE6DD1-B120-480E-B6DB-226C800DD0E4}" type="datetime'''''''''2''''''''0''''''''''''''''''2''''''''''5''''''''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7" name="Rectangle 146"/>
          <p:cNvSpPr/>
          <p:nvPr>
            <p:custDataLst>
              <p:tags r:id="rId10"/>
            </p:custDataLst>
          </p:nvPr>
        </p:nvSpPr>
        <p:spPr bwMode="gray">
          <a:xfrm>
            <a:off x="2406650" y="5429250"/>
            <a:ext cx="168275" cy="182562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9001F48-9BE9-481B-AAD2-B3EA5D93B52C}" type="datetime'''''''''''''''''''4''''''''''''''''''''''''''9'''''''">
              <a:rPr lang="en-US" sz="12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lang="en-US" sz="12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Rectangle 6"/>
          <p:cNvSpPr/>
          <p:nvPr>
            <p:custDataLst>
              <p:tags r:id="rId11"/>
            </p:custDataLst>
          </p:nvPr>
        </p:nvSpPr>
        <p:spPr bwMode="auto">
          <a:xfrm>
            <a:off x="858837" y="6118225"/>
            <a:ext cx="406400" cy="2127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rtlCol="0" anchor="t" anchorCtr="0">
            <a:noAutofit/>
          </a:bodyPr>
          <a:lstStyle/>
          <a:p>
            <a:pPr algn="ctr" eaLnBrk="0" hangingPunct="0">
              <a:lnSpc>
                <a:spcPct val="100000"/>
              </a:lnSpc>
              <a:spcBef>
                <a:spcPct val="0"/>
              </a:spcBef>
              <a:buClrTx/>
            </a:pPr>
            <a:fld id="{86B7C256-52E2-4619-B9F1-E4DC78894B8D}" type="datetime'''''''''2''''''''''''0''''''''''''''''''1''''0'''''''''''">
              <a:rPr lang="en-US" sz="1400" b="1" smtClean="0">
                <a:latin typeface="Arial"/>
                <a:cs typeface="Arial"/>
                <a:sym typeface="Arial"/>
              </a:rPr>
              <a:pPr algn="ctr"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2010</a:t>
            </a:fld>
            <a:endParaRPr lang="en-US" sz="1400" b="1" dirty="0">
              <a:latin typeface="Arial"/>
              <a:cs typeface="Arial"/>
              <a:sym typeface="Arial"/>
            </a:endParaRPr>
          </a:p>
        </p:txBody>
      </p:sp>
      <p:cxnSp>
        <p:nvCxnSpPr>
          <p:cNvPr id="88" name="Straight Connector 87"/>
          <p:cNvCxnSpPr/>
          <p:nvPr>
            <p:custDataLst>
              <p:tags r:id="rId12"/>
            </p:custDataLst>
          </p:nvPr>
        </p:nvCxnSpPr>
        <p:spPr bwMode="auto">
          <a:xfrm>
            <a:off x="3205162" y="2803524"/>
            <a:ext cx="0" cy="2225675"/>
          </a:xfrm>
          <a:prstGeom prst="line">
            <a:avLst/>
          </a:prstGeom>
          <a:solidFill>
            <a:schemeClr val="bg1"/>
          </a:solidFill>
          <a:ln w="254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94" name="Straight Connector 93"/>
          <p:cNvCxnSpPr/>
          <p:nvPr>
            <p:custDataLst>
              <p:tags r:id="rId13"/>
            </p:custDataLst>
          </p:nvPr>
        </p:nvCxnSpPr>
        <p:spPr bwMode="auto">
          <a:xfrm>
            <a:off x="1457325" y="5026025"/>
            <a:ext cx="1785937" cy="0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>
            <p:custDataLst>
              <p:tags r:id="rId14"/>
            </p:custDataLst>
          </p:nvPr>
        </p:nvCxnSpPr>
        <p:spPr bwMode="auto">
          <a:xfrm>
            <a:off x="2886076" y="2806700"/>
            <a:ext cx="357187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Oval 84"/>
          <p:cNvSpPr/>
          <p:nvPr>
            <p:custDataLst>
              <p:tags r:id="rId15"/>
            </p:custDataLst>
          </p:nvPr>
        </p:nvSpPr>
        <p:spPr bwMode="gray">
          <a:xfrm>
            <a:off x="3025775" y="3786187"/>
            <a:ext cx="357187" cy="258762"/>
          </a:xfrm>
          <a:prstGeom prst="ellipse">
            <a:avLst/>
          </a:prstGeom>
          <a:solidFill>
            <a:srgbClr val="7D0900"/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eaLnBrk="0" hangingPunct="0">
              <a:lnSpc>
                <a:spcPct val="100000"/>
              </a:lnSpc>
              <a:spcBef>
                <a:spcPct val="0"/>
              </a:spcBef>
              <a:buClrTx/>
            </a:pPr>
            <a:fld id="{A01432E1-2488-44CB-B7AC-3F9110949C9E}" type="datetime'''1''''''''''''''''''''''''1''''''''''''''''''''''0'">
              <a:rPr lang="en-US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 eaLnBrk="0" hangingPunct="0">
                <a:lnSpc>
                  <a:spcPct val="100000"/>
                </a:lnSpc>
                <a:spcBef>
                  <a:spcPct val="0"/>
                </a:spcBef>
                <a:buClrTx/>
              </a:pPr>
              <a:t>110</a:t>
            </a:fld>
            <a:endParaRPr lang="en-US" sz="12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7" name="Rectangle 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44475" y="6607175"/>
            <a:ext cx="6478588" cy="13811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eaLnBrk="0" hangingPunct="0">
              <a:lnSpc>
                <a:spcPct val="90000"/>
              </a:lnSpc>
              <a:tabLst>
                <a:tab pos="687388" algn="l"/>
                <a:tab pos="2116138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Source: A.T. Kearney Embedded Systems Study 2010</a:t>
            </a:r>
          </a:p>
        </p:txBody>
      </p:sp>
      <p:sp>
        <p:nvSpPr>
          <p:cNvPr id="89" name="Rectangle 88"/>
          <p:cNvSpPr/>
          <p:nvPr>
            <p:custDataLst>
              <p:tags r:id="rId17"/>
            </p:custDataLst>
          </p:nvPr>
        </p:nvSpPr>
        <p:spPr>
          <a:xfrm>
            <a:off x="5899926" y="2519440"/>
            <a:ext cx="787953" cy="76554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0" name="Rectangle 89"/>
          <p:cNvSpPr/>
          <p:nvPr>
            <p:custDataLst>
              <p:tags r:id="rId18"/>
            </p:custDataLst>
          </p:nvPr>
        </p:nvSpPr>
        <p:spPr>
          <a:xfrm>
            <a:off x="4932363" y="2519440"/>
            <a:ext cx="967563" cy="765544"/>
          </a:xfrm>
          <a:prstGeom prst="rect">
            <a:avLst/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edical </a:t>
            </a:r>
            <a:r>
              <a:rPr lang="en-US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ppli-cations</a:t>
            </a:r>
            <a:endParaRPr lang="en-US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1" name="Rectangle 90"/>
          <p:cNvSpPr/>
          <p:nvPr>
            <p:custDataLst>
              <p:tags r:id="rId19"/>
            </p:custDataLst>
          </p:nvPr>
        </p:nvSpPr>
        <p:spPr>
          <a:xfrm>
            <a:off x="6687879" y="2519440"/>
            <a:ext cx="2205296" cy="76554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180975" indent="-31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rong growth in new diagnostic tools or telemedicine</a:t>
            </a:r>
          </a:p>
        </p:txBody>
      </p:sp>
      <p:pic>
        <p:nvPicPr>
          <p:cNvPr id="92" name="Picture 5" descr="http://www.cartft.com/image_db/CTFPND-5.jp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5931825" y="2594383"/>
            <a:ext cx="719404" cy="654936"/>
          </a:xfrm>
          <a:prstGeom prst="rect">
            <a:avLst/>
          </a:prstGeom>
          <a:noFill/>
        </p:spPr>
      </p:pic>
      <p:sp>
        <p:nvSpPr>
          <p:cNvPr id="95" name="Rectangle 94"/>
          <p:cNvSpPr/>
          <p:nvPr>
            <p:custDataLst>
              <p:tags r:id="rId21"/>
            </p:custDataLst>
          </p:nvPr>
        </p:nvSpPr>
        <p:spPr>
          <a:xfrm>
            <a:off x="5901482" y="3513066"/>
            <a:ext cx="787953" cy="76554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6" name="Rectangle 95"/>
          <p:cNvSpPr/>
          <p:nvPr>
            <p:custDataLst>
              <p:tags r:id="rId22"/>
            </p:custDataLst>
          </p:nvPr>
        </p:nvSpPr>
        <p:spPr>
          <a:xfrm>
            <a:off x="4933919" y="3513066"/>
            <a:ext cx="967563" cy="765544"/>
          </a:xfrm>
          <a:prstGeom prst="rect">
            <a:avLst/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hite goods</a:t>
            </a:r>
          </a:p>
        </p:txBody>
      </p:sp>
      <p:sp>
        <p:nvSpPr>
          <p:cNvPr id="97" name="Rectangle 96"/>
          <p:cNvSpPr/>
          <p:nvPr>
            <p:custDataLst>
              <p:tags r:id="rId23"/>
            </p:custDataLst>
          </p:nvPr>
        </p:nvSpPr>
        <p:spPr>
          <a:xfrm>
            <a:off x="6689435" y="3513066"/>
            <a:ext cx="2205296" cy="76554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180975" indent="-180975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telligent programs in washing machines, etc.</a:t>
            </a:r>
          </a:p>
          <a:p>
            <a:pPr marL="180975" indent="-180975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etwork access for selected appliances</a:t>
            </a:r>
          </a:p>
        </p:txBody>
      </p:sp>
      <p:sp>
        <p:nvSpPr>
          <p:cNvPr id="98" name="Rectangle 97"/>
          <p:cNvSpPr/>
          <p:nvPr>
            <p:custDataLst>
              <p:tags r:id="rId24"/>
            </p:custDataLst>
          </p:nvPr>
        </p:nvSpPr>
        <p:spPr>
          <a:xfrm>
            <a:off x="5899926" y="4506692"/>
            <a:ext cx="787953" cy="76554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Rectangle 98"/>
          <p:cNvSpPr/>
          <p:nvPr>
            <p:custDataLst>
              <p:tags r:id="rId25"/>
            </p:custDataLst>
          </p:nvPr>
        </p:nvSpPr>
        <p:spPr>
          <a:xfrm>
            <a:off x="4932363" y="4506692"/>
            <a:ext cx="967563" cy="765544"/>
          </a:xfrm>
          <a:prstGeom prst="rect">
            <a:avLst/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acility manage-</a:t>
            </a:r>
            <a:r>
              <a:rPr lang="en-US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ent</a:t>
            </a:r>
            <a:endParaRPr lang="en-US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1" name="Rectangle 100"/>
          <p:cNvSpPr/>
          <p:nvPr>
            <p:custDataLst>
              <p:tags r:id="rId26"/>
            </p:custDataLst>
          </p:nvPr>
        </p:nvSpPr>
        <p:spPr>
          <a:xfrm>
            <a:off x="6687879" y="4506692"/>
            <a:ext cx="2205296" cy="76554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180975" indent="-180975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telligent facility mgt.</a:t>
            </a:r>
          </a:p>
          <a:p>
            <a:pPr marL="180975" indent="-180975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nergy management through smart metering</a:t>
            </a:r>
          </a:p>
        </p:txBody>
      </p:sp>
      <p:sp>
        <p:nvSpPr>
          <p:cNvPr id="102" name="Rectangle 101"/>
          <p:cNvSpPr/>
          <p:nvPr>
            <p:custDataLst>
              <p:tags r:id="rId27"/>
            </p:custDataLst>
          </p:nvPr>
        </p:nvSpPr>
        <p:spPr>
          <a:xfrm>
            <a:off x="5899926" y="5500318"/>
            <a:ext cx="787953" cy="76554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Rectangle 103"/>
          <p:cNvSpPr/>
          <p:nvPr>
            <p:custDataLst>
              <p:tags r:id="rId28"/>
            </p:custDataLst>
          </p:nvPr>
        </p:nvSpPr>
        <p:spPr>
          <a:xfrm>
            <a:off x="4932363" y="5500318"/>
            <a:ext cx="967563" cy="765544"/>
          </a:xfrm>
          <a:prstGeom prst="rect">
            <a:avLst/>
          </a:prstGeom>
          <a:solidFill>
            <a:schemeClr val="accent4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ome entertain-</a:t>
            </a:r>
            <a:r>
              <a:rPr lang="en-US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ent</a:t>
            </a:r>
            <a:endParaRPr lang="en-US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Rectangle 104"/>
          <p:cNvSpPr/>
          <p:nvPr>
            <p:custDataLst>
              <p:tags r:id="rId29"/>
            </p:custDataLst>
          </p:nvPr>
        </p:nvSpPr>
        <p:spPr>
          <a:xfrm>
            <a:off x="6687879" y="5500318"/>
            <a:ext cx="2205296" cy="76554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marL="17780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rong growth in functionality (e.g. Internet via TV)</a:t>
            </a:r>
          </a:p>
        </p:txBody>
      </p:sp>
      <p:pic>
        <p:nvPicPr>
          <p:cNvPr id="106" name="Picture 8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4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89293" y="4600357"/>
            <a:ext cx="793992" cy="595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7" name="Picture 10" descr="http://www.golem.de/0312/28987-serverathome.jpg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5944257" y="3584344"/>
            <a:ext cx="712642" cy="611373"/>
          </a:xfrm>
          <a:prstGeom prst="rect">
            <a:avLst/>
          </a:prstGeom>
          <a:noFill/>
        </p:spPr>
      </p:pic>
      <p:pic>
        <p:nvPicPr>
          <p:cNvPr id="108" name="Picture 12" descr="http://www.televisions.de/Images/Articles/2009/A1044/white/460/LCD_TV_Philips_47_PFL_8404_H_Front_with_internet.jpg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5934748" y="5601629"/>
            <a:ext cx="722436" cy="607788"/>
          </a:xfrm>
          <a:prstGeom prst="rect">
            <a:avLst/>
          </a:prstGeom>
          <a:noFill/>
        </p:spPr>
      </p:pic>
      <p:sp>
        <p:nvSpPr>
          <p:cNvPr id="111" name="TextBox 110"/>
          <p:cNvSpPr txBox="1"/>
          <p:nvPr>
            <p:custDataLst>
              <p:tags r:id="rId33"/>
            </p:custDataLst>
          </p:nvPr>
        </p:nvSpPr>
        <p:spPr>
          <a:xfrm>
            <a:off x="5389459" y="2209922"/>
            <a:ext cx="2952088" cy="2215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 dirty="0" smtClean="0">
                <a:latin typeface="Arial "/>
              </a:rPr>
              <a:t>Exemplary growth fields</a:t>
            </a:r>
          </a:p>
        </p:txBody>
      </p:sp>
      <p:sp>
        <p:nvSpPr>
          <p:cNvPr id="112" name="Rectangle 111"/>
          <p:cNvSpPr/>
          <p:nvPr>
            <p:custDataLst>
              <p:tags r:id="rId34"/>
            </p:custDataLst>
          </p:nvPr>
        </p:nvSpPr>
        <p:spPr bwMode="auto">
          <a:xfrm>
            <a:off x="3763798" y="5016424"/>
            <a:ext cx="974725" cy="38417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137E3A3A-B558-4AF1-A861-68EBC40B6E48}" type="datetime'''''''''''Aut''''omoti''v''''e&#10;''''''g''''''''r''ow''th'''">
              <a:rPr lang="en-US" sz="1400" b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Automotive
growth</a:t>
            </a:fld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3" name="Left Brace 112"/>
          <p:cNvSpPr/>
          <p:nvPr>
            <p:custDataLst>
              <p:tags r:id="rId35"/>
            </p:custDataLst>
          </p:nvPr>
        </p:nvSpPr>
        <p:spPr>
          <a:xfrm flipH="1">
            <a:off x="3455717" y="4488872"/>
            <a:ext cx="225631" cy="1425039"/>
          </a:xfrm>
          <a:prstGeom prst="leftBrac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/>
          <p:cNvSpPr/>
          <p:nvPr>
            <p:custDataLst>
              <p:tags r:id="rId36"/>
            </p:custDataLst>
          </p:nvPr>
        </p:nvSpPr>
        <p:spPr bwMode="auto">
          <a:xfrm>
            <a:off x="3785569" y="3458777"/>
            <a:ext cx="974725" cy="38417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en-US" sz="1400" b="1" dirty="0" smtClean="0">
                <a:solidFill>
                  <a:schemeClr val="tx1"/>
                </a:solidFill>
                <a:cs typeface="Arial"/>
                <a:sym typeface="Arial"/>
              </a:rPr>
              <a:t>Cross-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400" b="1" dirty="0" err="1" smtClean="0">
                <a:solidFill>
                  <a:schemeClr val="tx1"/>
                </a:solidFill>
                <a:cs typeface="Arial"/>
                <a:sym typeface="Arial"/>
              </a:rPr>
              <a:t>Industry</a:t>
            </a:r>
            <a:endParaRPr lang="de-DE" sz="1400" b="1" dirty="0" smtClean="0">
              <a:solidFill>
                <a:schemeClr val="tx1"/>
              </a:solidFill>
              <a:cs typeface="Arial"/>
              <a:sym typeface="Arial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400" b="1" dirty="0" err="1" smtClean="0">
                <a:solidFill>
                  <a:schemeClr val="tx1"/>
                </a:solidFill>
                <a:cs typeface="Arial"/>
                <a:sym typeface="Arial"/>
              </a:rPr>
              <a:t>growth</a:t>
            </a:r>
            <a:endParaRPr lang="en-US" sz="1400" b="1" dirty="0" smtClean="0">
              <a:solidFill>
                <a:schemeClr val="tx1"/>
              </a:solidFill>
              <a:cs typeface="Arial"/>
              <a:sym typeface="Arial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en-US" sz="14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5" name="Left Brace 114"/>
          <p:cNvSpPr/>
          <p:nvPr>
            <p:custDataLst>
              <p:tags r:id="rId37"/>
            </p:custDataLst>
          </p:nvPr>
        </p:nvSpPr>
        <p:spPr>
          <a:xfrm flipH="1">
            <a:off x="3465613" y="2919350"/>
            <a:ext cx="225631" cy="1425039"/>
          </a:xfrm>
          <a:prstGeom prst="leftBrac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TextBox 115"/>
          <p:cNvSpPr txBox="1"/>
          <p:nvPr>
            <p:custDataLst>
              <p:tags r:id="rId38"/>
            </p:custDataLst>
          </p:nvPr>
        </p:nvSpPr>
        <p:spPr>
          <a:xfrm>
            <a:off x="244983" y="1616455"/>
            <a:ext cx="8359465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b="1" dirty="0" smtClean="0"/>
              <a:t>Expected cross-industry job development through Embedded Systems</a:t>
            </a:r>
            <a:br>
              <a:rPr lang="en-US" b="1" dirty="0" smtClean="0"/>
            </a:br>
            <a:r>
              <a:rPr lang="en-US" sz="1600" dirty="0" smtClean="0"/>
              <a:t>(in ‘000)</a:t>
            </a:r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20898" name="think-cell Slide" r:id="rId16" imgW="0" imgH="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buClr>
                <a:schemeClr val="bg2"/>
              </a:buClr>
              <a:defRPr/>
            </a:pPr>
            <a:r>
              <a:rPr lang="en-US" sz="1200">
                <a:solidFill>
                  <a:schemeClr val="tx1"/>
                </a:solidFill>
                <a:cs typeface="Arial"/>
                <a:sym typeface="Arial"/>
              </a:rPr>
              <a:t>0</a:t>
            </a:r>
            <a:endParaRPr lang="en-US" sz="1200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029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4475" y="596900"/>
            <a:ext cx="8648700" cy="664797"/>
          </a:xfrm>
        </p:spPr>
        <p:txBody>
          <a:bodyPr/>
          <a:lstStyle/>
          <a:p>
            <a:r>
              <a:rPr lang="en-US" dirty="0" smtClean="0"/>
              <a:t>Healthcare is leading and investing significantly in new diagnostic tools and telemedicine systems</a:t>
            </a:r>
          </a:p>
        </p:txBody>
      </p:sp>
      <p:sp>
        <p:nvSpPr>
          <p:cNvPr id="1030" name="Text Placeholder 4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244475" y="2562225"/>
            <a:ext cx="4391025" cy="3881062"/>
          </a:xfrm>
        </p:spPr>
        <p:txBody>
          <a:bodyPr/>
          <a:lstStyle/>
          <a:p>
            <a:pPr eaLnBrk="1" hangingPunct="1"/>
            <a:r>
              <a:rPr lang="de-DE" dirty="0" err="1" smtClean="0"/>
              <a:t>Importanc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EES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significantly</a:t>
            </a:r>
            <a:r>
              <a:rPr lang="de-DE" dirty="0" smtClean="0"/>
              <a:t> </a:t>
            </a:r>
            <a:r>
              <a:rPr lang="de-DE" dirty="0" err="1" smtClean="0"/>
              <a:t>increased</a:t>
            </a:r>
            <a:r>
              <a:rPr lang="de-DE" dirty="0" smtClean="0"/>
              <a:t> </a:t>
            </a:r>
            <a:r>
              <a:rPr lang="de-DE" dirty="0" err="1" smtClean="0"/>
              <a:t>ove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last </a:t>
            </a:r>
            <a:r>
              <a:rPr lang="de-DE" dirty="0" err="1" smtClean="0"/>
              <a:t>years</a:t>
            </a:r>
            <a:r>
              <a:rPr lang="de-DE" dirty="0" smtClean="0"/>
              <a:t>: </a:t>
            </a:r>
            <a:r>
              <a:rPr lang="de-DE" b="1" dirty="0" smtClean="0"/>
              <a:t>48% </a:t>
            </a:r>
            <a:r>
              <a:rPr lang="de-DE" b="1" dirty="0" err="1" smtClean="0"/>
              <a:t>of</a:t>
            </a:r>
            <a:r>
              <a:rPr lang="de-DE" b="1" dirty="0" smtClean="0"/>
              <a:t> R&amp;D </a:t>
            </a:r>
            <a:r>
              <a:rPr lang="de-DE" b="1" dirty="0" err="1" smtClean="0"/>
              <a:t>activities</a:t>
            </a:r>
            <a:r>
              <a:rPr lang="de-DE" dirty="0" smtClean="0"/>
              <a:t> in Medical Technology</a:t>
            </a:r>
          </a:p>
          <a:p>
            <a:pPr eaLnBrk="1" hangingPunct="1"/>
            <a:r>
              <a:rPr lang="de-DE" dirty="0" err="1" smtClean="0"/>
              <a:t>Various</a:t>
            </a:r>
            <a:r>
              <a:rPr lang="de-DE" dirty="0" smtClean="0"/>
              <a:t> </a:t>
            </a:r>
            <a:r>
              <a:rPr lang="de-DE" dirty="0" err="1" smtClean="0"/>
              <a:t>application</a:t>
            </a:r>
            <a:r>
              <a:rPr lang="de-DE" dirty="0" smtClean="0"/>
              <a:t> </a:t>
            </a:r>
            <a:r>
              <a:rPr lang="de-DE" dirty="0" err="1" smtClean="0"/>
              <a:t>area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ervices</a:t>
            </a:r>
            <a:r>
              <a:rPr lang="de-DE" dirty="0" smtClean="0"/>
              <a:t> </a:t>
            </a:r>
            <a:r>
              <a:rPr lang="de-DE" dirty="0" err="1" smtClean="0"/>
              <a:t>c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b="1" dirty="0" err="1" smtClean="0"/>
              <a:t>primary</a:t>
            </a:r>
            <a:r>
              <a:rPr lang="de-DE" b="1" dirty="0" smtClean="0"/>
              <a:t> </a:t>
            </a:r>
            <a:r>
              <a:rPr lang="de-DE" b="1" dirty="0" err="1" smtClean="0"/>
              <a:t>enabled</a:t>
            </a:r>
            <a:r>
              <a:rPr lang="de-DE" b="1" dirty="0" smtClean="0"/>
              <a:t> </a:t>
            </a:r>
            <a:r>
              <a:rPr lang="de-DE" b="1" dirty="0" err="1" smtClean="0"/>
              <a:t>by</a:t>
            </a:r>
            <a:r>
              <a:rPr lang="de-DE" b="1" dirty="0" smtClean="0"/>
              <a:t> EES</a:t>
            </a:r>
            <a:r>
              <a:rPr lang="de-DE" dirty="0" smtClean="0"/>
              <a:t>:</a:t>
            </a:r>
          </a:p>
          <a:p>
            <a:pPr lvl="1" eaLnBrk="1" hangingPunct="1">
              <a:spcBef>
                <a:spcPts val="600"/>
              </a:spcBef>
            </a:pPr>
            <a:r>
              <a:rPr lang="de-DE" dirty="0" smtClean="0"/>
              <a:t>New </a:t>
            </a:r>
            <a:r>
              <a:rPr lang="de-DE" dirty="0" err="1" smtClean="0"/>
              <a:t>diagnostic</a:t>
            </a:r>
            <a:r>
              <a:rPr lang="de-DE" dirty="0" smtClean="0"/>
              <a:t> </a:t>
            </a:r>
            <a:r>
              <a:rPr lang="de-DE" dirty="0" err="1" smtClean="0"/>
              <a:t>tools</a:t>
            </a:r>
            <a:r>
              <a:rPr lang="de-DE" dirty="0" smtClean="0"/>
              <a:t> </a:t>
            </a:r>
          </a:p>
          <a:p>
            <a:pPr lvl="1" eaLnBrk="1" hangingPunct="1">
              <a:spcBef>
                <a:spcPts val="600"/>
              </a:spcBef>
            </a:pPr>
            <a:r>
              <a:rPr lang="de-DE" dirty="0" smtClean="0"/>
              <a:t>High-</a:t>
            </a:r>
            <a:r>
              <a:rPr lang="de-DE" dirty="0" err="1" smtClean="0"/>
              <a:t>frequency</a:t>
            </a:r>
            <a:r>
              <a:rPr lang="de-DE" dirty="0" smtClean="0"/>
              <a:t> </a:t>
            </a:r>
            <a:r>
              <a:rPr lang="de-DE" dirty="0" err="1" smtClean="0"/>
              <a:t>surgery</a:t>
            </a:r>
            <a:endParaRPr lang="de-DE" dirty="0" smtClean="0"/>
          </a:p>
          <a:p>
            <a:pPr lvl="1" eaLnBrk="1" hangingPunct="1">
              <a:spcBef>
                <a:spcPts val="600"/>
              </a:spcBef>
            </a:pPr>
            <a:r>
              <a:rPr lang="de-DE" dirty="0" err="1" smtClean="0"/>
              <a:t>Ambient</a:t>
            </a:r>
            <a:r>
              <a:rPr lang="de-DE" dirty="0" smtClean="0"/>
              <a:t> </a:t>
            </a:r>
            <a:r>
              <a:rPr lang="de-DE" dirty="0" err="1" smtClean="0"/>
              <a:t>assisted</a:t>
            </a:r>
            <a:r>
              <a:rPr lang="de-DE" dirty="0" smtClean="0"/>
              <a:t> </a:t>
            </a:r>
            <a:r>
              <a:rPr lang="de-DE" dirty="0" err="1" smtClean="0"/>
              <a:t>living</a:t>
            </a:r>
            <a:endParaRPr lang="de-DE" dirty="0" smtClean="0"/>
          </a:p>
          <a:p>
            <a:pPr lvl="1" eaLnBrk="1" hangingPunct="1">
              <a:spcBef>
                <a:spcPts val="600"/>
              </a:spcBef>
            </a:pPr>
            <a:r>
              <a:rPr lang="de-DE" dirty="0" err="1" smtClean="0"/>
              <a:t>Health</a:t>
            </a:r>
            <a:r>
              <a:rPr lang="de-DE" dirty="0" smtClean="0"/>
              <a:t> </a:t>
            </a:r>
            <a:r>
              <a:rPr lang="de-DE" dirty="0" err="1" smtClean="0"/>
              <a:t>insurance</a:t>
            </a:r>
            <a:r>
              <a:rPr lang="de-DE" dirty="0" smtClean="0"/>
              <a:t> </a:t>
            </a:r>
            <a:r>
              <a:rPr lang="de-DE" dirty="0" err="1" smtClean="0"/>
              <a:t>cards</a:t>
            </a:r>
            <a:endParaRPr lang="de-DE" dirty="0" smtClean="0"/>
          </a:p>
          <a:p>
            <a:pPr eaLnBrk="1" hangingPunct="1"/>
            <a:r>
              <a:rPr lang="de-DE" dirty="0" err="1" smtClean="0"/>
              <a:t>Revolutionary</a:t>
            </a:r>
            <a:r>
              <a:rPr lang="de-DE" dirty="0" smtClean="0"/>
              <a:t> </a:t>
            </a:r>
            <a:r>
              <a:rPr lang="de-DE" dirty="0" err="1" smtClean="0"/>
              <a:t>shift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Embedded Systems </a:t>
            </a:r>
            <a:r>
              <a:rPr lang="de-DE" dirty="0" err="1" smtClean="0"/>
              <a:t>has</a:t>
            </a:r>
            <a:r>
              <a:rPr lang="de-DE" dirty="0" smtClean="0"/>
              <a:t> </a:t>
            </a:r>
            <a:r>
              <a:rPr lang="de-DE" dirty="0" err="1" smtClean="0"/>
              <a:t>initiated</a:t>
            </a:r>
            <a:r>
              <a:rPr lang="de-DE" dirty="0" smtClean="0"/>
              <a:t> </a:t>
            </a:r>
            <a:r>
              <a:rPr lang="de-DE" b="1" dirty="0" err="1" smtClean="0"/>
              <a:t>job</a:t>
            </a:r>
            <a:r>
              <a:rPr lang="de-DE" b="1" dirty="0" smtClean="0"/>
              <a:t> </a:t>
            </a:r>
            <a:r>
              <a:rPr lang="de-DE" b="1" dirty="0" err="1" smtClean="0"/>
              <a:t>boost</a:t>
            </a:r>
            <a:r>
              <a:rPr lang="de-DE" b="1" dirty="0" smtClean="0"/>
              <a:t> </a:t>
            </a:r>
            <a:r>
              <a:rPr lang="de-DE" b="1" dirty="0" err="1" smtClean="0"/>
              <a:t>of</a:t>
            </a:r>
            <a:r>
              <a:rPr lang="de-DE" b="1" dirty="0" smtClean="0"/>
              <a:t> </a:t>
            </a:r>
            <a:r>
              <a:rPr lang="de-DE" b="1" dirty="0" err="1" smtClean="0"/>
              <a:t>highly</a:t>
            </a:r>
            <a:r>
              <a:rPr lang="de-DE" b="1" dirty="0" smtClean="0"/>
              <a:t> </a:t>
            </a:r>
            <a:r>
              <a:rPr lang="de-DE" b="1" dirty="0" err="1" smtClean="0"/>
              <a:t>skilled</a:t>
            </a:r>
            <a:r>
              <a:rPr lang="de-DE" b="1" dirty="0" smtClean="0"/>
              <a:t> </a:t>
            </a:r>
            <a:r>
              <a:rPr lang="de-DE" b="1" dirty="0" err="1" smtClean="0"/>
              <a:t>personnel</a:t>
            </a:r>
            <a:endParaRPr lang="de-DE" b="1" dirty="0" smtClean="0"/>
          </a:p>
          <a:p>
            <a:pPr eaLnBrk="1" hangingPunct="1"/>
            <a:endParaRPr lang="en-US" dirty="0" smtClean="0"/>
          </a:p>
        </p:txBody>
      </p:sp>
      <p:sp>
        <p:nvSpPr>
          <p:cNvPr id="1031" name="Text Box 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44475" y="1849438"/>
            <a:ext cx="8899525" cy="2492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buClr>
                <a:srgbClr val="7D0900"/>
              </a:buClr>
            </a:pPr>
            <a:r>
              <a:rPr lang="en-US" b="1" dirty="0" smtClean="0">
                <a:solidFill>
                  <a:srgbClr val="000000"/>
                </a:solidFill>
              </a:rPr>
              <a:t>Example growth in medical applications</a:t>
            </a:r>
            <a:endParaRPr lang="en-US" b="1" dirty="0">
              <a:solidFill>
                <a:srgbClr val="000000"/>
              </a:solidFill>
            </a:endParaRPr>
          </a:p>
        </p:txBody>
      </p:sp>
      <p:graphicFrame>
        <p:nvGraphicFramePr>
          <p:cNvPr id="1027" name="Object 2"/>
          <p:cNvGraphicFramePr>
            <a:graphicFrameLocks noChangeAspect="1"/>
          </p:cNvGraphicFramePr>
          <p:nvPr/>
        </p:nvGraphicFramePr>
        <p:xfrm>
          <a:off x="5289550" y="3427413"/>
          <a:ext cx="3057525" cy="2543175"/>
        </p:xfrm>
        <a:graphic>
          <a:graphicData uri="http://schemas.openxmlformats.org/presentationml/2006/ole">
            <p:oleObj spid="_x0000_s720899" name="Chart" r:id="rId17" imgW="3057602" imgH="2543291" progId="MSGraph.Chart.8">
              <p:embed followColorScheme="full"/>
            </p:oleObj>
          </a:graphicData>
        </a:graphic>
      </p:graphicFrame>
      <p:cxnSp>
        <p:nvCxnSpPr>
          <p:cNvPr id="16" name="Straight Connector 15"/>
          <p:cNvCxnSpPr/>
          <p:nvPr>
            <p:custDataLst>
              <p:tags r:id="rId6"/>
            </p:custDataLst>
          </p:nvPr>
        </p:nvCxnSpPr>
        <p:spPr bwMode="gray">
          <a:xfrm flipV="1">
            <a:off x="6094413" y="3074988"/>
            <a:ext cx="1428750" cy="523875"/>
          </a:xfrm>
          <a:prstGeom prst="line">
            <a:avLst/>
          </a:prstGeom>
          <a:ln w="25400" cap="rnd">
            <a:solidFill>
              <a:schemeClr val="bg2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/>
          <p:cNvSpPr/>
          <p:nvPr>
            <p:custDataLst>
              <p:tags r:id="rId7"/>
            </p:custDataLst>
          </p:nvPr>
        </p:nvSpPr>
        <p:spPr bwMode="gray">
          <a:xfrm>
            <a:off x="6243638" y="3206750"/>
            <a:ext cx="1130300" cy="258763"/>
          </a:xfrm>
          <a:prstGeom prst="ellipse">
            <a:avLst/>
          </a:prstGeom>
          <a:solidFill>
            <a:srgbClr val="7D0900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buClr>
                <a:schemeClr val="bg2"/>
              </a:buClr>
              <a:defRPr/>
            </a:pPr>
            <a:r>
              <a:rPr lang="en-US" sz="1200" b="1" i="1" dirty="0">
                <a:solidFill>
                  <a:schemeClr val="bg1"/>
                </a:solidFill>
                <a:cs typeface="Arial"/>
                <a:sym typeface="Arial"/>
              </a:rPr>
              <a:t>CAGR </a:t>
            </a:r>
            <a:fld id="{384F2D16-D561-4BBB-815E-1E73782355C8}" type="datetime'''''''''''''''''''''''''+''''''''''''''''6''''''''''''''%'">
              <a:rPr lang="en-US" sz="1200" b="1" i="1">
                <a:solidFill>
                  <a:schemeClr val="bg1"/>
                </a:solidFill>
                <a:cs typeface="Arial"/>
                <a:sym typeface="Arial"/>
              </a:rPr>
              <a:pPr algn="ctr" fontAlgn="auto">
                <a:buClr>
                  <a:schemeClr val="bg2"/>
                </a:buClr>
                <a:defRPr/>
              </a:pPr>
              <a:t>+6%</a:t>
            </a:fld>
            <a:endParaRPr lang="en-US" sz="1200" b="1" i="1" dirty="0" err="1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11" name="Rectangle 10"/>
          <p:cNvSpPr/>
          <p:nvPr>
            <p:custDataLst>
              <p:tags r:id="rId8"/>
            </p:custDataLst>
          </p:nvPr>
        </p:nvSpPr>
        <p:spPr bwMode="auto">
          <a:xfrm>
            <a:off x="5891213" y="5972175"/>
            <a:ext cx="406400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buClr>
                <a:schemeClr val="bg2"/>
              </a:buClr>
              <a:defRPr/>
            </a:pPr>
            <a:fld id="{AF5E8DB8-BF3F-4EC7-9745-7E54AD24F210}" type="datetime'''''''2''''''''0''''''1''''0'''''">
              <a:rPr lang="en-US" sz="1400" b="1">
                <a:solidFill>
                  <a:schemeClr val="tx1"/>
                </a:solidFill>
                <a:cs typeface="Arial"/>
                <a:sym typeface="Arial"/>
              </a:rPr>
              <a:pPr algn="ctr" fontAlgn="auto">
                <a:buClr>
                  <a:schemeClr val="bg2"/>
                </a:buClr>
                <a:defRPr/>
              </a:pPr>
              <a:t>2010</a:t>
            </a:fld>
            <a:endParaRPr lang="en-US" sz="1400" b="1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2" name="Rectangle 11"/>
          <p:cNvSpPr/>
          <p:nvPr>
            <p:custDataLst>
              <p:tags r:id="rId9"/>
            </p:custDataLst>
          </p:nvPr>
        </p:nvSpPr>
        <p:spPr bwMode="auto">
          <a:xfrm>
            <a:off x="7319963" y="5972175"/>
            <a:ext cx="406400" cy="2127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buClr>
                <a:schemeClr val="bg2"/>
              </a:buClr>
              <a:defRPr/>
            </a:pPr>
            <a:fld id="{E5CD8E37-61A4-46E4-BD29-248E76B981EE}" type="datetime'''''''''2''0''''''''''1''''''''''''''''5'''''">
              <a:rPr lang="en-US" sz="1400" b="1">
                <a:solidFill>
                  <a:schemeClr val="tx1"/>
                </a:solidFill>
                <a:cs typeface="Arial"/>
                <a:sym typeface="Arial"/>
              </a:rPr>
              <a:pPr algn="ctr" fontAlgn="auto">
                <a:buClr>
                  <a:schemeClr val="bg2"/>
                </a:buClr>
                <a:defRPr/>
              </a:pPr>
              <a:t>2015</a:t>
            </a:fld>
            <a:endParaRPr lang="en-US" sz="1400" b="1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8" name="Rectangle 47"/>
          <p:cNvSpPr/>
          <p:nvPr>
            <p:custDataLst>
              <p:tags r:id="rId10"/>
            </p:custDataLst>
          </p:nvPr>
        </p:nvSpPr>
        <p:spPr bwMode="auto">
          <a:xfrm>
            <a:off x="7291388" y="3567113"/>
            <a:ext cx="463550" cy="182562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 fontAlgn="auto">
              <a:buClr>
                <a:schemeClr val="bg2"/>
              </a:buClr>
              <a:defRPr/>
            </a:pPr>
            <a:fld id="{2C2AD429-A548-4C47-97C1-24DFF4162FBF}" type="datetime'''1''''''''''''''''''''''''''4,''''''''7''0''''''''''''0'''">
              <a:rPr lang="en-US" sz="1200">
                <a:solidFill>
                  <a:schemeClr val="tx1"/>
                </a:solidFill>
                <a:cs typeface="Arial"/>
                <a:sym typeface="Arial"/>
              </a:rPr>
              <a:pPr algn="ctr" fontAlgn="auto">
                <a:buClr>
                  <a:schemeClr val="bg2"/>
                </a:buClr>
                <a:defRPr/>
              </a:pPr>
              <a:t>14,700</a:t>
            </a:fld>
            <a:endParaRPr lang="en-US" sz="1200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5" name="Rectangle 44"/>
          <p:cNvSpPr/>
          <p:nvPr>
            <p:custDataLst>
              <p:tags r:id="rId11"/>
            </p:custDataLst>
          </p:nvPr>
        </p:nvSpPr>
        <p:spPr bwMode="auto">
          <a:xfrm>
            <a:off x="5862638" y="4090988"/>
            <a:ext cx="463550" cy="182562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 fontAlgn="auto">
              <a:buClr>
                <a:schemeClr val="bg2"/>
              </a:buClr>
              <a:defRPr/>
            </a:pPr>
            <a:fld id="{78818804-61BD-4BF8-A93C-CF84E48B6263}" type="datetime'''''''''''1''''''''''1'''''''''''',''0''''''''0''''''''0'''''">
              <a:rPr lang="en-US" sz="1200">
                <a:solidFill>
                  <a:schemeClr val="tx1"/>
                </a:solidFill>
                <a:cs typeface="Arial"/>
                <a:sym typeface="Arial"/>
              </a:rPr>
              <a:pPr algn="ctr" fontAlgn="auto">
                <a:buClr>
                  <a:schemeClr val="bg2"/>
                </a:buClr>
                <a:defRPr/>
              </a:pPr>
              <a:t>11,000</a:t>
            </a:fld>
            <a:endParaRPr lang="en-US" sz="1200" dirty="0" err="1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51" name="Rectangle 50"/>
          <p:cNvSpPr/>
          <p:nvPr>
            <p:custDataLst>
              <p:tags r:id="rId12"/>
            </p:custDataLst>
          </p:nvPr>
        </p:nvSpPr>
        <p:spPr>
          <a:xfrm>
            <a:off x="244475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Source: </a:t>
            </a:r>
            <a:r>
              <a:rPr lang="en-US" sz="1000" dirty="0">
                <a:solidFill>
                  <a:srgbClr val="000000"/>
                </a:solidFill>
              </a:rPr>
              <a:t>A.T. Kearney Embedded Systems Study 2010, ZVEI, </a:t>
            </a:r>
            <a:r>
              <a:rPr lang="en-US" sz="1000" dirty="0" err="1">
                <a:solidFill>
                  <a:srgbClr val="000000"/>
                </a:solidFill>
              </a:rPr>
              <a:t>SafeTrans</a:t>
            </a:r>
            <a:endParaRPr lang="en-US" sz="10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39" name="TextBox 5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824413" y="2389188"/>
            <a:ext cx="4002087" cy="442912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600" b="1">
                <a:latin typeface="Arial "/>
              </a:rPr>
              <a:t>Embedded Systems R&amp;D related jobs in German Medical Technology</a:t>
            </a:r>
            <a:endParaRPr lang="en-US" sz="1600">
              <a:latin typeface="Arial "/>
            </a:endParaRPr>
          </a:p>
        </p:txBody>
      </p:sp>
      <p:pic>
        <p:nvPicPr>
          <p:cNvPr id="20" name="Picture 5" descr="http://www.cartft.com/image_db/CTFPND-5.jp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707086" y="1418757"/>
            <a:ext cx="927322" cy="844222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8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37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3zgIRiv0SXGqDuNnuEz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D8mvzoZk2l_N7lcE8CV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7nWvXYp0GNvuRo.Kw28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i11c2Mm0qm_kYtaiwR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RY0K8Hlkqh7SZeL5ix8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0hNr.xEUyIru87J0wmm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HF6mv0WU6v2mrAXLm4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3XW2iV2UKtlKTW1Ubqq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..yj0oPE.Xbuybc_xlm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73_E3VlkiJ7BKPWOY6i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0vddfvukaeatWxHWlg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890UtCTEW6IvIKHL.GO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CWguNG30eYd2ek.ELyl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52vCkNq0.H8Bp160Jp8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FTUnOFZUKBM3WhEOlGl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b9_ef.okGpCkxgjY1aE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VHhE.Ul0aL0OoQkCgTN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CbgQt_fUSfsNolNRC1J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kJXVNOb0iFt9r7e21J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Bv6kp2p0ioUU5NVVXsJ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hviVn4EEiGGWzUyOC0i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nmi6JDKE2JqHQYL2PR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fGOgWJUEq4aoDv55lvq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rQpzT7BECSQRk.zsm9.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VYctAgW0KcipRfnTXIZ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xKqLPZKEW9DlpR8cwIv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rrgL5xb0OxtZf94OSce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B702uKOk6NorgKC4mrL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CKfwoAc0eQGiN5ShuvH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jnVkIU_UqoBRHypHK8F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wlcZFABUe5AD.rEdBJD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VOrKIdZUC8nIW8BcCtm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1QTwOFAkmdVG8kH2sz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XSTrTy50qjJPhpcAlPF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yi_VFDIkSTopWIJrDzT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iU0gDKfUmjD96.2Ggw_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bI5PQ3YUS1Ie0sPPOar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8J5JZcykq3UIJ8HaSyK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1L84y4WUOFw5gVX20US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waZrkTX0WzwjeyzFeyb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ng93m.WkSehogKD3UOq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ReE3Iw9E2TPgEW8jbD5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uu2FyDm025S7Bz5.c0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t1H..nPE.MK_39xRsf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Jz.VwIqki23xpnd9O78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2_uHypIE6hFFsfqMz5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Ao3tookkqYccY.OPYe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GoowQ0iCAUqdF8KQw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t2F6quyk6Olij_EhoWS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mdEg.bukidLY3N2tViB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b0qeeB5UKoy6R.4TjYQ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cgB6cxkU6uEwQnTojB2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liw8sG7UqfiR_VMAehC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AzLZ16Ak2EFuqNnqqoN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YKmSiNskG5W2oQsTR9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pwnuuHbEiO6bhEsDMoy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2spwuv40yCoPtFNxaOJ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FqKoxBc0y2k64ZgQ_fX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PMLh6TX0i4wGm0UTynZ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nTWCPMVkKfEmH9L.y7U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2spwuv40yCoPtFNxaO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FqKoxBc0y2k64ZgQ_fX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roUfBj10WITGsDARCWo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9JRlIlUE.OR0S3GZAFK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2spwuv40yCoPtFNxaOJ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FqKoxBc0y2k64ZgQ_f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.zObjqOk6HAtJsgxMiW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WnsF3_LkqXtDlAsI0o6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fi2UkJ3UGVvKRzGzwUE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2spwuv40yCoPtFNxaOJ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FqKoxBc0y2k64ZgQ_fX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v29sC0h0uu.zCWF9jw_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t9t6wWV0qAbwFxv2GA4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yrXDzFWk.fHxNXRteVd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eRnD1ai0Wwt8mRpdHgP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PVWjVRkCV3o0.7t7hc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j9w.RnmEi9wmQktKo5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Oxs66cgUSfieFKhgWli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jzDMDQ_UOnz7xz44GOV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e9Di8Sc0WjfjxI7ls22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eKmiAOxEqJ_8__P8yrz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94bBRDrku3EnHCCnHEJ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pcwiYDgEGat7amE84.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KveifWT0m1t.BZxh.ht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JezrLvCku05pNmn6ton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5FN9dZFkCYLNcUsNY6e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blEW8W3UaBquVFGKegw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7ETszmvUuzI.ngoVYE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0CROFa30eeHtQO5NhKJ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wYF7rC7EOXjNXVFeILe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vItTc3AUexMuVX8GwYc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nJ0T31JUadkJSAHd2vj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xafIrcw0.2WsR5TF2vl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2_8qANlUeFQBq16UsxS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NoH6H9xU.vCEtL.gunA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5a2cpsv0.13hiU_Aa21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g7wTxy80CwrE54ij00L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cgxEiSr0O3V8JV1g_Vu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t5Iric6kaLLf_m8Npk7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s4tbNGtUuJ_uGCvbgAo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0SbM3pEUGjB4K4JExQm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XufEXrz0SS2JFusyFGG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YXbpdb7EmxWbBRKflvq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8sIoKY.0ybXV1jThL0G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dCOeN1CECeRPivfJ_YO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qhUSY5Qki1KSjDlff8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qKqYILwES4aajOqyIiU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uY1IcozEmDLGQWHUAKW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Lhk63.s0ebTxMjsz0uB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eK7zlCUU6.iyuV9won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.2l0W1aEy2B3t4qlmw1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5AqdMfvUmeG.2MDAHBK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nnWHSzeUiSZR0hM95xp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EvP1uhDkmu83tv2MjC7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WFBG.ZYk.oMEB0Na7CY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M7l3flI0WrWM_z9DZkO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5W_c6C.UCYRuK5owOKy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kv6425nUOdV3hBIq7q0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.cZ9crZEyTZsKTYV1nK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dLNliPqUWHjgYJ.jBES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meO4jQHUCYwyFs6xCZJ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zxqnEE6keXmSLz3XzN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oBffEB0kWMg1MvMOitZ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DtqFFX2EeCtEZ3xUBni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jc7bAK0UWhnAk58iCYs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YmFmAdkEWz1k93RQycF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4gaGLQ.kul9WjBjnFN7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BFCPxGUkyVAzKtwJcnW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gqoMJuN0Oxgwcv9NYXh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t7YYqBkKzRqt1MEfvn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5Hlq9l8ES1OM7BXJfxU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9JFKJKeEKxuiTdfRYrS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kBaJHtmUOfrF.WLDcN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JxlfjsB0SaoRUH8h58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Mnfl6CLka1qgPeUIgtz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rkGFMpLUK.LNLpRPLrF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ye4fOK0OzYxDRd0dMk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mlUPEHyk2xgdErY2KAw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2kuZu9ke7GffjKC4BP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ryjLe2JkWm25k9IP1E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RwmnH2dEuRMdOfxnMW6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Ih3vqGxEyJgEigTK1gk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RyBS85qEy7irWLdUr4h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j0RYy0m0aF1BDjK_cQ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aoS7Kzsk6c7OK2KS5Xu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tL5WTjykmBhq2pR5ECe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X9U2DdWEWH2Z2DOJdH3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BEntmDXUeGoii1Wo.Bo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JezrLvCku05pNmn6ton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5FN9dZFkCYLNcUsNY6e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Lhk63.s0ebTxMjsz0uB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FAdbDsB06ap6ChD6njQ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rKKQfNY0SJ61n6J7RuD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7cPiY6ik.UcfqEa6Tuj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BFCPxGUkyVAzKtwJcn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Rme2qfKESv1fQbW_2mG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dLNliPqUWHjgYJ.jBES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meO4jQHUCYwyFs6xCZJ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DtqFFX2EeCtEZ3xUBni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Mnfl6CLka1qgPeUIgtz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gqoMJuN0Oxgwcv9NYXh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t7YYqBkKzRqt1MEfvn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ye4fOK0OzYxDRd0dMk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yR.s3sD0.a4fKCTaBIn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tklJMB10ieN_OGKKknp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u3OSoVGkyGlU_cjRZ1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U42QsNvkuityqO.zbiD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mtXwA.f0unE2Tp8Cznf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TbBfZ2T0KH2t5V7tfTJ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wI8a.09kirLyZ.rthO9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2ZBRwfE6Xj4WMr12yW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O8ULs9wEKQ73lxaukWZ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SmzgWYkE21dSbeE6Ht8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7uRg6zuEGGAroGOES5C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0DuGFZ4ku4apUZBlVrj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rAWluVmkGW9LP0qAV.a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jKFqKSKESGBsMtN19X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G.7xxNo0aQab4hLoq8U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0922279Ee14t8ia1lhY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KN_sEypkWsrH8MIuBp6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ffnCo5CEGUg_7hKwF7K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Kjwe0k0keXracbPtM1k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49m1e8SUeeBxC.PciUr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cSURAMvki2bRsq4OLct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Li6MjtkU6nObmF7n29Q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a5j_txEUysvEKRddPUM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fXoUoXe0iB6vx3DSyoJ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u891UMHEyubmbDKJiN3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fuEDDikSQf29VXopEg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674PWv70mPFiSMdv84u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mIPjk_CECJG6aXVYfrV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bDg83abECAdwdnyfXOA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tEMK3Uh061QyrZ0Jfyk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CHoajQOkOuyw7ss7frt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EuGd0eX0ChxGTR1VIUS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.JAtNsH028m0NIs8OaQ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vdhq1kH0OlOK3KtrBru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HTTFw3V0.IyvbChUU7J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B2WwbvSkuDARXq65j9_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lfJUU4pEeO4hxR5Cgxo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Ji4SkML06u.mmbb1.b3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8Jf.INq0O0S.fSDafjm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TbBfZ2T0KH2t5V7tfTJ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q2pccyfkyEMX_1TJWCr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NgTaARkkillBBr9l6uv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z8FQuHV0OXSoM4VYMmc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ewm3Y_hU.RDB3ZQlMbx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V66VaQS0iagssbfEocr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l9J8dyREyCcGSK_WUjf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9k2aZC1USZqwCFK8CH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46KXM.r0e0Agt7WwJ7j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bJV0e.fESnFs2LWvOSw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UO8joHtUW.5JWlMZEc6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p4QidPPUCh8rTMvsR0D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4Jwg1qvk.0qRBQ1vlKD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Zvnfd3aUO5GggdDxloW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zwuWjqa0StJhgOBEmmZ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vGZ4czoUmRaIuOTtQyC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l1QzequkqnrZWqKiA9B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1umC4IZUmPRX7EI7OOM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1umC4IZUmPRX7EI7OO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hIu4sk3EmPwT_c7p96l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j6VGakZEeK3Z2VoDAUn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48UKWCgUm5rwHbB9dkm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ADSQ46z0K2q83lZcDKD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ryGCkYQUG.dtJOuTI4m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tBgjlNrUe9vMUrtNgvJ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iYaruZlUifsKSc2ZXue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CExcuemEKfVufSaSQd9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yQz3BF_0mLpvvcEJl2h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oCKik5b0myg3Q024re6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F3IdB8iUG8sfVvFyW3w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EEMTelEk._VyYlYzeX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5dSTgW8E6I5eMJ4Lyyg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KioJvZ1kKLvPd1tElAc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ewq.WDkuG252yyvaG9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WgQm7VZkGVdoeNlah8e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CKHrYmOUCi90.Xzkb7B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GceCB25UafTnZEO.Nti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0UXwrVr0q7zNl7W3NqT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vB7Z0u2Uqv9OMe5iaPC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uWtM5MfkaHuoGCaT_uy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KDI5ot5Uq38gmTkPezf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1jNnC6zEOWUN.KP8KZ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aYHZzIekGxkwHXCeJbt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1_55logkWYVXtM2mI2W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T1r5GKPkij1HNA.SNuO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UtFALeS0i0ALuN_073B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FdcARHGUq__1rs1xC.Z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bqOcFX_UuSjU2_zHGMV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0S6Yf8RUq3TXcLWmdHH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U8ozif1UuyEXOb797Cb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_MEaBhCkOv7yAmcsMkP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48UKWCgUm5rwHbB9dkm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ADSQ46z0K2q83lZcDK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GmymhfVEmv.9HbbuaJf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ryGCkYQUG.dtJOuTI4m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tBgjlNrUe9vMUrtNgvJ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iYaruZlUifsKSc2ZXue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CExcuemEKfVufSaSQd9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yQz3BF_0mLpvvcEJl2h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oCKik5b0myg3Q024re6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F3IdB8iUG8sfVvFyW3w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EEMTelEk._VyYlYzeXV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KioJvZ1kKLvPd1tElAc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bewq.WDkuG252yyvaG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kIx7QD06LImR_y8.SX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WgQm7VZkGVdoeNlah8e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CKHrYmOUCi90.Xzkb7B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GceCB25UafTnZEO.Nti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0UXwrVr0q7zNl7W3NqT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vB7Z0u2Uqv9OMe5iaPC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uWtM5MfkaHuoGCaT_uy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KDI5ot5Uq38gmTkPezf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1jNnC6zEOWUN.KP8KZW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1_55logkWYVXtM2mI2W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T1r5GKPkij1HNA.SNu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g54Z4fZ0GNWixGx0GXp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UtFALeS0i0ALuN_073B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FdcARHGUq__1rs1xC.Z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bqOcFX_UuSjU2_zHGMV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0S6Yf8RUq3TXcLWmdHH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U8ozif1UuyEXOb797Cb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_MEaBhCkOv7yAmcsMkP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1oKf.8eEy0ot6DsePMK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XWxZk2.keJknBPwm3iy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g6ZvsakuSpVg0rZ.K9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e9Di8Sc0WjfjxI7ls22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Va8N8DsECbLRVOUWU9U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qhX4jbEkStvSsMOGqlO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_NApWzm02baDeyWhjoe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K10mdr70Kc9Tf0Rfs9Z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C.D8B7VEuQ2yVHlnWoj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7a9TGEcU.D099bRXCH8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S4x16juUm7d9p7qXVeJ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WXUSXaAkyn4043olPIx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7BM40UQ0KPuAysQPRf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m4eAcDdUCB0kvOCHD5M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xCR0PNIkCjm_JMDxxX9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f84ePFyUqLqFS1HytoJ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MIv.sXm0WLtDppSVn32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FZp1.nUacFijI9VbbY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kWI7Ny1EC94zap9d_W9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LNXBZjcEyPjey5KXib6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d5IMtA.UO_5S5wQF2Tu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iWQynEGkmudDau2DtIs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Is7jICV0SoagS2TWy_V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d0bDVay0OJT5g.YYciX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HgsOJiI0iMjvW_9j0BH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Xizcg.JUOTGfJYijWI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v5U3LaU0O2vi4bFXt40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aPm8pkrE.K3YxeKuOg1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c9OKLyZUm.cfk1LRxWh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i3cMTGuUK0UG8RzL95R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ZWRlDQzkWNNZSE7PewM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yHD0Uk3UC1xoulZx0qn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8y423L9kOa_vIKBsWMo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fo2WJZXE2vgprkmmvet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fjxgeeUq3Pk3MdI01d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i4f_Rr8U2u8yIuc6fUA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eaT.mDr06GTIRfZSzY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5l9_8ViE2KGhEDJLL4m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uym6hmXkiGPoENLVf47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qyue6JA0akx87VsjPFG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wFZCLqE0SWp8_WEc5N3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ZHuxigQ0mQqopUUesrk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2w2Nr3CEeUjazsyG2b9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GGxm.rGUG0c6Ng_FB6x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_RHCa8KUW337ESY8Fk0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gaT9xBEuyrsBOSbQaH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G8bSjs3UCF4m.cfYbSk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Jg38Mk0aEis2z3OhY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_ohdXkF0.ymFgp1IBbd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gSXeNzL0Ox_L6_JVoAT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uR_G0jaUSCvPIsNiFs_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xJAXBqF024s5FjzeQSu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4YoCdDs0CUj.LmQwFHi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aOJRuez0aXsmi04.MlF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1oKf.8eEy0ot6DsePMK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XWxZk2.keJknBPwm3iy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g6ZvsakuSpVg0rZ.K9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e9Di8Sc0WjfjxI7ls22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qhX4jbEkStvSsMOGqlO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pOfGW_j0a8RwLBTPcZ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Zy85qCO0myxsri8KKRk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7a9TGEcU.D099bRXCH8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EyE4w0dkWwD6Mugp.IO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HOrNQtz0mrQBMGiFcPr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_3mLJ6J0CJo3EJTiVYG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5a5v72qkC12esWO7j2N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omoR3fGEqgrwaAMwVVb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aSVRGRyUqBydZ89Ila8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U_QWqtYkSzcrCs3o7q2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iXjT6y8UK5onQWqYJ2S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a9Z4uAPkqMuMZBuZi9c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UuYPqy_0C4nyZsiJjtn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Mw.7WPpEyvuHI7E0hbK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gKpNb5HkynSIvSlweSr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70ZajbGUe5tJCa0vpl.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1TfZBKpES2qL8f6kg7E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KMj98yTU6M8Z96i7HSH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Z7X_Zdk0GvZ6.NjCdkl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GFcXnm6EuYx0Nxk8OHA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AiHzuVZ0ibt6YLoRZR3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688MiST0aI2AGR3GtAZ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mnu1h6dUuDz73IrqsYh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BumYftQUGg5cBg5LzFu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NgLSwoIE.ZRTJdGhw0f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wCDwo430yI70B_mfVUR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_ybCYeJEyK8ZNMD8_mA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pCL4AQLkC28RsJfmyyS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NE7sZzpkeNX9mB_Hi0Q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qjWPrb3kGaMTNHaoKS2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YrmeQy0CwSbe8Olv9t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1w5p675E2JmnyfU2Lzo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JJkUPWjUu6_rN2O5bMO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sv6yFxpU6w000Rd0fk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xo4jQt2kGFCi2pVEJ4I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FpdoS5bEqzIadvDRxXA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I3XiqTfE6L5l_5o_VCp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4UwLebxUS9hBkqRqCt6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EtNRz3u0uY0ycMFnmKr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hbLGeT5EefKiyDU5fPW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BB7h2Bj0i7rS9psB94b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9LYMk0kkuA4R5G1VPaL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vhg7Y02kuitBO4qNW3f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ZigsLYLE.P1kEdF_dEn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e6FqUWI0._ApawAFjuL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sRbMigvEKKxnvBQooIE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vBkFExhEKw0WLO8YObI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bquX74TEGZs2IE4Y_aR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OE8XUxNUyWQCJqJkA.d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OOTwrJQ0Sc8LZPVYfVy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Y3NiA450mGHNk28pf9z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aqazm9j06WYTqgp7PWg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UVOCRtHkWJp5SnjakKu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bLdjkH02jf5EH.aqCQ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k2e73LekCcEy1EXboRW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IJbMHLokif4AcTyyOMv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m1UfK8QkCJRU1CAT4Nr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H2XcA3H0eDYqjbJ9F7q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e9Di8Sc0WjfjxI7ls22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e9Di8Sc0WjfjxI7ls22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e9Di8Sc0WjfjxI7ls22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UuYPqy_0C4nyZsiJjtn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hCIvXORESCnZamDguqP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Y_Y.U7FUCh15HiJ1ke4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1UMFVqBUGFSTNNrgI9k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BumYftQUGg5cBg5LzFu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b42d4fQkKVc4m1jLCM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pYBWKVkEWgqrsBRpqzr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xo4jQt2kGFCi2pVEJ4I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GPML0poU2dMLTVtSoYO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wLmMP2uk.Bgs3uA.KKu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tGUxAqhkeCoM_bqCYmD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lv9yoDwUyS8c0SFM_CP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HxtueiEEibVEOzBCWWB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dwOtq000q1TisBmVXHW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h8zmZk5kWKi.x3AiMyq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Zn3vjpC0K2wyMrctz9a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3PeoMIi0WTmA.uCRm77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mGjg06GES9qxLqL6Rhk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LuJmXnZE.pE04wSCRqQ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iYwjv.rU2tdgkzPCAZi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E_3YVJfkWlRW7npJ_Ea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OiD.LAPEqrAjCEpKHhI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NLogtPL0.kXCqJoXPVB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iUEXvmcE6lf_M45114b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7TlsDOGUaxttyFvZziy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zkSpUQvkemMWPy51Qok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Rbyfh.CUCAV._6I98i.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cbSG66AUCTjYNfif4V.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KvYcTcXkCw4PWd43j8n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dn60oQa0.4oFrZjtV3m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1m5m.XVk.Ldm_ZRv0J9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ftraVC9E.IzxTfVw0PD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HZxpZAUan9OzHdDyyw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H7.LZtpESXVVfSD_8pH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5FBu0KI0.pxhgW0wyRK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W.2hQ.ke.XbKPLbWWt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9ZUy9n0KDlN3Twaeof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P6Sz9yN0O_GDtuF6W16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pxcSBGKkqCJQtPjbjx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sHTOcN20iOQvjKUTKIc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d__DfpUU6dsYaNFiMdB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UuYPqy_0C4nyZsiJjtn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1UMFVqBUGFSTNNrgI9k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BumYftQUGg5cBg5LzFu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b42d4fQkKVc4m1jLCMA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xo4jQt2kGFCi2pVEJ4I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gBdUw2m0yoGpa6jg.1Q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jeaTsyvESYRjeVHcqPc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G4i5r9KUeAq8IYwRrhk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1DCabIEAUulzuq7zV62G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bDkZjoNE.9xEPQ2G11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ekEbwvEiuS3rrSivOp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sOU6k.lkKR.Jkralwam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kjO5sr2U6Y2.WfKWkGz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DlMPxakyF8huJo.DmU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.ZLqDGi0.rU7iRdo2kI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YahjOJgE.MfxWAZg1vD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nInrAu3k2R2gwJUhWDe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i07iwX0E.n4KqZ6WkdC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oT2infyEe5VTVhdLJUt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Kq8TYWzkKxzZeGJApZ9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AeQ_m7ikiC22DnTxmr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lHvIJTNUOIzdP7pppMX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IUAg3kSEiWHoN5Fa8IL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mSpWrJbUqqt1_8.47gd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H2W9SvKkWzNLPMOdkDy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dZnsXW8U2h7lTcEl6fC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EoEWzqQEKBLw5P1tZp9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pzqJpkEaV_sif_9bDt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FgAsovHUCYpI1heNM._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xcFqK9AUC4Y7Y6FRpbZ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oewJc.z02BhjUVzPk4Y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7WtXX6VU6qarCluR2A9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xf5KKGuU.p1KGTJkb0o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G8jRDLuEuZ389HsMoja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QTldUBPUmcj2xZdiM1W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yENAhUJ0WTsVmH9a5Bq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ufSjUNWE2UkwVvBJXHL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860vaG1E6pC_Iq06lNX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2GtSs5IEmSW8cIUx5b4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IAXVePTkijZ3ASm2zKF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V0dAiILEmi_p5Lli4yX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wKtvYLgkuIJPXmoCPJi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MYyqWiA0Wf05muBo2W7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Mfyciym0ufweElqlkg3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ltl5U0ZkKy8YRodJ0et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HuLGFRTE2vQMX_V4R_0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HF1JtwXEGdd_goJqdeK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aBaLFKW0WZkYSAY9cg9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XAHdeU5UKzXXnxlRDUy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SIlqBKnkepD2wjk04GF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RW77FP1U.90aj45UZkZ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NJFUzMZ0aaq_3lb190c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a8_cguUGAPemVkH.2O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yBuhOXkuJRLk0Il4J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wTyMOW_kGU04T1T1fvo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3kkD_x0U2_qFFN.ih7y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E04zZ84UGsRCcOQfOtZ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BBUeQxTk2DuHXZjVzWI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nZ4n6SCUqCi3w0C3v9l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jlQWSxUunVRueM5WiX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_IhFJb60WgOC_pOtWpl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Uwjy1YwUmbq1JQwEB12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9FNyoAgEyfonX2CAs0y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5wkLx7_USZsyeA6bK0f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7S3uTKH0ySluEIqupOU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_GkT.VwECUP1UcNQOwy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pvAQ5OEUWf9LFibwCng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b_eeOaTkSUzBtXBmGE7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qqzinwEEeRiQY5ceGhI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hzar9A2kGBLk3a5KiXv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NuYbk7.0CMPL8i4Mn.o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JcHDIXWEm59HEg.zkPm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cej_8R90ibCnbGZnVo9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NNXPotUWwIUw0MW9lg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KTo8mvZ0uuUMTMeeXPb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uz8pR5H0SA2HP6bSymN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mgsYMADk2kKXNROcxG5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A1wJuiNk6OeiscDoDWj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EQ2ywzA06D6ba0pVUdr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ZaUb4NY02ivUrg8gGiL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2yy3Pc_E2zIwlHObpSQ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OV7BmBekivvcRqPpXYx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Wg9hPaKky3WFMTzu9t5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tcrHQLjkSywmjjIZ9a1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B.C3hqpE28gP1x5UOCf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ouNuVkD0iR5_xBdoanP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KAagzuG0WSjGqs6oSfq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lUsfsOXUCSUKJGBHuy1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Qx7ny8ika43WsKAArJk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u1uYumeEGWCZlWhE3Xb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jTFKE8x0GwDgQi13sLi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C8XWE7nEWURpa3UE5Fb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XqA7fIRk2BOerIb.vPe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9pvN9J60K5clwmmg7MN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wFiMlJSEKxKKimJlpFW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k5Dl.1C0KlUaCAbTuAW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X2nenbXEuEEFiCiD2kkQ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Pn0Wddw0yJACA9eWnQ_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YZ5s0GN0KN3M4LhLMem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DG5QsPtEi3bpJF9WCSD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Tyhq4xZkS7L3D0lOkuB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tZHgejDkeokWI.xSq94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qFyM93MEGC5K._r3KJc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Pxn7vqFUOPB_EyiIWd8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zjb4xnqkecy3UT7vCYl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YrZvUdCEGxZpip9L6Jn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3odzfJ0iQQXHf7oP6c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tbu2dtpEeAw_qImKtqk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PT1jtB50C4bzwhYflN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AWa6_nCEO4Huc.OsgMY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W639jqnUaplVLW7z54K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JmZh0t7UufHTExsISqj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sO1kUdxkOIFkG.3zcT6w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w0A4uEv0i83ZTls.iLJ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bn6rljzkay1sGBLg8lj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60MvFwC0ORE_u9hHcos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MfgiBtQEKMbTr3vonXy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OXQtMG4kSRIoB7xqIWI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yDZle7DUims19WWxjnj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777ZjFMky4yZTg1sWeg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S9G7WxP0KDuIk6Exdgt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RMLgcJpkCmu1z8OQqMy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wFwiZlpkuOIkZ7Bnpzp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dm2fICokqbaiy.jWeH8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aPrFdzR0OM06gvpdu8J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uzJWkfRku.fOGHjchFs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1jqQVLKkGLe7kfNvwSq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MabKeG20qwIvTF7A.2c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QCa4QHUa..Um32LvJM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ekVqa_QUeoyni0w81QU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YGnyut1kSIkrm7tPdT3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VX89cFdUKTw31UTfMt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h72u_kzUuIWfqk6SvgB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OIyXx33UeJGucVDF_M0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SEhNSZeEWQWPoi4MNf2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2511t1j0mIyAcSlGvx4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1wpl.epkWdWh.vBZeCi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Ki1ZD8sUiO4gJUS8xjc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RCoXQJnE2QtyEKv1rB1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pBNfgG.0WtmFQr14eFk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H0X_8uk.MAVqVtpMIH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fdblIUBUqjddMj0iN6n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fkdgKo5E.JvmvXOi0R0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lUIWDg4k6h3PSeAcBin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mzf8JavkmYWbnS87u_n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gj5C8lkkewBQlQvJ4JJ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oPIA_ym06CmgiAmSGVn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HisOz8WUennqd0SEHVW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F6OJ6PV0SuNlyRNG8gU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UuYPqy_0C4nyZsiJjtn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1UMFVqBUGFSTNNrgI9k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BumYftQUGg5cBg5LzFu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b42d4fQkKVc4m1jLCMA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xo4jQt2kGFCi2pVEJ4I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U80ZsjeUCMI_j4.CCNl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gBdUw2m0yoGpa6jg.1Q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msy8X8Kk6WppZCSJUxw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20FrYk3kWC719ZPkwJE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g0JJ5cjkOLaE470C5iG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VrxkHyNUacKKosKf0yg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.eyKx5_UiXS6L4RGbey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EiL8K0EqKTIly19_N7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JmHAxHuUeXdHLOrpGI5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jjyOu_6k6A4pOKKp.pp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WNGPgkNkKaLM.EfqezC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4mt5STZ0682uMf6KwDs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gck3HkYECBPlyWFwpS.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ylzMs.0UOV_SwuWkdo7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AJEpODx0eoZLX8AkLXw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UJgYdztUWiP1_TfahzC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Y5P5kRME2hb8ESyqeh_g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F4sXNmhEej7zNlTWa2o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61WiF7_EKOx1NIOqvuX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Ah8PUT_E2kzihlsINSdg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9Hs6QudE6PA_qfia0kS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kDUXOO8keQAqLQzJav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xgU1_GCUqbwYSsMTl6H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0HzUYLAke7hUEpcHaIA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x8n0_bvU6PMnBPkykUd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sNjhISYUixWkUAmVUfx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L4SBgRHUi65uzLAxpvW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dzV2ew.US6Xh9bJBIDx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DcYu87FkSLP5D3xgjjM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_R_j0zrU2PpdxwQ4Jk_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EryQxSZky5IkA9evp55g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lZYCKmo0u8G20GyM88F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SnwsERUSksYNEIs144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KAMaFm3Ei1iQFJtu2mP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oGRChVvUOVVo3xkpOgE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H4l3laCUa0HjfPqQ7jGw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312J476EG2jy54vAFJQ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.dhwgt9kKlOQe32meT4w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lowkgTwkm_CkHKQHUpI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6H0wqFDUi.PCGZNlysh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bJ4Ayok061oKbHevAb.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c8V7Oif0W_W8rXsFqJJ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lnEhcMYE.710MMpshmf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Pza1JPbk2YW.oAlqpnh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U9YI.hW0eXrMj3l7uL9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7cHp8cjke7qPFNOXtKC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HjUiH700yItr9YkFMq0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0jsXePJUC7qM2H6kZKO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1jhrJKxEy9sZI7KUJ8C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JSVA71P0mcL72SZgiJH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41MB8TlkWcwKTnQwCqP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.B533zQ0qYFh.NVOXmi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nGHUeLCk.AFiUHqUOFS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slP6JSD0W4Bh1gg575K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iHV4aW5EiF.dyEe9qMf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bpXZS8IEaRszxXsQFzX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F.G.dJzUK6Jmprlyohb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QnIlDXkC4LZnvyH7k.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lZCAedZkqEQbl_jNxnM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BAubekTkOqtmWTiGWGN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hvvasyFEqV7B1Fyrc7h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.6q_38X02ai2FWmn815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_pkNZjGUCMjL2dtK2rw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BdRyC5rU2rrlMKtDmIT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t0MZc8UiqiQIkYdWuX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uGA_YJ0qw0LLpAYY9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ZvsiiBi0uT6BGJBpM8D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jpJoV_kEScUAcuxZyij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mZSL_ghkK9sQTi8EOPZ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Wb9EEbJEyYVujvTChcL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2O5jhF_EKsuKTHzKnfm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WUvf7Cj0WlVnwcc7VNt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mnpPsjj0yQJvyhDPAR2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S9Cshj50q1OJHc3NEY6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EryQxSZky5IkA9evp55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6H0wqFDUi.PCGZNlysh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4sCMGO8EiAG5rAFm7FE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ad6NXx1EK0eSXMZflwd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rY4l3eS0iVbAwatNzE6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xEv3so4k.HHq8r_fVMD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Ar4aUwC0KfqY2hKI.r8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O09LX5Mkie._ddkw5VV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J6xwMznEGRXVa9_xLdq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B7W3M_z0Gh8vLJAVF.F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UcbLNLqUOAHxvxqIXSB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q3hKRK3ky1fEFOcyksu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4tJNyGEkK5bLC0ibv61w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dTCCV7.U.IVJNPqW3Uo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zF8LU_y0q.Q5faLt4x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r6VNaFd0W2U6b74UMsu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q3MRngTUiUMTn5spLp5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GPiCSjkS7wWZAR07Ba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eLCwrn0q0yXElmNPKw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XIjtL5eE6bB3GWc71hJA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uJii3OwkKTvH1NLPl3a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ye0YZeZkOFiZ2odsyj.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4p_pR9ZUOJdf0liud0Ww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cmKyTaf0666BoJC0fed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2LvEhbvUeb1nieq2iLc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p1szBEzkSijTQ6vreS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KfA.y.9027T9rrRPx3X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eXOgFDmU.kv8UJOQ68g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fJ4EzMF0201V65unwEl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8.RPKaekeZkIcfUBzhf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e6eyJtAUCoINVqgoth.w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2l7uyfN0mDp2jkYef9V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ZqW911yEaq.SbgdRpKqg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r4yAz7IUCUfrtbCQtRX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Vsmj5bXUCpK2ESGcHE4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n6tqNDS0GC6Bl.whz2p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MnvRq4s0OI41Z1MhuiJ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.VUNI9yUKLSGjVg6HKZg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g0FDcPoUqCOxzGnXgo_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lDRswy4UCierVkAt0UZ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0XHWgauEqV2ABesAaHY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s7en3U7EaLHFfnZgTyk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XjHa4UKE.IFZEijwRTx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fzPYhWKU2ZaSxEMhFIs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BW0XTBU.isRcZiYyXnQ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N91gIjWEe.T2ZBxsxIb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.PX4tI00C5nmtEaiSLR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Nf2ECthU6EY8meTrnq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VD3qhmGkSGnlWuN_Wf7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x2T9YmH0u47TV5gsc8T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GGGbGvKUWdLAIaSLE6D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0114J7RkqLk0ixVJlt6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ZY6qryHkS7_n5GYpeOg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CihrdQqUyrzU_FmUQ2e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L.MhlnqUSyipJi_kmh8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1wr6CYhk.RLWj5wHpWf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HRp8S8zkCDvfclH8pam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WZ9yNC6UyPE9NbIj4EK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nfMFHTWUOdr6dt7sGWk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ng4w454U2QqS1WShuFj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iS4jlbGk6wdYrAvFBTG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5liOPshESdcqNWu1G6W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vkUbThskqSzRcLZ5f2f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oIEQoSkUG53kCXiwVgT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Nh27gp.US3lUH7KR1F6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9WYtMGPUGGP0mXNBeKN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dgIxEXB0OVqBLuZfw5n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1TogYjOkq5TrpF01IT6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Ekx1qbFUqwBwMXfE80s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gD0qd1F0qK001hVKd7m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D0mZt22USl21FHfhZ80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7B4G1Axk._SLrOfoeavg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6_9gQXx0y0EJXAdNBzT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Pza1JPbk2YW.oAlqpnhA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NP49RplEGq7rjBQBtQsw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0zr5HblEm4NCqEn62OSA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St_caX2UqrGB0QlWo2h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hYOwBIT0i.NXj6rqXWr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9NJ0J19EmWQn8nFTiTE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sqKH5gEUGuvhE5PTa_Dw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v_g_4nHUyTtltOLLfL9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g2ZRJryUm7ePRLBRPs3w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aVUXVlsk.moajiN5KMHw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P7nTYbeEORyReAUlR5T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6RWC1uc0Wvh_KpsV8sY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p.pKFW806LGgANnV3XM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1CPpJepUCc3je8VmZ5TA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j9WVEnT0CRzvhD00fE3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I7AaJsNUugOMRwoKL22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7vX05H2kS1jypW8i0Ut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CElJNDUeBWouOnFZ2vg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I9yyiIM02tY6qpMOvQz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vKjG5ubEyF2mHVbPNwxw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yMXpnmhkKLDZSilIe1y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vPqJ08gU..sXSEcdrFMw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9DkTUSn0y9XJN3rgxZw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9DpmTf30OdcHqePyyZgg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Q7E7W9KEOw10U_578Ev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sOc7JZUkqOzo3RMKOOW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noH3ChVkedliI6CyXKzw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maUOXXE6DwrURjcYxH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n0qDMcUUyAdYT4eWOdO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YgCUGMkCbkDv4p3FO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pYeMXMUiZ2nAhmwFUK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l0WYJ3DEGqXQ2.oShdM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L2QSReSk23TAMKOt7W7w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K8tCOt6UyhEe2cbEuUHg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HVA_fjG0.fTdH3feSo1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zyU81oxEesqdh6UEJSJ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Sk6bL0oU2aqU0BbiK_y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zRamLPNEmraXawvgc.C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CgkXaA90.7GcL.ibYUqg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cgatirlEGbH2.SVZ85O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Tu.5JEnU.AalfIscICo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YoYb5LQ0GsPBE5ljqg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J_JnzXxUqepiEdJw89n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7uL.CjL0Wi2hdvpJunY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TVp7eT_kuzHrThZXZFag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yUKzwg.UinTSOBbeiiN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Fb4Mb5I06CJX97xPMdo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AGINFa4U2GydyJ1xherg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e9Di8Sc0WjfjxI7ls22g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Emwl.rLkibiBiuGVjuJ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j.o.QdbEiuP6HmAhW87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Q8HRaDGkO3K9gZrYk8Aw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gi7J.5b0qCQ3GXE9YrV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fT4Kn_fkG5qXqdvmTJV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zmC8QRMEyqcsXyg3EfE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yNHnH4Pkyxoe8KusOSO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gi7J.5b0qCQ3GXE9YrV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zmC8QRMEyqcsXyg3EfE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yNHnH4Pkyxoe8KusOSO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Emwl.rLkibiBiuGVjuJ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j.o.QdbEiuP6HmAhW87A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Q8HRaDGkO3K9gZrYk8Aw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gi7J.5b0qCQ3GXE9YrVg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zmC8QRMEyqcsXyg3EfE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hk1R3VDUe8WO4nOhnuX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yNHnH4Pkyxoe8KusOSOw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gi7J.5b0qCQ3GXE9YrV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zmC8QRMEyqcsXyg3EfE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yNHnH4Pkyxoe8KusOSO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Emwl.rLkibiBiuGVjuJ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j.o.QdbEiuP6HmAhW87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Q8HRaDGkO3K9gZrYk8Aw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apSP67D0Skl3SQH_c5B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ag4nmXrEGRhhPfsoeBT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uzwlHu.0uGsjluX5lT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QKW5EjLkO0g6Pf1wWQn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H1t0O.V06dehuAMNQxG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3GG14Ss02GlAaQf1PYY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e9Di8Sc0WjfjxI7ls22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e9Di8Sc0WjfjxI7ls22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C.D8B7VEuQ2yVHlnWoj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x_ChzHKEy31GsBOyr6Sw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5KXip_dEy7w7cleJI82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wOfCxQKEa5SuqBXFKzw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aW7u3IeUCrqojQuTERN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l7crgYqUGR7ckm.jutr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zsdLxfmEWcwGdCkF5ifg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0yJXRI1UuGizIaqeLLD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D6pn8WAUm8.BPOhMXi6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WzpTmkF0SkTlDVuOVYq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agpTRfjkmPVajaAmYT1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sHTOcN20iOQvjKUTKIc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IpYeMXMUiZ2nAhmwFUK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7uyBQDekmsmIwI62sw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IExmmFjESArhGTdODJb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Zi4jxHPkOcwIn9CiLI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.uuZZVBEeUxJFw_51Uj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vVBlKIEEmP.CgDTcZed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qHSgt82UmHxZgym1Lmh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A642ODcUanNiTScVWZ7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TTQ6AWGUuTkMXIYS5uO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hNerU7iE.V9B8iRTJja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m.EojLak6DCvYWK1rtF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a3LOc_T0CM4j0VEGRqw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Vz.DUePkC.6cX4e3FWTw"/>
</p:tagLst>
</file>

<file path=ppt/theme/theme1.xml><?xml version="1.0" encoding="utf-8"?>
<a:theme xmlns:a="http://schemas.openxmlformats.org/drawingml/2006/main" name="Blank">
  <a:themeElements>
    <a:clrScheme name="ATK2007 Color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B9B9B9"/>
      </a:accent3>
      <a:accent4>
        <a:srgbClr val="DCDCDC"/>
      </a:accent4>
      <a:accent5>
        <a:srgbClr val="333333"/>
      </a:accent5>
      <a:accent6>
        <a:srgbClr val="5F5F5F"/>
      </a:accent6>
      <a:hlink>
        <a:srgbClr val="B9B9B9"/>
      </a:hlink>
      <a:folHlink>
        <a:srgbClr val="DCDCDC"/>
      </a:folHlink>
    </a:clrScheme>
    <a:fontScheme name="ATK2007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12700" cap="rnd">
          <a:noFill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96</Words>
  <Application>Microsoft Office PowerPoint</Application>
  <PresentationFormat>Bildschirmpräsentation (4:3)</PresentationFormat>
  <Paragraphs>667</Paragraphs>
  <Slides>33</Slides>
  <Notes>7</Notes>
  <HiddenSlides>16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3</vt:i4>
      </vt:variant>
    </vt:vector>
  </HeadingPairs>
  <TitlesOfParts>
    <vt:vector size="36" baseType="lpstr">
      <vt:lpstr>Blank</vt:lpstr>
      <vt:lpstr>think-cell Slide</vt:lpstr>
      <vt:lpstr>Chart</vt:lpstr>
      <vt:lpstr>Embedded Electronic Systems</vt:lpstr>
      <vt:lpstr>Embedded Electronic Systems (EES) stand for a wide variety of devices and services</vt:lpstr>
      <vt:lpstr>The growth potential across all sectors is above 10%</vt:lpstr>
      <vt:lpstr>In Automotive EES functions increase in share of value add per vehicle to 60% in 2025</vt:lpstr>
      <vt:lpstr>Especially high performing cars are characterized through a strong growth of EES components</vt:lpstr>
      <vt:lpstr>The need for system integration, new car services and sustained mobility will drive further growth</vt:lpstr>
      <vt:lpstr>We expect that this growth can create ~40,000 new jobs in the German Auto industry by 2025</vt:lpstr>
      <vt:lpstr>Across industries we estimate a potential in Germany of ~110,000 new jobs</vt:lpstr>
      <vt:lpstr>Healthcare is leading and investing significantly in new diagnostic tools and telemedicine systems</vt:lpstr>
      <vt:lpstr>However there are still barriers that delay the breakthrough</vt:lpstr>
      <vt:lpstr>Consumer mainly perceive the EES offerings as to complex and to expensive</vt:lpstr>
      <vt:lpstr>Embedded systems are on the CXO agenda, however R&amp;D priorities are still not under the Top 3</vt:lpstr>
      <vt:lpstr>Additionally, job growth requires the right skill set starting with a strong academic and practical industry background</vt:lpstr>
      <vt:lpstr>The German industry should leverage it‘s starting position and participate from strong growth of Embedded Systems</vt:lpstr>
      <vt:lpstr>Backup</vt:lpstr>
      <vt:lpstr>To tackle these issues an innovative and collaborative industry set-up should be targeted</vt:lpstr>
      <vt:lpstr>Therefore the value chain will change as new services require cross company and cross industry collaboration </vt:lpstr>
      <vt:lpstr>The notion of Embedded Systems is rather diverse – This study focuses on interactive- and autonomous systems</vt:lpstr>
      <vt:lpstr>The notion of Embedded Systems is rather diverse and stands for a very wide variety of devices and systems</vt:lpstr>
      <vt:lpstr>Related jobs will be created among the whole value chain especially at non-automotive 3rd party companies</vt:lpstr>
      <vt:lpstr>The study considers CXOs’ views as well as external expert experiences and covers multiple industries and countries. </vt:lpstr>
      <vt:lpstr>The notion of Embedded Systems is rather diverse and stands for a very wide variety of devices and systems</vt:lpstr>
      <vt:lpstr>Through the strong growth in automotive and other industries, the market for Embedded Systems will double</vt:lpstr>
      <vt:lpstr>To overcome barriers all four growth areas must develop clear business cases to increase the value add per vehicle</vt:lpstr>
      <vt:lpstr>The continuously increasing number of ECU`s require expertise in system standardization and modularization</vt:lpstr>
      <vt:lpstr>New innovative car services for more security, comfort and energy efficiency will generate additional demand</vt:lpstr>
      <vt:lpstr>For automotive OEMs, the electric vehicle market will  dramatically grow until 2030</vt:lpstr>
      <vt:lpstr>In addition to existing services further growth can be generated by consumer oriented service offerings</vt:lpstr>
      <vt:lpstr>Embedded services may not only be driven by the automotive industry but inherited from other industries</vt:lpstr>
      <vt:lpstr>New services require strong cross-company collaboration, which will lead to more customer-centric business models</vt:lpstr>
      <vt:lpstr>German industry has a good starting position to play a major role in embedded systems</vt:lpstr>
      <vt:lpstr>Cross-industry collaboration may tackle this issues and  drive innovation to successfully place new services</vt:lpstr>
      <vt:lpstr>To make the growth of embedded systems a German success story, key questions need to be addressed</vt:lpstr>
    </vt:vector>
  </TitlesOfParts>
  <Company>A.T. Kearne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ndreas Kramer</dc:creator>
  <dc:description>Template April, 2009</dc:description>
  <cp:lastModifiedBy>notebook40</cp:lastModifiedBy>
  <cp:revision>246</cp:revision>
  <dcterms:created xsi:type="dcterms:W3CDTF">2010-10-05T08:29:54Z</dcterms:created>
  <dcterms:modified xsi:type="dcterms:W3CDTF">2010-11-17T15:31:10Z</dcterms:modified>
</cp:coreProperties>
</file>